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0" r:id="rId4"/>
  </p:sldMasterIdLst>
  <p:notesMasterIdLst>
    <p:notesMasterId r:id="rId60"/>
  </p:notesMasterIdLst>
  <p:handoutMasterIdLst>
    <p:handoutMasterId r:id="rId61"/>
  </p:handoutMasterIdLst>
  <p:sldIdLst>
    <p:sldId id="2147469323" r:id="rId5"/>
    <p:sldId id="261" r:id="rId6"/>
    <p:sldId id="2147469369" r:id="rId7"/>
    <p:sldId id="447" r:id="rId8"/>
    <p:sldId id="2147469332" r:id="rId9"/>
    <p:sldId id="2147469398" r:id="rId10"/>
    <p:sldId id="434" r:id="rId11"/>
    <p:sldId id="2147469484" r:id="rId12"/>
    <p:sldId id="2147469468" r:id="rId13"/>
    <p:sldId id="2147469377" r:id="rId14"/>
    <p:sldId id="2147469344" r:id="rId15"/>
    <p:sldId id="2147469380" r:id="rId16"/>
    <p:sldId id="2147469445" r:id="rId17"/>
    <p:sldId id="2147469333" r:id="rId18"/>
    <p:sldId id="2147469371" r:id="rId19"/>
    <p:sldId id="526" r:id="rId20"/>
    <p:sldId id="430" r:id="rId21"/>
    <p:sldId id="2147469463" r:id="rId22"/>
    <p:sldId id="2147469485" r:id="rId23"/>
    <p:sldId id="2147469343" r:id="rId24"/>
    <p:sldId id="2147469391" r:id="rId25"/>
    <p:sldId id="2147469466" r:id="rId26"/>
    <p:sldId id="2147469384" r:id="rId27"/>
    <p:sldId id="2147469390" r:id="rId28"/>
    <p:sldId id="2147469368" r:id="rId29"/>
    <p:sldId id="2147469395" r:id="rId30"/>
    <p:sldId id="2147469450" r:id="rId31"/>
    <p:sldId id="2147469351" r:id="rId32"/>
    <p:sldId id="2147469352" r:id="rId33"/>
    <p:sldId id="2147469353" r:id="rId34"/>
    <p:sldId id="2147469354" r:id="rId35"/>
    <p:sldId id="2147469356" r:id="rId36"/>
    <p:sldId id="2147469355" r:id="rId37"/>
    <p:sldId id="2147469357" r:id="rId38"/>
    <p:sldId id="2147469358" r:id="rId39"/>
    <p:sldId id="2147469359" r:id="rId40"/>
    <p:sldId id="2147469360" r:id="rId41"/>
    <p:sldId id="2147469363" r:id="rId42"/>
    <p:sldId id="2147469364" r:id="rId43"/>
    <p:sldId id="2147469361" r:id="rId44"/>
    <p:sldId id="2147469456" r:id="rId45"/>
    <p:sldId id="2147469365" r:id="rId46"/>
    <p:sldId id="2147469457" r:id="rId47"/>
    <p:sldId id="2147469385" r:id="rId48"/>
    <p:sldId id="2147469386" r:id="rId49"/>
    <p:sldId id="2147469453" r:id="rId50"/>
    <p:sldId id="2147469458" r:id="rId51"/>
    <p:sldId id="2147469461" r:id="rId52"/>
    <p:sldId id="2147469462" r:id="rId53"/>
    <p:sldId id="2147469350" r:id="rId54"/>
    <p:sldId id="2147469446" r:id="rId55"/>
    <p:sldId id="2147469447" r:id="rId56"/>
    <p:sldId id="2147469448" r:id="rId57"/>
    <p:sldId id="2147469449" r:id="rId58"/>
    <p:sldId id="2147469465" r:id="rId59"/>
  </p:sldIdLst>
  <p:sldSz cx="9144000" cy="5143500" type="screen16x9"/>
  <p:notesSz cx="6794500" cy="9906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0" userDrawn="1">
          <p15:clr>
            <a:srgbClr val="A4A3A4"/>
          </p15:clr>
        </p15:guide>
        <p15:guide id="2" orient="horz" pos="2850" userDrawn="1">
          <p15:clr>
            <a:srgbClr val="A4A3A4"/>
          </p15:clr>
        </p15:guide>
        <p15:guide id="3" orient="horz" pos="864">
          <p15:clr>
            <a:srgbClr val="A4A3A4"/>
          </p15:clr>
        </p15:guide>
        <p15:guide id="4" pos="5472">
          <p15:clr>
            <a:srgbClr val="A4A3A4"/>
          </p15:clr>
        </p15:guide>
        <p15:guide id="5" pos="2952" userDrawn="1">
          <p15:clr>
            <a:srgbClr val="A4A3A4"/>
          </p15:clr>
        </p15:guide>
        <p15:guide id="6" pos="287" userDrawn="1">
          <p15:clr>
            <a:srgbClr val="A4A3A4"/>
          </p15:clr>
        </p15:guide>
        <p15:guide id="7" pos="2640" userDrawn="1">
          <p15:clr>
            <a:srgbClr val="A4A3A4"/>
          </p15:clr>
        </p15:guide>
        <p15:guide id="8" orient="horz" pos="621" userDrawn="1">
          <p15:clr>
            <a:srgbClr val="A4A3A4"/>
          </p15:clr>
        </p15:guide>
        <p15:guide id="9" pos="1488" userDrawn="1">
          <p15:clr>
            <a:srgbClr val="A4A3A4"/>
          </p15:clr>
        </p15:guide>
        <p15:guide id="10" pos="390" userDrawn="1">
          <p15:clr>
            <a:srgbClr val="A4A3A4"/>
          </p15:clr>
        </p15:guide>
        <p15:guide id="11" orient="horz" pos="2964" userDrawn="1">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DB8008-FC96-C1D3-5CF3-D41D5353329A}" name="Varshney, Vishal" initials="" userId="S::vishal.varshney@syneoshealth.com::96017358-f5ea-4403-b1e8-329a151e6780" providerId="AD"/>
  <p188:author id="{87A4A217-4AA1-F500-7D9C-0EC9AF0E6C20}" name="Aggarwal, Anshu" initials="AA" userId="S::anshu.aggarwal@syneoshealth.com::89343dc7-aa85-4eb0-8c46-51f98b7cdb58" providerId="AD"/>
  <p188:author id="{6E74EC17-EC9C-195F-34AD-E441253DD26E}" name="Simone Zhao (FleishmanHillard)" initials="S(" userId="S::simone.zhao@fleishman.com::ff5b5a91-ceb7-4080-86da-a14d7ac24c7f" providerId="AD"/>
  <p188:author id="{8DC64924-D888-F43C-88F1-17217B3C73D8}" name="Thomas, Suzette (Div)" initials="ST" userId="S::THOMASUF@novartis.net::0b187e56-e431-4e8c-8053-867fb17d4f20" providerId="AD"/>
  <p188:author id="{E68DBF29-173B-1EE4-E980-EBF86C79181A}" name="Editor" initials="JD" userId="Editor" providerId="None"/>
  <p188:author id="{C756912D-B351-5140-498D-1B4464332B39}" name="Garcia, Mariana" initials="GM" userId="S::mariana.garcia@syneoshealth.com::86d4eae5-db24-4227-8f13-6abd1b6ecf24" providerId="AD"/>
  <p188:author id="{23862E2E-1A4D-8E27-CC5D-B8FD97B6EBC2}" name="Jacobs, Laura" initials="JL" userId="S::jacobla6_novartis.net#ext#@synh.onmicrosoft.com::c0b25266-d234-4072-941f-ac7ab8adc21c" providerId="AD"/>
  <p188:author id="{618A3B42-711A-0CD6-BBC7-BE7EF0C2DC21}" name="Natasha Burr (FleishmanHillard)" initials="NB(" userId="S::natasha.burr@fleishman.com::e54136dd-cc71-44c3-8a0b-650fe9c43cf9" providerId="AD"/>
  <p188:author id="{059DA257-60D5-E29E-ED82-D8A359B0BE62}" name="Jacobs, Laura" initials="JL" userId="S::JACOBLA6@novartis.net::99fa74c6-ede3-4954-a39a-d9db78cf29d5" providerId="AD"/>
  <p188:author id="{9B81156D-6FCB-24F1-A04C-A81F619797CE}" name="Lee, Chiara" initials="CL" userId="S::chiara.lee@syneoshealth.com::f374c26e-1d9f-4d5b-8532-7688d453840e" providerId="AD"/>
  <p188:author id="{14821077-16AF-6736-8BE4-618D20B64321}" name="Martelli, Costanza" initials="MC" userId="S::costanza.martelli@syneoshealth.com::b6975ea0-3bd2-45b5-a858-b981e68b52e1" providerId="AD"/>
  <p188:author id="{C7EFBC7A-81EC-5A40-2F3F-D2744B1E8A96}" name="Pang, Venese" initials="PV" userId="S::venese.pang@syneoshealth.com::9b772389-d7fb-4842-a45c-efb96d478413" providerId="AD"/>
  <p188:author id="{8E6392A2-B6F5-D25B-0E08-0052C368891C}" name="Rocha, Divya Marie" initials="RDM" userId="S::ROCHADI6@novartis.net::179c2959-5a8a-426d-b250-ad35822fb279" providerId="AD"/>
  <p188:author id="{F6851EA3-0D7E-A413-D7BB-909FECE0B21D}" name="Puentes, Luciana" initials="" userId="S::luciana.puentes@syneoshealth.com::c3377918-9d90-4f7f-b9ff-8ca91c5039b2" providerId="AD"/>
  <p188:author id="{6692DFA3-55D3-197D-5E48-5997340BC1D9}" name="Josie Ng (FleishmanHillard)" initials="JN(" userId="S::josie.ng@fleishman.com::b677cbee-4255-4686-a2eb-7745c83f82a0" providerId="AD"/>
  <p188:author id="{8039E6BB-23F0-9BBC-5F99-D744AC3D3F66}" name="O'Neill, Susan" initials="SO" userId="S::susan.oneill@syneoshealth.com::652bbf0c-bc63-44b2-a18e-5e4e4fec60e0" providerId="AD"/>
  <p188:author id="{AF9C9AD4-CAB5-F8B9-9617-6594F87331C1}" name="Smith, Joanne" initials="SJ" userId="S::joanne.smith@syneoshealth.com::eb737a42-100f-4dbb-8001-9bb1fa7c77ab" providerId="AD"/>
  <p188:author id="{F3B5DDEA-1DC4-0334-F85E-6572B4AF251E}" name="Rathod, Prachi" initials="RP" userId="S::prachi.rathod@syneoshealth.com::3952246f-f3eb-4755-a795-f9a00a669e41" providerId="AD"/>
  <p188:author id="{C2313AEB-7190-6FF0-790B-398F76A2B85A}" name="Emily Davis" initials="ED" userId="S::emily.davis@fleishman.com::89c4379d-b38f-4ad2-b3fd-c3c275a1b67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Kottke, Andrea" initials="KA" lastIdx="39" clrIdx="6">
    <p:extLst>
      <p:ext uri="{19B8F6BF-5375-455C-9EA6-DF929625EA0E}">
        <p15:presenceInfo xmlns:p15="http://schemas.microsoft.com/office/powerpoint/2012/main" userId="S::KOTTKAN2@novartis.net::d7c2f2de-318f-4514-8ef6-93ce717a7ee2" providerId="AD"/>
      </p:ext>
    </p:extLst>
  </p:cmAuthor>
  <p:cmAuthor id="1" name="Baier, Anna-Lena" initials="BA" lastIdx="18" clrIdx="0">
    <p:extLst>
      <p:ext uri="{19B8F6BF-5375-455C-9EA6-DF929625EA0E}">
        <p15:presenceInfo xmlns:p15="http://schemas.microsoft.com/office/powerpoint/2012/main" userId="S-1-5-21-329068152-854245398-839522115-1712586" providerId="AD"/>
      </p:ext>
    </p:extLst>
  </p:cmAuthor>
  <p:cmAuthor id="8" name="Rocha, Divya Marie" initials="RDM" lastIdx="36" clrIdx="7">
    <p:extLst>
      <p:ext uri="{19B8F6BF-5375-455C-9EA6-DF929625EA0E}">
        <p15:presenceInfo xmlns:p15="http://schemas.microsoft.com/office/powerpoint/2012/main" userId="S::ROCHADI6@novartis.net::179c2959-5a8a-426d-b250-ad35822fb279" providerId="AD"/>
      </p:ext>
    </p:extLst>
  </p:cmAuthor>
  <p:cmAuthor id="2" name="Orlene Pereira" initials="OP" lastIdx="1" clrIdx="1">
    <p:extLst>
      <p:ext uri="{19B8F6BF-5375-455C-9EA6-DF929625EA0E}">
        <p15:presenceInfo xmlns:p15="http://schemas.microsoft.com/office/powerpoint/2012/main" userId="S::Orlene.Pereira@porternovelli.co.uk::0cd47377-c686-48d3-9347-3b9948085373" providerId="AD"/>
      </p:ext>
    </p:extLst>
  </p:cmAuthor>
  <p:cmAuthor id="9" name="Foierl, Tobias" initials="FT" lastIdx="2" clrIdx="8">
    <p:extLst>
      <p:ext uri="{19B8F6BF-5375-455C-9EA6-DF929625EA0E}">
        <p15:presenceInfo xmlns:p15="http://schemas.microsoft.com/office/powerpoint/2012/main" userId="S::FOIERTO1@novartis.net::4fd6a959-acde-465a-897c-e4c9a4e267cc" providerId="AD"/>
      </p:ext>
    </p:extLst>
  </p:cmAuthor>
  <p:cmAuthor id="3" name="Natasha Burr (FleishmanHillard)" initials="NB(" lastIdx="13" clrIdx="2">
    <p:extLst>
      <p:ext uri="{19B8F6BF-5375-455C-9EA6-DF929625EA0E}">
        <p15:presenceInfo xmlns:p15="http://schemas.microsoft.com/office/powerpoint/2012/main" userId="S::natasha.burr@fleishman.com::e54136dd-cc71-44c3-8a0b-650fe9c43cf9" providerId="AD"/>
      </p:ext>
    </p:extLst>
  </p:cmAuthor>
  <p:cmAuthor id="10" name="Simone Zhao (FleishmanHillard)" initials="SZ(" lastIdx="38" clrIdx="9">
    <p:extLst>
      <p:ext uri="{19B8F6BF-5375-455C-9EA6-DF929625EA0E}">
        <p15:presenceInfo xmlns:p15="http://schemas.microsoft.com/office/powerpoint/2012/main" userId="S::simone.zhao@fleishman.com::ff5b5a91-ceb7-4080-86da-a14d7ac24c7f" providerId="AD"/>
      </p:ext>
    </p:extLst>
  </p:cmAuthor>
  <p:cmAuthor id="4" name="Baier, Anna-Lena" initials="BAL" lastIdx="81" clrIdx="3">
    <p:extLst>
      <p:ext uri="{19B8F6BF-5375-455C-9EA6-DF929625EA0E}">
        <p15:presenceInfo xmlns:p15="http://schemas.microsoft.com/office/powerpoint/2012/main" userId="S::VIRGOAN2@novartis.net::98d9862e-3d87-4944-980a-10d4ce566d1d" providerId="AD"/>
      </p:ext>
    </p:extLst>
  </p:cmAuthor>
  <p:cmAuthor id="5" name="Fabian Dobree (FleishmanHillard)" initials="FD(" lastIdx="28" clrIdx="4">
    <p:extLst>
      <p:ext uri="{19B8F6BF-5375-455C-9EA6-DF929625EA0E}">
        <p15:presenceInfo xmlns:p15="http://schemas.microsoft.com/office/powerpoint/2012/main" userId="S::fabian.dobree@fleishman.com::0dc6c71d-57a1-4875-87b5-cd57f1c807b0" providerId="AD"/>
      </p:ext>
    </p:extLst>
  </p:cmAuthor>
  <p:cmAuthor id="6" name="Jantje Rees (FleishmanHillard)" initials="JR(" lastIdx="17" clrIdx="5">
    <p:extLst>
      <p:ext uri="{19B8F6BF-5375-455C-9EA6-DF929625EA0E}">
        <p15:presenceInfo xmlns:p15="http://schemas.microsoft.com/office/powerpoint/2012/main" userId="S::jantje.rees@fleishman.com::cbadb444-0861-4ba1-bfea-5bb07b3f61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4C7E7"/>
    <a:srgbClr val="9FC2DE"/>
    <a:srgbClr val="332D72"/>
    <a:srgbClr val="4D4D57"/>
    <a:srgbClr val="E77119"/>
    <a:srgbClr val="A746F2"/>
    <a:srgbClr val="7E7164"/>
    <a:srgbClr val="5191DD"/>
    <a:srgbClr val="FEFB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852130-926E-485C-A54C-47F81616D65F}" v="9" dt="2024-09-23T11:33:27.595"/>
  </p1510:revLst>
</p1510:revInfo>
</file>

<file path=ppt/tableStyles.xml><?xml version="1.0" encoding="utf-8"?>
<a:tblStyleLst xmlns:a="http://schemas.openxmlformats.org/drawingml/2006/main" def="{1C5780E6-A8F4-46B0-B82D-9E7F56C639EF}">
  <a:tblStyle styleId="{1C5780E6-A8F4-46B0-B82D-9E7F56C639EF}" styleName="Novartis Table">
    <a:wholeTbl>
      <a:tcTxStyle>
        <a:fontRef idx="minor"/>
        <a:srgbClr val="000000"/>
      </a:tcTxStyle>
      <a:tcStyle>
        <a:tcBdr>
          <a:left>
            <a:ln>
              <a:noFill/>
            </a:ln>
          </a:left>
          <a:right>
            <a:ln>
              <a:noFill/>
            </a:ln>
          </a:right>
          <a:top>
            <a:ln w="6350">
              <a:solidFill>
                <a:srgbClr val="646464"/>
              </a:solidFill>
            </a:ln>
          </a:top>
          <a:bottom>
            <a:ln w="6350">
              <a:solidFill>
                <a:srgbClr val="646464"/>
              </a:solidFill>
            </a:ln>
          </a:bottom>
          <a:insideH>
            <a:ln w="6350">
              <a:solidFill>
                <a:srgbClr val="646464"/>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b="on">
        <a:fontRef idx="minor"/>
        <a:srgbClr val="000000"/>
      </a:tcTxStyle>
      <a:tcStyle>
        <a:tcBdr/>
      </a:tcStyle>
    </a:lastCol>
    <a:firstCol>
      <a:tcTxStyle b="on">
        <a:fontRef idx="minor"/>
        <a:srgbClr val="000000"/>
      </a:tcTxStyle>
      <a:tcStyle>
        <a:tcBdr/>
      </a:tcStyle>
    </a:firstCol>
    <a:lastRow>
      <a:tcTxStyle b="on">
        <a:fontRef idx="minor"/>
        <a:srgbClr val="000000"/>
      </a:tcTxStyle>
      <a:tcStyle>
        <a:tcBdr>
          <a:top>
            <a:ln w="19050">
              <a:solidFill>
                <a:srgbClr val="000000"/>
              </a:solidFill>
            </a:ln>
          </a:top>
          <a:bottom>
            <a:ln>
              <a:noFill/>
            </a:ln>
          </a:bottom>
        </a:tcBdr>
        <a:fill>
          <a:noFill/>
        </a:fill>
      </a:tcStyle>
    </a:lastRow>
    <a:firstRow>
      <a:tcTxStyle b="on">
        <a:fontRef idx="minor"/>
        <a:srgbClr val="0460A9"/>
      </a:tcTxStyle>
      <a:tcStyle>
        <a:tcBdr>
          <a:top>
            <a:ln>
              <a:noFill/>
            </a:ln>
          </a:top>
          <a:bottom>
            <a:ln w="19050">
              <a:solidFill>
                <a:srgbClr val="0460A9"/>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50"/>
    <p:restoredTop sz="96240" autoAdjust="0"/>
  </p:normalViewPr>
  <p:slideViewPr>
    <p:cSldViewPr snapToGrid="0">
      <p:cViewPr>
        <p:scale>
          <a:sx n="76" d="100"/>
          <a:sy n="76" d="100"/>
        </p:scale>
        <p:origin x="1108" y="88"/>
      </p:cViewPr>
      <p:guideLst>
        <p:guide orient="horz" pos="360"/>
        <p:guide orient="horz" pos="2850"/>
        <p:guide orient="horz" pos="864"/>
        <p:guide pos="5472"/>
        <p:guide pos="2952"/>
        <p:guide pos="287"/>
        <p:guide pos="2640"/>
        <p:guide orient="horz" pos="621"/>
        <p:guide pos="1488"/>
        <p:guide pos="390"/>
        <p:guide orient="horz" pos="2964"/>
      </p:guideLst>
    </p:cSldViewPr>
  </p:slideViewPr>
  <p:notesTextViewPr>
    <p:cViewPr>
      <p:scale>
        <a:sx n="125" d="100"/>
        <a:sy n="125" d="100"/>
      </p:scale>
      <p:origin x="0" y="0"/>
    </p:cViewPr>
  </p:notesTextViewPr>
  <p:notesViewPr>
    <p:cSldViewPr snapToGrid="0">
      <p:cViewPr varScale="1">
        <p:scale>
          <a:sx n="66" d="100"/>
          <a:sy n="66" d="100"/>
        </p:scale>
        <p:origin x="0" y="0"/>
      </p:cViewPr>
      <p:guideLst>
        <p:guide orient="horz" pos="3120"/>
        <p:guide pos="214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handoutMaster" Target="handoutMasters/handout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elli, Costanza" userId="b6975ea0-3bd2-45b5-a858-b981e68b52e1" providerId="ADAL" clId="{56839BCD-1CE9-4457-835A-9B30AB79A06A}"/>
    <pc:docChg chg="custSel modSld">
      <pc:chgData name="Martelli, Costanza" userId="b6975ea0-3bd2-45b5-a858-b981e68b52e1" providerId="ADAL" clId="{56839BCD-1CE9-4457-835A-9B30AB79A06A}" dt="2024-02-26T10:25:22.265" v="108" actId="14100"/>
      <pc:docMkLst>
        <pc:docMk/>
      </pc:docMkLst>
      <pc:sldChg chg="delCm">
        <pc:chgData name="Martelli, Costanza" userId="b6975ea0-3bd2-45b5-a858-b981e68b52e1" providerId="ADAL" clId="{56839BCD-1CE9-4457-835A-9B30AB79A06A}" dt="2024-02-26T10:17:07.234" v="11"/>
        <pc:sldMkLst>
          <pc:docMk/>
          <pc:sldMk cId="398684552" sldId="430"/>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7:07.234" v="11"/>
              <pc2:cmMkLst xmlns:pc2="http://schemas.microsoft.com/office/powerpoint/2019/9/main/command">
                <pc:docMk/>
                <pc:sldMk cId="398684552" sldId="430"/>
                <pc2:cmMk id="{5487142F-FED9-4FBF-9BEB-78EBCD5B6326}"/>
              </pc2:cmMkLst>
            </pc226:cmChg>
          </p:ext>
        </pc:extLst>
      </pc:sldChg>
      <pc:sldChg chg="delCm">
        <pc:chgData name="Martelli, Costanza" userId="b6975ea0-3bd2-45b5-a858-b981e68b52e1" providerId="ADAL" clId="{56839BCD-1CE9-4457-835A-9B30AB79A06A}" dt="2024-02-26T10:08:35.969" v="0"/>
        <pc:sldMkLst>
          <pc:docMk/>
          <pc:sldMk cId="514237350" sldId="447"/>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08:35.969" v="0"/>
              <pc2:cmMkLst xmlns:pc2="http://schemas.microsoft.com/office/powerpoint/2019/9/main/command">
                <pc:docMk/>
                <pc:sldMk cId="514237350" sldId="447"/>
                <pc2:cmMk id="{3A3D6E99-0F8E-4F72-B528-6E57BF7A3BC8}"/>
              </pc2:cmMkLst>
            </pc226:cmChg>
          </p:ext>
        </pc:extLst>
      </pc:sldChg>
      <pc:sldChg chg="modSp mod delCm">
        <pc:chgData name="Martelli, Costanza" userId="b6975ea0-3bd2-45b5-a858-b981e68b52e1" providerId="ADAL" clId="{56839BCD-1CE9-4457-835A-9B30AB79A06A}" dt="2024-02-26T10:21:37.520" v="84" actId="1035"/>
        <pc:sldMkLst>
          <pc:docMk/>
          <pc:sldMk cId="349218125" sldId="2145707233"/>
        </pc:sldMkLst>
        <pc:spChg chg="mod">
          <ac:chgData name="Martelli, Costanza" userId="b6975ea0-3bd2-45b5-a858-b981e68b52e1" providerId="ADAL" clId="{56839BCD-1CE9-4457-835A-9B30AB79A06A}" dt="2024-02-26T10:21:29.946" v="82" actId="1035"/>
          <ac:spMkLst>
            <pc:docMk/>
            <pc:sldMk cId="349218125" sldId="2145707233"/>
            <ac:spMk id="27" creationId="{AE157B97-CA90-45B0-8D06-49F7DEAC26DD}"/>
          </ac:spMkLst>
        </pc:spChg>
        <pc:spChg chg="mod">
          <ac:chgData name="Martelli, Costanza" userId="b6975ea0-3bd2-45b5-a858-b981e68b52e1" providerId="ADAL" clId="{56839BCD-1CE9-4457-835A-9B30AB79A06A}" dt="2024-02-26T10:21:37.520" v="84" actId="1035"/>
          <ac:spMkLst>
            <pc:docMk/>
            <pc:sldMk cId="349218125" sldId="2145707233"/>
            <ac:spMk id="33" creationId="{28B03CED-B9B0-9A7A-4C57-8243BC5E4935}"/>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1:09.072" v="68"/>
              <pc2:cmMkLst xmlns:pc2="http://schemas.microsoft.com/office/powerpoint/2019/9/main/command">
                <pc:docMk/>
                <pc:sldMk cId="349218125" sldId="2145707233"/>
                <pc2:cmMk id="{A74577A2-A891-4638-BF85-C4DBFCA238AC}"/>
              </pc2:cmMkLst>
            </pc226:cmChg>
          </p:ext>
        </pc:extLst>
      </pc:sldChg>
      <pc:sldChg chg="modSp mod">
        <pc:chgData name="Martelli, Costanza" userId="b6975ea0-3bd2-45b5-a858-b981e68b52e1" providerId="ADAL" clId="{56839BCD-1CE9-4457-835A-9B30AB79A06A}" dt="2024-02-26T10:22:47.848" v="98" actId="20577"/>
        <pc:sldMkLst>
          <pc:docMk/>
          <pc:sldMk cId="656089248" sldId="2145707362"/>
        </pc:sldMkLst>
        <pc:spChg chg="mod">
          <ac:chgData name="Martelli, Costanza" userId="b6975ea0-3bd2-45b5-a858-b981e68b52e1" providerId="ADAL" clId="{56839BCD-1CE9-4457-835A-9B30AB79A06A}" dt="2024-02-26T10:22:47.848" v="98" actId="20577"/>
          <ac:spMkLst>
            <pc:docMk/>
            <pc:sldMk cId="656089248" sldId="2145707362"/>
            <ac:spMk id="5" creationId="{8C6E6FC3-945B-6660-8F07-47B59D5BBEA3}"/>
          </ac:spMkLst>
        </pc:spChg>
      </pc:sldChg>
      <pc:sldChg chg="delCm">
        <pc:chgData name="Martelli, Costanza" userId="b6975ea0-3bd2-45b5-a858-b981e68b52e1" providerId="ADAL" clId="{56839BCD-1CE9-4457-835A-9B30AB79A06A}" dt="2024-02-26T10:19:24.983" v="46"/>
        <pc:sldMkLst>
          <pc:docMk/>
          <pc:sldMk cId="1097917158" sldId="2147469343"/>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24.983" v="46"/>
              <pc2:cmMkLst xmlns:pc2="http://schemas.microsoft.com/office/powerpoint/2019/9/main/command">
                <pc:docMk/>
                <pc:sldMk cId="1097917158" sldId="2147469343"/>
                <pc2:cmMk id="{86191B76-CA86-4D1A-8914-59958BD903DA}"/>
              </pc2:cmMkLst>
            </pc226:cmChg>
            <pc226:cmChg xmlns:pc226="http://schemas.microsoft.com/office/powerpoint/2022/06/main/command" chg="del">
              <pc226:chgData name="Martelli, Costanza" userId="b6975ea0-3bd2-45b5-a858-b981e68b52e1" providerId="ADAL" clId="{56839BCD-1CE9-4457-835A-9B30AB79A06A}" dt="2024-02-26T10:19:22.937" v="44"/>
              <pc2:cmMkLst xmlns:pc2="http://schemas.microsoft.com/office/powerpoint/2019/9/main/command">
                <pc:docMk/>
                <pc:sldMk cId="1097917158" sldId="2147469343"/>
                <pc2:cmMk id="{A1B45C83-B2C5-4F0D-8666-D031F7F382E8}"/>
              </pc2:cmMkLst>
            </pc226:cmChg>
            <pc226:cmChg xmlns:pc226="http://schemas.microsoft.com/office/powerpoint/2022/06/main/command" chg="del">
              <pc226:chgData name="Martelli, Costanza" userId="b6975ea0-3bd2-45b5-a858-b981e68b52e1" providerId="ADAL" clId="{56839BCD-1CE9-4457-835A-9B30AB79A06A}" dt="2024-02-26T10:19:24.090" v="45"/>
              <pc2:cmMkLst xmlns:pc2="http://schemas.microsoft.com/office/powerpoint/2019/9/main/command">
                <pc:docMk/>
                <pc:sldMk cId="1097917158" sldId="2147469343"/>
                <pc2:cmMk id="{361244F6-B77B-4F26-81B0-C78CAF06EB32}"/>
              </pc2:cmMkLst>
            </pc226:cmChg>
          </p:ext>
        </pc:extLst>
      </pc:sldChg>
      <pc:sldChg chg="delCm">
        <pc:chgData name="Martelli, Costanza" userId="b6975ea0-3bd2-45b5-a858-b981e68b52e1" providerId="ADAL" clId="{56839BCD-1CE9-4457-835A-9B30AB79A06A}" dt="2024-02-26T10:16:55.448" v="10"/>
        <pc:sldMkLst>
          <pc:docMk/>
          <pc:sldMk cId="2408836625" sldId="2147469345"/>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6:55.448" v="10"/>
              <pc2:cmMkLst xmlns:pc2="http://schemas.microsoft.com/office/powerpoint/2019/9/main/command">
                <pc:docMk/>
                <pc:sldMk cId="2408836625" sldId="2147469345"/>
                <pc2:cmMk id="{CF7A512E-45CA-4730-A625-DE6B6D51AF80}"/>
              </pc2:cmMkLst>
            </pc226:cmChg>
          </p:ext>
        </pc:extLst>
      </pc:sldChg>
      <pc:sldChg chg="delCm">
        <pc:chgData name="Martelli, Costanza" userId="b6975ea0-3bd2-45b5-a858-b981e68b52e1" providerId="ADAL" clId="{56839BCD-1CE9-4457-835A-9B30AB79A06A}" dt="2024-02-26T10:13:58.538" v="9"/>
        <pc:sldMkLst>
          <pc:docMk/>
          <pc:sldMk cId="3777991858" sldId="2147469380"/>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3:57.108" v="8"/>
              <pc2:cmMkLst xmlns:pc2="http://schemas.microsoft.com/office/powerpoint/2019/9/main/command">
                <pc:docMk/>
                <pc:sldMk cId="3777991858" sldId="2147469380"/>
                <pc2:cmMk id="{F23D5B0E-7D15-4913-B06C-EB4173583016}"/>
              </pc2:cmMkLst>
            </pc226:cmChg>
            <pc226:cmChg xmlns:pc226="http://schemas.microsoft.com/office/powerpoint/2022/06/main/command" chg="del">
              <pc226:chgData name="Martelli, Costanza" userId="b6975ea0-3bd2-45b5-a858-b981e68b52e1" providerId="ADAL" clId="{56839BCD-1CE9-4457-835A-9B30AB79A06A}" dt="2024-02-26T10:13:58.538" v="9"/>
              <pc2:cmMkLst xmlns:pc2="http://schemas.microsoft.com/office/powerpoint/2019/9/main/command">
                <pc:docMk/>
                <pc:sldMk cId="3777991858" sldId="2147469380"/>
                <pc2:cmMk id="{894AF35E-0E3E-49B7-9302-D38832BADDCD}"/>
              </pc2:cmMkLst>
            </pc226:cmChg>
          </p:ext>
        </pc:extLst>
      </pc:sldChg>
      <pc:sldChg chg="modSp mod delCm">
        <pc:chgData name="Martelli, Costanza" userId="b6975ea0-3bd2-45b5-a858-b981e68b52e1" providerId="ADAL" clId="{56839BCD-1CE9-4457-835A-9B30AB79A06A}" dt="2024-02-26T10:19:35.500" v="48" actId="122"/>
        <pc:sldMkLst>
          <pc:docMk/>
          <pc:sldMk cId="3885099165" sldId="2147469391"/>
        </pc:sldMkLst>
        <pc:spChg chg="mod">
          <ac:chgData name="Martelli, Costanza" userId="b6975ea0-3bd2-45b5-a858-b981e68b52e1" providerId="ADAL" clId="{56839BCD-1CE9-4457-835A-9B30AB79A06A}" dt="2024-02-26T10:19:35.500" v="48" actId="122"/>
          <ac:spMkLst>
            <pc:docMk/>
            <pc:sldMk cId="3885099165" sldId="2147469391"/>
            <ac:spMk id="53" creationId="{B3DE3327-C9DC-8A7C-B594-6B51F134748B}"/>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29.221" v="47"/>
              <pc2:cmMkLst xmlns:pc2="http://schemas.microsoft.com/office/powerpoint/2019/9/main/command">
                <pc:docMk/>
                <pc:sldMk cId="3885099165" sldId="2147469391"/>
                <pc2:cmMk id="{3A5E287C-9F43-4594-85DB-029003127C9F}"/>
              </pc2:cmMkLst>
            </pc226:cmChg>
          </p:ext>
        </pc:extLst>
      </pc:sldChg>
      <pc:sldChg chg="modSp mod delCm">
        <pc:chgData name="Martelli, Costanza" userId="b6975ea0-3bd2-45b5-a858-b981e68b52e1" providerId="ADAL" clId="{56839BCD-1CE9-4457-835A-9B30AB79A06A}" dt="2024-02-26T10:08:57.339" v="4" actId="13926"/>
        <pc:sldMkLst>
          <pc:docMk/>
          <pc:sldMk cId="3777710546" sldId="2147469398"/>
        </pc:sldMkLst>
        <pc:spChg chg="mod">
          <ac:chgData name="Martelli, Costanza" userId="b6975ea0-3bd2-45b5-a858-b981e68b52e1" providerId="ADAL" clId="{56839BCD-1CE9-4457-835A-9B30AB79A06A}" dt="2024-02-26T10:08:57.339" v="4" actId="13926"/>
          <ac:spMkLst>
            <pc:docMk/>
            <pc:sldMk cId="3777710546" sldId="2147469398"/>
            <ac:spMk id="35" creationId="{0D49B4F5-6E68-0C65-681A-5826840C7E02}"/>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08:45.720" v="3"/>
              <pc2:cmMkLst xmlns:pc2="http://schemas.microsoft.com/office/powerpoint/2019/9/main/command">
                <pc:docMk/>
                <pc:sldMk cId="3777710546" sldId="2147469398"/>
                <pc2:cmMk id="{6FF24030-7DE7-4B37-8B7B-624F6D06FFA3}"/>
              </pc2:cmMkLst>
            </pc226:cmChg>
            <pc226:cmChg xmlns:pc226="http://schemas.microsoft.com/office/powerpoint/2022/06/main/command" chg="del">
              <pc226:chgData name="Martelli, Costanza" userId="b6975ea0-3bd2-45b5-a858-b981e68b52e1" providerId="ADAL" clId="{56839BCD-1CE9-4457-835A-9B30AB79A06A}" dt="2024-02-26T10:08:44.984" v="2"/>
              <pc2:cmMkLst xmlns:pc2="http://schemas.microsoft.com/office/powerpoint/2019/9/main/command">
                <pc:docMk/>
                <pc:sldMk cId="3777710546" sldId="2147469398"/>
                <pc2:cmMk id="{A661D6AE-61B8-4042-B634-543A028FF9F2}"/>
              </pc2:cmMkLst>
            </pc226:cmChg>
            <pc226:cmChg xmlns:pc226="http://schemas.microsoft.com/office/powerpoint/2022/06/main/command" chg="del">
              <pc226:chgData name="Martelli, Costanza" userId="b6975ea0-3bd2-45b5-a858-b981e68b52e1" providerId="ADAL" clId="{56839BCD-1CE9-4457-835A-9B30AB79A06A}" dt="2024-02-26T10:08:44.086" v="1"/>
              <pc2:cmMkLst xmlns:pc2="http://schemas.microsoft.com/office/powerpoint/2019/9/main/command">
                <pc:docMk/>
                <pc:sldMk cId="3777710546" sldId="2147469398"/>
                <pc2:cmMk id="{885C00B8-CD4A-4C8C-9FC8-6D93FFE71BB7}"/>
              </pc2:cmMkLst>
            </pc226:cmChg>
          </p:ext>
        </pc:extLst>
      </pc:sldChg>
      <pc:sldChg chg="modSp mod">
        <pc:chgData name="Martelli, Costanza" userId="b6975ea0-3bd2-45b5-a858-b981e68b52e1" providerId="ADAL" clId="{56839BCD-1CE9-4457-835A-9B30AB79A06A}" dt="2024-02-26T10:24:47.672" v="106" actId="208"/>
        <pc:sldMkLst>
          <pc:docMk/>
          <pc:sldMk cId="3414571426" sldId="2147469411"/>
        </pc:sldMkLst>
        <pc:spChg chg="mod">
          <ac:chgData name="Martelli, Costanza" userId="b6975ea0-3bd2-45b5-a858-b981e68b52e1" providerId="ADAL" clId="{56839BCD-1CE9-4457-835A-9B30AB79A06A}" dt="2024-02-26T10:24:47.672" v="106" actId="208"/>
          <ac:spMkLst>
            <pc:docMk/>
            <pc:sldMk cId="3414571426" sldId="2147469411"/>
            <ac:spMk id="53" creationId="{F94765D2-890E-3599-86D2-86A1DFE0F5BB}"/>
          </ac:spMkLst>
        </pc:spChg>
        <pc:spChg chg="mod">
          <ac:chgData name="Martelli, Costanza" userId="b6975ea0-3bd2-45b5-a858-b981e68b52e1" providerId="ADAL" clId="{56839BCD-1CE9-4457-835A-9B30AB79A06A}" dt="2024-02-26T10:24:39.565" v="104" actId="207"/>
          <ac:spMkLst>
            <pc:docMk/>
            <pc:sldMk cId="3414571426" sldId="2147469411"/>
            <ac:spMk id="58" creationId="{AE1442E5-43F5-9685-DF28-3A07D1DE313F}"/>
          </ac:spMkLst>
        </pc:spChg>
        <pc:cxnChg chg="mod">
          <ac:chgData name="Martelli, Costanza" userId="b6975ea0-3bd2-45b5-a858-b981e68b52e1" providerId="ADAL" clId="{56839BCD-1CE9-4457-835A-9B30AB79A06A}" dt="2024-02-26T10:23:47.386" v="99" actId="208"/>
          <ac:cxnSpMkLst>
            <pc:docMk/>
            <pc:sldMk cId="3414571426" sldId="2147469411"/>
            <ac:cxnSpMk id="40" creationId="{44DD83B4-DCC8-89C3-A6B4-B8F0CAA54BC0}"/>
          </ac:cxnSpMkLst>
        </pc:cxnChg>
        <pc:cxnChg chg="mod">
          <ac:chgData name="Martelli, Costanza" userId="b6975ea0-3bd2-45b5-a858-b981e68b52e1" providerId="ADAL" clId="{56839BCD-1CE9-4457-835A-9B30AB79A06A}" dt="2024-02-26T10:24:45.335" v="105" actId="208"/>
          <ac:cxnSpMkLst>
            <pc:docMk/>
            <pc:sldMk cId="3414571426" sldId="2147469411"/>
            <ac:cxnSpMk id="45" creationId="{240F9B50-4EAA-7E5F-875E-DE187AEF156B}"/>
          </ac:cxnSpMkLst>
        </pc:cxnChg>
        <pc:cxnChg chg="mod">
          <ac:chgData name="Martelli, Costanza" userId="b6975ea0-3bd2-45b5-a858-b981e68b52e1" providerId="ADAL" clId="{56839BCD-1CE9-4457-835A-9B30AB79A06A}" dt="2024-02-26T10:23:50.793" v="100" actId="208"/>
          <ac:cxnSpMkLst>
            <pc:docMk/>
            <pc:sldMk cId="3414571426" sldId="2147469411"/>
            <ac:cxnSpMk id="52" creationId="{5E29BBD1-7DF1-6CE5-D0D0-9B2F381FB887}"/>
          </ac:cxnSpMkLst>
        </pc:cxnChg>
      </pc:sldChg>
      <pc:sldChg chg="delCm">
        <pc:chgData name="Martelli, Costanza" userId="b6975ea0-3bd2-45b5-a858-b981e68b52e1" providerId="ADAL" clId="{56839BCD-1CE9-4457-835A-9B30AB79A06A}" dt="2024-02-26T10:19:08.887" v="43"/>
        <pc:sldMkLst>
          <pc:docMk/>
          <pc:sldMk cId="48683776" sldId="2147469459"/>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08.887" v="43"/>
              <pc2:cmMkLst xmlns:pc2="http://schemas.microsoft.com/office/powerpoint/2019/9/main/command">
                <pc:docMk/>
                <pc:sldMk cId="48683776" sldId="2147469459"/>
                <pc2:cmMk id="{69981DC0-755E-4619-BA6D-AF2C45AFA59A}"/>
              </pc2:cmMkLst>
            </pc226:cmChg>
          </p:ext>
        </pc:extLst>
      </pc:sldChg>
      <pc:sldChg chg="modSp mod delCm">
        <pc:chgData name="Martelli, Costanza" userId="b6975ea0-3bd2-45b5-a858-b981e68b52e1" providerId="ADAL" clId="{56839BCD-1CE9-4457-835A-9B30AB79A06A}" dt="2024-02-26T10:18:56.388" v="42" actId="20577"/>
        <pc:sldMkLst>
          <pc:docMk/>
          <pc:sldMk cId="1758882031" sldId="2147469463"/>
        </pc:sldMkLst>
        <pc:spChg chg="mod">
          <ac:chgData name="Martelli, Costanza" userId="b6975ea0-3bd2-45b5-a858-b981e68b52e1" providerId="ADAL" clId="{56839BCD-1CE9-4457-835A-9B30AB79A06A}" dt="2024-02-26T10:18:56.388" v="42" actId="20577"/>
          <ac:spMkLst>
            <pc:docMk/>
            <pc:sldMk cId="1758882031" sldId="2147469463"/>
            <ac:spMk id="29" creationId="{5E79222E-4B03-33E5-CE22-EA1EC04011E7}"/>
          </ac:spMkLst>
        </pc:spChg>
        <pc:spChg chg="mod">
          <ac:chgData name="Martelli, Costanza" userId="b6975ea0-3bd2-45b5-a858-b981e68b52e1" providerId="ADAL" clId="{56839BCD-1CE9-4457-835A-9B30AB79A06A}" dt="2024-02-26T10:18:25.608" v="41" actId="1037"/>
          <ac:spMkLst>
            <pc:docMk/>
            <pc:sldMk cId="1758882031" sldId="2147469463"/>
            <ac:spMk id="445" creationId="{57375F15-4018-529B-F0E1-92BE67C5C5A4}"/>
          </ac:spMkLst>
        </pc:spChg>
        <pc:spChg chg="mod">
          <ac:chgData name="Martelli, Costanza" userId="b6975ea0-3bd2-45b5-a858-b981e68b52e1" providerId="ADAL" clId="{56839BCD-1CE9-4457-835A-9B30AB79A06A}" dt="2024-02-26T10:18:12.830" v="31" actId="1037"/>
          <ac:spMkLst>
            <pc:docMk/>
            <pc:sldMk cId="1758882031" sldId="2147469463"/>
            <ac:spMk id="446" creationId="{614D7323-102D-9E66-5548-F236DBD6E4A9}"/>
          </ac:spMkLst>
        </pc:spChg>
        <pc:spChg chg="mod">
          <ac:chgData name="Martelli, Costanza" userId="b6975ea0-3bd2-45b5-a858-b981e68b52e1" providerId="ADAL" clId="{56839BCD-1CE9-4457-835A-9B30AB79A06A}" dt="2024-02-26T10:18:08.863" v="24" actId="1038"/>
          <ac:spMkLst>
            <pc:docMk/>
            <pc:sldMk cId="1758882031" sldId="2147469463"/>
            <ac:spMk id="447" creationId="{56A28CF2-2A08-859D-92EC-B6D9B8B0D879}"/>
          </ac:spMkLst>
        </pc:spChg>
        <pc:spChg chg="mod">
          <ac:chgData name="Martelli, Costanza" userId="b6975ea0-3bd2-45b5-a858-b981e68b52e1" providerId="ADAL" clId="{56839BCD-1CE9-4457-835A-9B30AB79A06A}" dt="2024-02-26T10:18:16.887" v="34" actId="1038"/>
          <ac:spMkLst>
            <pc:docMk/>
            <pc:sldMk cId="1758882031" sldId="2147469463"/>
            <ac:spMk id="448" creationId="{CAF07BD4-B349-6C9C-034B-DCF161260B05}"/>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7:10.512" v="12"/>
              <pc2:cmMkLst xmlns:pc2="http://schemas.microsoft.com/office/powerpoint/2019/9/main/command">
                <pc:docMk/>
                <pc:sldMk cId="1758882031" sldId="2147469463"/>
                <pc2:cmMk id="{067087A8-BA1E-4CE6-A0B2-AE844856B5AF}"/>
              </pc2:cmMkLst>
            </pc226:cmChg>
          </p:ext>
        </pc:extLst>
      </pc:sldChg>
      <pc:sldChg chg="delCm">
        <pc:chgData name="Martelli, Costanza" userId="b6975ea0-3bd2-45b5-a858-b981e68b52e1" providerId="ADAL" clId="{56839BCD-1CE9-4457-835A-9B30AB79A06A}" dt="2024-02-26T10:19:43.354" v="50"/>
        <pc:sldMkLst>
          <pc:docMk/>
          <pc:sldMk cId="1122028596" sldId="2147469466"/>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42.846" v="49"/>
              <pc2:cmMkLst xmlns:pc2="http://schemas.microsoft.com/office/powerpoint/2019/9/main/command">
                <pc:docMk/>
                <pc:sldMk cId="1122028596" sldId="2147469466"/>
                <pc2:cmMk id="{C20CAE8E-E5EE-4DDD-910C-8AF2A8270B77}"/>
              </pc2:cmMkLst>
            </pc226:cmChg>
            <pc226:cmChg xmlns:pc226="http://schemas.microsoft.com/office/powerpoint/2022/06/main/command" chg="del">
              <pc226:chgData name="Martelli, Costanza" userId="b6975ea0-3bd2-45b5-a858-b981e68b52e1" providerId="ADAL" clId="{56839BCD-1CE9-4457-835A-9B30AB79A06A}" dt="2024-02-26T10:19:43.354" v="50"/>
              <pc2:cmMkLst xmlns:pc2="http://schemas.microsoft.com/office/powerpoint/2019/9/main/command">
                <pc:docMk/>
                <pc:sldMk cId="1122028596" sldId="2147469466"/>
                <pc2:cmMk id="{C66A91C4-BF28-4AE2-9CD6-AF3581278850}"/>
              </pc2:cmMkLst>
            </pc226:cmChg>
          </p:ext>
        </pc:extLst>
      </pc:sldChg>
      <pc:sldChg chg="delCm">
        <pc:chgData name="Martelli, Costanza" userId="b6975ea0-3bd2-45b5-a858-b981e68b52e1" providerId="ADAL" clId="{56839BCD-1CE9-4457-835A-9B30AB79A06A}" dt="2024-02-26T10:19:52.523" v="51"/>
        <pc:sldMkLst>
          <pc:docMk/>
          <pc:sldMk cId="1043862141" sldId="2147469469"/>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9:52.523" v="51"/>
              <pc2:cmMkLst xmlns:pc2="http://schemas.microsoft.com/office/powerpoint/2019/9/main/command">
                <pc:docMk/>
                <pc:sldMk cId="1043862141" sldId="2147469469"/>
                <pc2:cmMk id="{ECED28F5-B43D-4ABE-8BCC-7BC51F2167F1}"/>
              </pc2:cmMkLst>
            </pc226:cmChg>
          </p:ext>
        </pc:extLst>
      </pc:sldChg>
      <pc:sldChg chg="modSp mod delCm">
        <pc:chgData name="Martelli, Costanza" userId="b6975ea0-3bd2-45b5-a858-b981e68b52e1" providerId="ADAL" clId="{56839BCD-1CE9-4457-835A-9B30AB79A06A}" dt="2024-02-26T10:20:52.980" v="67" actId="1035"/>
        <pc:sldMkLst>
          <pc:docMk/>
          <pc:sldMk cId="500320458" sldId="2147469470"/>
        </pc:sldMkLst>
        <pc:spChg chg="mod">
          <ac:chgData name="Martelli, Costanza" userId="b6975ea0-3bd2-45b5-a858-b981e68b52e1" providerId="ADAL" clId="{56839BCD-1CE9-4457-835A-9B30AB79A06A}" dt="2024-02-26T10:20:44.499" v="63" actId="1035"/>
          <ac:spMkLst>
            <pc:docMk/>
            <pc:sldMk cId="500320458" sldId="2147469470"/>
            <ac:spMk id="10" creationId="{5DE914EA-3490-8CA7-D712-2FEF39CCC7FC}"/>
          </ac:spMkLst>
        </pc:spChg>
        <pc:spChg chg="mod">
          <ac:chgData name="Martelli, Costanza" userId="b6975ea0-3bd2-45b5-a858-b981e68b52e1" providerId="ADAL" clId="{56839BCD-1CE9-4457-835A-9B30AB79A06A}" dt="2024-02-26T10:20:52.980" v="67" actId="1035"/>
          <ac:spMkLst>
            <pc:docMk/>
            <pc:sldMk cId="500320458" sldId="2147469470"/>
            <ac:spMk id="16" creationId="{2C111EDC-A5E3-ABCA-B88E-5FFEB6910B06}"/>
          </ac:spMkLst>
        </pc:sp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0:39.657" v="54"/>
              <pc2:cmMkLst xmlns:pc2="http://schemas.microsoft.com/office/powerpoint/2019/9/main/command">
                <pc:docMk/>
                <pc:sldMk cId="500320458" sldId="2147469470"/>
                <pc2:cmMk id="{CD0F3FB0-A9E8-43FB-8E14-D29F5C7537F7}"/>
              </pc2:cmMkLst>
            </pc226:cmChg>
          </p:ext>
        </pc:extLst>
      </pc:sldChg>
      <pc:sldChg chg="delCm">
        <pc:chgData name="Martelli, Costanza" userId="b6975ea0-3bd2-45b5-a858-b981e68b52e1" providerId="ADAL" clId="{56839BCD-1CE9-4457-835A-9B30AB79A06A}" dt="2024-02-26T10:20:31.877" v="53"/>
        <pc:sldMkLst>
          <pc:docMk/>
          <pc:sldMk cId="4265797749" sldId="2147469471"/>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0:31.877" v="53"/>
              <pc2:cmMkLst xmlns:pc2="http://schemas.microsoft.com/office/powerpoint/2019/9/main/command">
                <pc:docMk/>
                <pc:sldMk cId="4265797749" sldId="2147469471"/>
                <pc2:cmMk id="{94ED2C07-CBCC-4498-A8E8-985CA9930DCA}"/>
              </pc2:cmMkLst>
            </pc226:cmChg>
            <pc226:cmChg xmlns:pc226="http://schemas.microsoft.com/office/powerpoint/2022/06/main/command" chg="del">
              <pc226:chgData name="Martelli, Costanza" userId="b6975ea0-3bd2-45b5-a858-b981e68b52e1" providerId="ADAL" clId="{56839BCD-1CE9-4457-835A-9B30AB79A06A}" dt="2024-02-26T10:20:01.030" v="52"/>
              <pc2:cmMkLst xmlns:pc2="http://schemas.microsoft.com/office/powerpoint/2019/9/main/command">
                <pc:docMk/>
                <pc:sldMk cId="4265797749" sldId="2147469471"/>
                <pc2:cmMk id="{7017DAD0-0E71-4D47-BCB1-6750EEAF017B}"/>
              </pc2:cmMkLst>
            </pc226:cmChg>
          </p:ext>
        </pc:extLst>
      </pc:sldChg>
      <pc:sldChg chg="delCm">
        <pc:chgData name="Martelli, Costanza" userId="b6975ea0-3bd2-45b5-a858-b981e68b52e1" providerId="ADAL" clId="{56839BCD-1CE9-4457-835A-9B30AB79A06A}" dt="2024-02-26T10:21:52.883" v="85"/>
        <pc:sldMkLst>
          <pc:docMk/>
          <pc:sldMk cId="3840591791" sldId="2147469473"/>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1:52.883" v="85"/>
              <pc2:cmMkLst xmlns:pc2="http://schemas.microsoft.com/office/powerpoint/2019/9/main/command">
                <pc:docMk/>
                <pc:sldMk cId="3840591791" sldId="2147469473"/>
                <pc2:cmMk id="{E7472AB5-045E-415F-98BC-68DB3B6E70D6}"/>
              </pc2:cmMkLst>
            </pc226:cmChg>
          </p:ext>
        </pc:extLst>
      </pc:sldChg>
      <pc:sldChg chg="modSp mod delCm">
        <pc:chgData name="Martelli, Costanza" userId="b6975ea0-3bd2-45b5-a858-b981e68b52e1" providerId="ADAL" clId="{56839BCD-1CE9-4457-835A-9B30AB79A06A}" dt="2024-02-26T10:25:22.265" v="108" actId="14100"/>
        <pc:sldMkLst>
          <pc:docMk/>
          <pc:sldMk cId="3924729298" sldId="2147469475"/>
        </pc:sldMkLst>
        <pc:graphicFrameChg chg="modGraphic">
          <ac:chgData name="Martelli, Costanza" userId="b6975ea0-3bd2-45b5-a858-b981e68b52e1" providerId="ADAL" clId="{56839BCD-1CE9-4457-835A-9B30AB79A06A}" dt="2024-02-26T10:25:22.265" v="108" actId="14100"/>
          <ac:graphicFrameMkLst>
            <pc:docMk/>
            <pc:sldMk cId="3924729298" sldId="2147469475"/>
            <ac:graphicFrameMk id="3" creationId="{1C340818-F11E-C0F3-A189-E397BAAC4767}"/>
          </ac:graphicFrameMkLst>
        </pc:graphicFrameChg>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25:17.346" v="107"/>
              <pc2:cmMkLst xmlns:pc2="http://schemas.microsoft.com/office/powerpoint/2019/9/main/command">
                <pc:docMk/>
                <pc:sldMk cId="3924729298" sldId="2147469475"/>
                <pc2:cmMk id="{E0B836AD-D364-43A7-8ED2-2D8C9E819792}"/>
              </pc2:cmMkLst>
            </pc226:cmChg>
          </p:ext>
        </pc:extLst>
      </pc:sldChg>
      <pc:sldChg chg="delCm">
        <pc:chgData name="Martelli, Costanza" userId="b6975ea0-3bd2-45b5-a858-b981e68b52e1" providerId="ADAL" clId="{56839BCD-1CE9-4457-835A-9B30AB79A06A}" dt="2024-02-26T10:12:53.757" v="7"/>
        <pc:sldMkLst>
          <pc:docMk/>
          <pc:sldMk cId="993275777" sldId="2147469484"/>
        </pc:sldMkLst>
        <pc:extLst>
          <p:ext xmlns:p="http://schemas.openxmlformats.org/presentationml/2006/main" uri="{D6D511B9-2390-475A-947B-AFAB55BFBCF1}">
            <pc226:cmChg xmlns:pc226="http://schemas.microsoft.com/office/powerpoint/2022/06/main/command" chg="del">
              <pc226:chgData name="Martelli, Costanza" userId="b6975ea0-3bd2-45b5-a858-b981e68b52e1" providerId="ADAL" clId="{56839BCD-1CE9-4457-835A-9B30AB79A06A}" dt="2024-02-26T10:12:53.757" v="7"/>
              <pc2:cmMkLst xmlns:pc2="http://schemas.microsoft.com/office/powerpoint/2019/9/main/command">
                <pc:docMk/>
                <pc:sldMk cId="993275777" sldId="2147469484"/>
                <pc2:cmMk id="{5C08AF01-2D55-F44C-BB14-CFC825DF09B8}"/>
              </pc2:cmMkLst>
            </pc226:cmChg>
            <pc226:cmChg xmlns:pc226="http://schemas.microsoft.com/office/powerpoint/2022/06/main/command" chg="del">
              <pc226:chgData name="Martelli, Costanza" userId="b6975ea0-3bd2-45b5-a858-b981e68b52e1" providerId="ADAL" clId="{56839BCD-1CE9-4457-835A-9B30AB79A06A}" dt="2024-02-26T10:12:50.611" v="5"/>
              <pc2:cmMkLst xmlns:pc2="http://schemas.microsoft.com/office/powerpoint/2019/9/main/command">
                <pc:docMk/>
                <pc:sldMk cId="993275777" sldId="2147469484"/>
                <pc2:cmMk id="{BFFBBB4B-60D1-8F46-8CBE-6E4B33F84257}"/>
              </pc2:cmMkLst>
            </pc226:cmChg>
            <pc226:cmChg xmlns:pc226="http://schemas.microsoft.com/office/powerpoint/2022/06/main/command" chg="del">
              <pc226:chgData name="Martelli, Costanza" userId="b6975ea0-3bd2-45b5-a858-b981e68b52e1" providerId="ADAL" clId="{56839BCD-1CE9-4457-835A-9B30AB79A06A}" dt="2024-02-26T10:12:52.190" v="6"/>
              <pc2:cmMkLst xmlns:pc2="http://schemas.microsoft.com/office/powerpoint/2019/9/main/command">
                <pc:docMk/>
                <pc:sldMk cId="993275777" sldId="2147469484"/>
                <pc2:cmMk id="{C97339BA-2EB1-584C-94EC-1A4A4C985B91}"/>
              </pc2:cmMkLst>
            </pc226:cmChg>
          </p:ext>
        </pc:extLst>
      </pc:sldChg>
    </pc:docChg>
  </pc:docChgLst>
  <pc:docChgLst>
    <pc:chgData name="Jacobs, Laura (Div)" userId="99fa74c6-ede3-4954-a39a-d9db78cf29d5" providerId="ADAL" clId="{EA3C22C1-64B1-4642-AA0D-8FB1344BB69D}"/>
    <pc:docChg chg="custSel delSld modSld">
      <pc:chgData name="Jacobs, Laura (Div)" userId="99fa74c6-ede3-4954-a39a-d9db78cf29d5" providerId="ADAL" clId="{EA3C22C1-64B1-4642-AA0D-8FB1344BB69D}" dt="2024-05-24T13:26:00.844" v="417" actId="20577"/>
      <pc:docMkLst>
        <pc:docMk/>
      </pc:docMkLst>
      <pc:sldChg chg="modSp mod addCm">
        <pc:chgData name="Jacobs, Laura (Div)" userId="99fa74c6-ede3-4954-a39a-d9db78cf29d5" providerId="ADAL" clId="{EA3C22C1-64B1-4642-AA0D-8FB1344BB69D}" dt="2024-05-07T14:26:30.843" v="115"/>
        <pc:sldMkLst>
          <pc:docMk/>
          <pc:sldMk cId="794050670" sldId="261"/>
        </pc:sldMkLst>
        <pc:spChg chg="mod">
          <ac:chgData name="Jacobs, Laura (Div)" userId="99fa74c6-ede3-4954-a39a-d9db78cf29d5" providerId="ADAL" clId="{EA3C22C1-64B1-4642-AA0D-8FB1344BB69D}" dt="2024-05-07T14:26:18.738" v="114" actId="20577"/>
          <ac:spMkLst>
            <pc:docMk/>
            <pc:sldMk cId="794050670" sldId="261"/>
            <ac:spMk id="6" creationId="{6399EA1D-C2E6-D779-395A-D23AFB00E67F}"/>
          </ac:spMkLst>
        </pc:spChg>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7T14:26:30.843" v="115"/>
              <pc2:cmMkLst xmlns:pc2="http://schemas.microsoft.com/office/powerpoint/2019/9/main/command">
                <pc:docMk/>
                <pc:sldMk cId="794050670" sldId="261"/>
                <pc2:cmMk id="{54383EAF-8C7C-4643-9D63-DB299005A811}"/>
              </pc2:cmMkLst>
            </pc226:cmChg>
          </p:ext>
        </pc:extLst>
      </pc:sldChg>
      <pc:sldChg chg="delSp modSp mod addCm modCm">
        <pc:chgData name="Jacobs, Laura (Div)" userId="99fa74c6-ede3-4954-a39a-d9db78cf29d5" providerId="ADAL" clId="{EA3C22C1-64B1-4642-AA0D-8FB1344BB69D}" dt="2024-05-24T13:26:00.844" v="417" actId="20577"/>
        <pc:sldMkLst>
          <pc:docMk/>
          <pc:sldMk cId="514237350" sldId="447"/>
        </pc:sldMkLst>
        <pc:spChg chg="del">
          <ac:chgData name="Jacobs, Laura (Div)" userId="99fa74c6-ede3-4954-a39a-d9db78cf29d5" providerId="ADAL" clId="{EA3C22C1-64B1-4642-AA0D-8FB1344BB69D}" dt="2024-05-08T11:39:49.812" v="322" actId="478"/>
          <ac:spMkLst>
            <pc:docMk/>
            <pc:sldMk cId="514237350" sldId="447"/>
            <ac:spMk id="5" creationId="{A294D7B5-4D15-D530-0388-F87ADA86C5AA}"/>
          </ac:spMkLst>
        </pc:spChg>
        <pc:spChg chg="mod">
          <ac:chgData name="Jacobs, Laura (Div)" userId="99fa74c6-ede3-4954-a39a-d9db78cf29d5" providerId="ADAL" clId="{EA3C22C1-64B1-4642-AA0D-8FB1344BB69D}" dt="2024-05-24T13:25:09.213" v="356" actId="1035"/>
          <ac:spMkLst>
            <pc:docMk/>
            <pc:sldMk cId="514237350" sldId="447"/>
            <ac:spMk id="11" creationId="{80439805-52F5-2F56-A278-4B39ABCE8173}"/>
          </ac:spMkLst>
        </pc:spChg>
        <pc:spChg chg="mod">
          <ac:chgData name="Jacobs, Laura (Div)" userId="99fa74c6-ede3-4954-a39a-d9db78cf29d5" providerId="ADAL" clId="{EA3C22C1-64B1-4642-AA0D-8FB1344BB69D}" dt="2024-05-24T13:25:32.169" v="408" actId="1036"/>
          <ac:spMkLst>
            <pc:docMk/>
            <pc:sldMk cId="514237350" sldId="447"/>
            <ac:spMk id="14" creationId="{AC2583BF-9145-A09F-34F5-C206A91130B4}"/>
          </ac:spMkLst>
        </pc:spChg>
        <pc:spChg chg="mod">
          <ac:chgData name="Jacobs, Laura (Div)" userId="99fa74c6-ede3-4954-a39a-d9db78cf29d5" providerId="ADAL" clId="{EA3C22C1-64B1-4642-AA0D-8FB1344BB69D}" dt="2024-05-24T13:25:36.041" v="410" actId="1036"/>
          <ac:spMkLst>
            <pc:docMk/>
            <pc:sldMk cId="514237350" sldId="447"/>
            <ac:spMk id="15" creationId="{E641398B-B8A2-E6B7-F2F7-E95B31702EAC}"/>
          </ac:spMkLst>
        </pc:spChg>
        <pc:spChg chg="mod">
          <ac:chgData name="Jacobs, Laura (Div)" userId="99fa74c6-ede3-4954-a39a-d9db78cf29d5" providerId="ADAL" clId="{EA3C22C1-64B1-4642-AA0D-8FB1344BB69D}" dt="2024-05-24T13:25:39.616" v="415" actId="1036"/>
          <ac:spMkLst>
            <pc:docMk/>
            <pc:sldMk cId="514237350" sldId="447"/>
            <ac:spMk id="16" creationId="{5A7EFB36-DF15-FD00-1813-637E4E78CD42}"/>
          </ac:spMkLst>
        </pc:spChg>
        <pc:spChg chg="mod">
          <ac:chgData name="Jacobs, Laura (Div)" userId="99fa74c6-ede3-4954-a39a-d9db78cf29d5" providerId="ADAL" clId="{EA3C22C1-64B1-4642-AA0D-8FB1344BB69D}" dt="2024-05-24T13:26:00.844" v="417" actId="20577"/>
          <ac:spMkLst>
            <pc:docMk/>
            <pc:sldMk cId="514237350" sldId="447"/>
            <ac:spMk id="17" creationId="{E94DDDD9-EFCE-34DB-1EDF-7CB86E782CC9}"/>
          </ac:spMkLst>
        </pc:spChg>
        <pc:spChg chg="del">
          <ac:chgData name="Jacobs, Laura (Div)" userId="99fa74c6-ede3-4954-a39a-d9db78cf29d5" providerId="ADAL" clId="{EA3C22C1-64B1-4642-AA0D-8FB1344BB69D}" dt="2024-05-08T11:40:01.871" v="325" actId="478"/>
          <ac:spMkLst>
            <pc:docMk/>
            <pc:sldMk cId="514237350" sldId="447"/>
            <ac:spMk id="18" creationId="{75DC3D7C-6F51-F173-A51D-21A6EFA25D2D}"/>
          </ac:spMkLst>
        </pc:spChg>
        <pc:spChg chg="del">
          <ac:chgData name="Jacobs, Laura (Div)" userId="99fa74c6-ede3-4954-a39a-d9db78cf29d5" providerId="ADAL" clId="{EA3C22C1-64B1-4642-AA0D-8FB1344BB69D}" dt="2024-05-08T11:39:53.022" v="323" actId="478"/>
          <ac:spMkLst>
            <pc:docMk/>
            <pc:sldMk cId="514237350" sldId="447"/>
            <ac:spMk id="19" creationId="{C0223CEF-B294-78C2-BC67-FD2E3118A64B}"/>
          </ac:spMkLst>
        </pc:spChg>
        <pc:spChg chg="del mod">
          <ac:chgData name="Jacobs, Laura (Div)" userId="99fa74c6-ede3-4954-a39a-d9db78cf29d5" providerId="ADAL" clId="{EA3C22C1-64B1-4642-AA0D-8FB1344BB69D}" dt="2024-05-08T11:39:47.453" v="320" actId="478"/>
          <ac:spMkLst>
            <pc:docMk/>
            <pc:sldMk cId="514237350" sldId="447"/>
            <ac:spMk id="24" creationId="{63837F2A-0DF2-56E6-6D51-B03203D4C2AA}"/>
          </ac:spMkLst>
        </pc:spChg>
        <pc:spChg chg="mod">
          <ac:chgData name="Jacobs, Laura (Div)" userId="99fa74c6-ede3-4954-a39a-d9db78cf29d5" providerId="ADAL" clId="{EA3C22C1-64B1-4642-AA0D-8FB1344BB69D}" dt="2024-05-24T13:25:09.213" v="356" actId="1035"/>
          <ac:spMkLst>
            <pc:docMk/>
            <pc:sldMk cId="514237350" sldId="447"/>
            <ac:spMk id="35" creationId="{5D03C758-C6E6-9D83-95DB-9C18E6FF45CF}"/>
          </ac:spMkLst>
        </pc:spChg>
        <pc:spChg chg="mod">
          <ac:chgData name="Jacobs, Laura (Div)" userId="99fa74c6-ede3-4954-a39a-d9db78cf29d5" providerId="ADAL" clId="{EA3C22C1-64B1-4642-AA0D-8FB1344BB69D}" dt="2024-05-24T13:25:09.213" v="356" actId="1035"/>
          <ac:spMkLst>
            <pc:docMk/>
            <pc:sldMk cId="514237350" sldId="447"/>
            <ac:spMk id="36" creationId="{BC00DD09-D3D3-30B0-8EAA-5B1E4793EF95}"/>
          </ac:spMkLst>
        </pc:spChg>
        <pc:spChg chg="mod">
          <ac:chgData name="Jacobs, Laura (Div)" userId="99fa74c6-ede3-4954-a39a-d9db78cf29d5" providerId="ADAL" clId="{EA3C22C1-64B1-4642-AA0D-8FB1344BB69D}" dt="2024-05-24T13:25:09.213" v="356" actId="1035"/>
          <ac:spMkLst>
            <pc:docMk/>
            <pc:sldMk cId="514237350" sldId="447"/>
            <ac:spMk id="40" creationId="{2D0D5927-8B03-A9F5-6037-CB429C424B1F}"/>
          </ac:spMkLst>
        </pc:spChg>
        <pc:spChg chg="mod">
          <ac:chgData name="Jacobs, Laura (Div)" userId="99fa74c6-ede3-4954-a39a-d9db78cf29d5" providerId="ADAL" clId="{EA3C22C1-64B1-4642-AA0D-8FB1344BB69D}" dt="2024-05-24T13:25:09.213" v="356" actId="1035"/>
          <ac:spMkLst>
            <pc:docMk/>
            <pc:sldMk cId="514237350" sldId="447"/>
            <ac:spMk id="41" creationId="{88B7DD74-18DC-D9C1-6C61-C4B9666DA2A4}"/>
          </ac:spMkLst>
        </pc:spChg>
        <pc:spChg chg="mod">
          <ac:chgData name="Jacobs, Laura (Div)" userId="99fa74c6-ede3-4954-a39a-d9db78cf29d5" providerId="ADAL" clId="{EA3C22C1-64B1-4642-AA0D-8FB1344BB69D}" dt="2024-05-24T13:25:09.213" v="356" actId="1035"/>
          <ac:spMkLst>
            <pc:docMk/>
            <pc:sldMk cId="514237350" sldId="447"/>
            <ac:spMk id="112" creationId="{18F28DF3-33F6-DCCD-0F3D-8CF94900D76B}"/>
          </ac:spMkLst>
        </pc:spChg>
        <pc:grpChg chg="del">
          <ac:chgData name="Jacobs, Laura (Div)" userId="99fa74c6-ede3-4954-a39a-d9db78cf29d5" providerId="ADAL" clId="{EA3C22C1-64B1-4642-AA0D-8FB1344BB69D}" dt="2024-05-08T11:40:00.469" v="324" actId="478"/>
          <ac:grpSpMkLst>
            <pc:docMk/>
            <pc:sldMk cId="514237350" sldId="447"/>
            <ac:grpSpMk id="20" creationId="{3A629B2C-04B3-FA40-7D83-E2A579781DF5}"/>
          </ac:grpSpMkLst>
        </pc:grpChg>
        <pc:picChg chg="mod">
          <ac:chgData name="Jacobs, Laura (Div)" userId="99fa74c6-ede3-4954-a39a-d9db78cf29d5" providerId="ADAL" clId="{EA3C22C1-64B1-4642-AA0D-8FB1344BB69D}" dt="2024-05-24T13:25:09.213" v="356" actId="1035"/>
          <ac:picMkLst>
            <pc:docMk/>
            <pc:sldMk cId="514237350" sldId="447"/>
            <ac:picMk id="27" creationId="{B5F093A3-46CE-CC53-7831-1B8E23340F56}"/>
          </ac:picMkLst>
        </pc:picChg>
        <pc:picChg chg="mod">
          <ac:chgData name="Jacobs, Laura (Div)" userId="99fa74c6-ede3-4954-a39a-d9db78cf29d5" providerId="ADAL" clId="{EA3C22C1-64B1-4642-AA0D-8FB1344BB69D}" dt="2024-05-24T13:25:09.213" v="356" actId="1035"/>
          <ac:picMkLst>
            <pc:docMk/>
            <pc:sldMk cId="514237350" sldId="447"/>
            <ac:picMk id="31" creationId="{6D1F5CDE-F497-097B-CC35-F49A0CF5A483}"/>
          </ac:picMkLst>
        </pc:picChg>
        <pc:extLst>
          <p:ext xmlns:p="http://schemas.openxmlformats.org/presentationml/2006/main" uri="{D6D511B9-2390-475A-947B-AFAB55BFBCF1}">
            <pc226:cmChg xmlns:pc226="http://schemas.microsoft.com/office/powerpoint/2022/06/main/command" chg="add mod">
              <pc226:chgData name="Jacobs, Laura (Div)" userId="99fa74c6-ede3-4954-a39a-d9db78cf29d5" providerId="ADAL" clId="{EA3C22C1-64B1-4642-AA0D-8FB1344BB69D}" dt="2024-05-08T11:39:47.459" v="321" actId="2056"/>
              <pc2:cmMkLst xmlns:pc2="http://schemas.microsoft.com/office/powerpoint/2019/9/main/command">
                <pc:docMk/>
                <pc:sldMk cId="514237350" sldId="447"/>
                <pc2:cmMk id="{86644460-70F7-41F9-B1DE-2EC3C1F8F42A}"/>
              </pc2:cmMkLst>
            </pc226:cmChg>
          </p:ext>
        </pc:extLst>
      </pc:sldChg>
      <pc:sldChg chg="modSp mod addCm">
        <pc:chgData name="Jacobs, Laura (Div)" userId="99fa74c6-ede3-4954-a39a-d9db78cf29d5" providerId="ADAL" clId="{EA3C22C1-64B1-4642-AA0D-8FB1344BB69D}" dt="2024-05-08T11:25:56.368" v="311"/>
        <pc:sldMkLst>
          <pc:docMk/>
          <pc:sldMk cId="1727920259" sldId="526"/>
        </pc:sldMkLst>
        <pc:spChg chg="mod">
          <ac:chgData name="Jacobs, Laura (Div)" userId="99fa74c6-ede3-4954-a39a-d9db78cf29d5" providerId="ADAL" clId="{EA3C22C1-64B1-4642-AA0D-8FB1344BB69D}" dt="2024-05-08T11:25:17.038" v="308" actId="400"/>
          <ac:spMkLst>
            <pc:docMk/>
            <pc:sldMk cId="1727920259" sldId="526"/>
            <ac:spMk id="2" creationId="{00000000-0000-0000-0000-000000000000}"/>
          </ac:spMkLst>
        </pc:spChg>
        <pc:spChg chg="mod">
          <ac:chgData name="Jacobs, Laura (Div)" userId="99fa74c6-ede3-4954-a39a-d9db78cf29d5" providerId="ADAL" clId="{EA3C22C1-64B1-4642-AA0D-8FB1344BB69D}" dt="2024-05-08T11:24:49.535" v="303" actId="400"/>
          <ac:spMkLst>
            <pc:docMk/>
            <pc:sldMk cId="1727920259" sldId="526"/>
            <ac:spMk id="7" creationId="{00000000-0000-0000-0000-000000000000}"/>
          </ac:spMkLst>
        </pc:spChg>
        <pc:spChg chg="mod">
          <ac:chgData name="Jacobs, Laura (Div)" userId="99fa74c6-ede3-4954-a39a-d9db78cf29d5" providerId="ADAL" clId="{EA3C22C1-64B1-4642-AA0D-8FB1344BB69D}" dt="2024-05-08T11:25:24.804" v="310" actId="400"/>
          <ac:spMkLst>
            <pc:docMk/>
            <pc:sldMk cId="1727920259" sldId="526"/>
            <ac:spMk id="13" creationId="{191D0E42-E32E-4C0C-8667-4BAFBEB3CB93}"/>
          </ac:spMkLst>
        </pc:spChg>
        <pc:spChg chg="mod">
          <ac:chgData name="Jacobs, Laura (Div)" userId="99fa74c6-ede3-4954-a39a-d9db78cf29d5" providerId="ADAL" clId="{EA3C22C1-64B1-4642-AA0D-8FB1344BB69D}" dt="2024-05-08T11:24:53.475" v="305" actId="207"/>
          <ac:spMkLst>
            <pc:docMk/>
            <pc:sldMk cId="1727920259" sldId="526"/>
            <ac:spMk id="18" creationId="{E724A126-ADAA-6D84-A39B-1EF4BFECFF88}"/>
          </ac:spMkLst>
        </pc:spChg>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5:56.368" v="311"/>
              <pc2:cmMkLst xmlns:pc2="http://schemas.microsoft.com/office/powerpoint/2019/9/main/command">
                <pc:docMk/>
                <pc:sldMk cId="1727920259" sldId="526"/>
                <pc2:cmMk id="{F4135815-D828-40F3-8AEB-C2324ABF503A}"/>
              </pc2:cmMkLst>
            </pc226:cmChg>
          </p:ext>
        </pc:extLst>
      </pc:sldChg>
      <pc:sldChg chg="del mod modShow">
        <pc:chgData name="Jacobs, Laura (Div)" userId="99fa74c6-ede3-4954-a39a-d9db78cf29d5" providerId="ADAL" clId="{EA3C22C1-64B1-4642-AA0D-8FB1344BB69D}" dt="2024-05-08T11:39:22.333" v="319" actId="47"/>
        <pc:sldMkLst>
          <pc:docMk/>
          <pc:sldMk cId="349218125" sldId="2145707233"/>
        </pc:sldMkLst>
      </pc:sldChg>
      <pc:sldChg chg="del mod modShow">
        <pc:chgData name="Jacobs, Laura (Div)" userId="99fa74c6-ede3-4954-a39a-d9db78cf29d5" providerId="ADAL" clId="{EA3C22C1-64B1-4642-AA0D-8FB1344BB69D}" dt="2024-05-08T11:39:22.333" v="319" actId="47"/>
        <pc:sldMkLst>
          <pc:docMk/>
          <pc:sldMk cId="3975651452" sldId="2145707348"/>
        </pc:sldMkLst>
      </pc:sldChg>
      <pc:sldChg chg="del mod modShow">
        <pc:chgData name="Jacobs, Laura (Div)" userId="99fa74c6-ede3-4954-a39a-d9db78cf29d5" providerId="ADAL" clId="{EA3C22C1-64B1-4642-AA0D-8FB1344BB69D}" dt="2024-05-08T11:39:22.333" v="319" actId="47"/>
        <pc:sldMkLst>
          <pc:docMk/>
          <pc:sldMk cId="656089248" sldId="2145707362"/>
        </pc:sldMkLst>
      </pc:sldChg>
      <pc:sldChg chg="modSp mod">
        <pc:chgData name="Jacobs, Laura (Div)" userId="99fa74c6-ede3-4954-a39a-d9db78cf29d5" providerId="ADAL" clId="{EA3C22C1-64B1-4642-AA0D-8FB1344BB69D}" dt="2024-05-07T14:20:26.531" v="19" actId="20577"/>
        <pc:sldMkLst>
          <pc:docMk/>
          <pc:sldMk cId="3535469502" sldId="2147469323"/>
        </pc:sldMkLst>
        <pc:spChg chg="mod">
          <ac:chgData name="Jacobs, Laura (Div)" userId="99fa74c6-ede3-4954-a39a-d9db78cf29d5" providerId="ADAL" clId="{EA3C22C1-64B1-4642-AA0D-8FB1344BB69D}" dt="2024-05-07T14:20:26.531" v="19" actId="20577"/>
          <ac:spMkLst>
            <pc:docMk/>
            <pc:sldMk cId="3535469502" sldId="2147469323"/>
            <ac:spMk id="2" creationId="{B27317CB-41AD-00C3-7AD6-A6D7510F356A}"/>
          </ac:spMkLst>
        </pc:spChg>
      </pc:sldChg>
      <pc:sldChg chg="addSp modSp mod">
        <pc:chgData name="Jacobs, Laura (Div)" userId="99fa74c6-ede3-4954-a39a-d9db78cf29d5" providerId="ADAL" clId="{EA3C22C1-64B1-4642-AA0D-8FB1344BB69D}" dt="2024-05-08T11:23:28.397" v="300" actId="20577"/>
        <pc:sldMkLst>
          <pc:docMk/>
          <pc:sldMk cId="4148027668" sldId="2147469344"/>
        </pc:sldMkLst>
        <pc:spChg chg="add mod">
          <ac:chgData name="Jacobs, Laura (Div)" userId="99fa74c6-ede3-4954-a39a-d9db78cf29d5" providerId="ADAL" clId="{EA3C22C1-64B1-4642-AA0D-8FB1344BB69D}" dt="2024-05-08T11:23:28.397" v="300" actId="20577"/>
          <ac:spMkLst>
            <pc:docMk/>
            <pc:sldMk cId="4148027668" sldId="2147469344"/>
            <ac:spMk id="3" creationId="{E6743CF1-42C4-DFB8-F1E0-0E776BACDFD6}"/>
          </ac:spMkLst>
        </pc:spChg>
      </pc:sldChg>
      <pc:sldChg chg="addSp modSp mod addCm">
        <pc:chgData name="Jacobs, Laura (Div)" userId="99fa74c6-ede3-4954-a39a-d9db78cf29d5" providerId="ADAL" clId="{EA3C22C1-64B1-4642-AA0D-8FB1344BB69D}" dt="2024-05-08T11:22:12.974" v="177" actId="207"/>
        <pc:sldMkLst>
          <pc:docMk/>
          <pc:sldMk cId="2408836625" sldId="2147469345"/>
        </pc:sldMkLst>
        <pc:spChg chg="add mod">
          <ac:chgData name="Jacobs, Laura (Div)" userId="99fa74c6-ede3-4954-a39a-d9db78cf29d5" providerId="ADAL" clId="{EA3C22C1-64B1-4642-AA0D-8FB1344BB69D}" dt="2024-05-08T11:22:12.974" v="177" actId="207"/>
          <ac:spMkLst>
            <pc:docMk/>
            <pc:sldMk cId="2408836625" sldId="2147469345"/>
            <ac:spMk id="9" creationId="{21F26F15-1E4D-110B-D77A-A1FB1F302F20}"/>
          </ac:spMkLst>
        </pc:spChg>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1:48.944" v="150"/>
              <pc2:cmMkLst xmlns:pc2="http://schemas.microsoft.com/office/powerpoint/2019/9/main/command">
                <pc:docMk/>
                <pc:sldMk cId="2408836625" sldId="2147469345"/>
                <pc2:cmMk id="{8FB4E38C-2A2B-49D6-BE25-D67607F32040}"/>
              </pc2:cmMkLst>
            </pc226:cmChg>
          </p:ext>
        </pc:extLst>
      </pc:sldChg>
      <pc:sldChg chg="addCm">
        <pc:chgData name="Jacobs, Laura (Div)" userId="99fa74c6-ede3-4954-a39a-d9db78cf29d5" providerId="ADAL" clId="{EA3C22C1-64B1-4642-AA0D-8FB1344BB69D}" dt="2024-05-08T11:28:49.271" v="317"/>
        <pc:sldMkLst>
          <pc:docMk/>
          <pc:sldMk cId="699281536" sldId="2147469350"/>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8:49.271" v="317"/>
              <pc2:cmMkLst xmlns:pc2="http://schemas.microsoft.com/office/powerpoint/2019/9/main/command">
                <pc:docMk/>
                <pc:sldMk cId="699281536" sldId="2147469350"/>
                <pc2:cmMk id="{71734DBD-5431-4DB2-B9CB-DCA12CEA725F}"/>
              </pc2:cmMkLst>
            </pc226:cmChg>
          </p:ext>
        </pc:extLst>
      </pc:sldChg>
      <pc:sldChg chg="mod modShow">
        <pc:chgData name="Jacobs, Laura (Div)" userId="99fa74c6-ede3-4954-a39a-d9db78cf29d5" providerId="ADAL" clId="{EA3C22C1-64B1-4642-AA0D-8FB1344BB69D}" dt="2024-05-08T11:39:15.138" v="318" actId="729"/>
        <pc:sldMkLst>
          <pc:docMk/>
          <pc:sldMk cId="3043909322" sldId="2147469368"/>
        </pc:sldMkLst>
      </pc:sldChg>
      <pc:sldChg chg="delSp modSp mod addCm">
        <pc:chgData name="Jacobs, Laura (Div)" userId="99fa74c6-ede3-4954-a39a-d9db78cf29d5" providerId="ADAL" clId="{EA3C22C1-64B1-4642-AA0D-8FB1344BB69D}" dt="2024-05-08T11:06:06.090" v="130" actId="478"/>
        <pc:sldMkLst>
          <pc:docMk/>
          <pc:sldMk cId="1948986" sldId="2147469369"/>
        </pc:sldMkLst>
        <pc:spChg chg="del mod">
          <ac:chgData name="Jacobs, Laura (Div)" userId="99fa74c6-ede3-4954-a39a-d9db78cf29d5" providerId="ADAL" clId="{EA3C22C1-64B1-4642-AA0D-8FB1344BB69D}" dt="2024-05-08T11:06:03.960" v="129" actId="478"/>
          <ac:spMkLst>
            <pc:docMk/>
            <pc:sldMk cId="1948986" sldId="2147469369"/>
            <ac:spMk id="2" creationId="{4247B8FD-9D0B-54A3-D36F-B0DA1DC03C33}"/>
          </ac:spMkLst>
        </pc:spChg>
        <pc:spChg chg="mod">
          <ac:chgData name="Jacobs, Laura (Div)" userId="99fa74c6-ede3-4954-a39a-d9db78cf29d5" providerId="ADAL" clId="{EA3C22C1-64B1-4642-AA0D-8FB1344BB69D}" dt="2024-05-07T14:27:08.604" v="117" actId="207"/>
          <ac:spMkLst>
            <pc:docMk/>
            <pc:sldMk cId="1948986" sldId="2147469369"/>
            <ac:spMk id="13" creationId="{1912B2F8-D060-FA9B-0A99-75BB2BA55862}"/>
          </ac:spMkLst>
        </pc:spChg>
        <pc:spChg chg="mod">
          <ac:chgData name="Jacobs, Laura (Div)" userId="99fa74c6-ede3-4954-a39a-d9db78cf29d5" providerId="ADAL" clId="{EA3C22C1-64B1-4642-AA0D-8FB1344BB69D}" dt="2024-05-07T14:28:21.447" v="119" actId="207"/>
          <ac:spMkLst>
            <pc:docMk/>
            <pc:sldMk cId="1948986" sldId="2147469369"/>
            <ac:spMk id="16" creationId="{9846A3DB-0B63-C8B2-4947-AE04842A74CE}"/>
          </ac:spMkLst>
        </pc:spChg>
        <pc:picChg chg="del">
          <ac:chgData name="Jacobs, Laura (Div)" userId="99fa74c6-ede3-4954-a39a-d9db78cf29d5" providerId="ADAL" clId="{EA3C22C1-64B1-4642-AA0D-8FB1344BB69D}" dt="2024-05-08T11:06:06.090" v="130" actId="478"/>
          <ac:picMkLst>
            <pc:docMk/>
            <pc:sldMk cId="1948986" sldId="2147469369"/>
            <ac:picMk id="5" creationId="{688A2C4A-4001-819A-D474-DBFA84BBA236}"/>
          </ac:picMkLst>
        </pc:picChg>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7T14:27:55.659" v="118"/>
              <pc2:cmMkLst xmlns:pc2="http://schemas.microsoft.com/office/powerpoint/2019/9/main/command">
                <pc:docMk/>
                <pc:sldMk cId="1948986" sldId="2147469369"/>
                <pc2:cmMk id="{6CF7088E-F209-44DA-A320-111E4413117B}"/>
              </pc2:cmMkLst>
            </pc226:cmChg>
          </p:ext>
        </pc:extLst>
      </pc:sldChg>
      <pc:sldChg chg="modSp mod">
        <pc:chgData name="Jacobs, Laura (Div)" userId="99fa74c6-ede3-4954-a39a-d9db78cf29d5" providerId="ADAL" clId="{EA3C22C1-64B1-4642-AA0D-8FB1344BB69D}" dt="2024-05-08T11:14:40.153" v="140" actId="400"/>
        <pc:sldMkLst>
          <pc:docMk/>
          <pc:sldMk cId="1567353880" sldId="2147469377"/>
        </pc:sldMkLst>
        <pc:spChg chg="mod">
          <ac:chgData name="Jacobs, Laura (Div)" userId="99fa74c6-ede3-4954-a39a-d9db78cf29d5" providerId="ADAL" clId="{EA3C22C1-64B1-4642-AA0D-8FB1344BB69D}" dt="2024-05-08T11:14:40.153" v="140" actId="400"/>
          <ac:spMkLst>
            <pc:docMk/>
            <pc:sldMk cId="1567353880" sldId="2147469377"/>
            <ac:spMk id="25" creationId="{02E84C56-041F-EF50-8854-4AB5576C2BE4}"/>
          </ac:spMkLst>
        </pc:spChg>
      </pc:sldChg>
      <pc:sldChg chg="modSp mod addCm modCm">
        <pc:chgData name="Jacobs, Laura (Div)" userId="99fa74c6-ede3-4954-a39a-d9db78cf29d5" providerId="ADAL" clId="{EA3C22C1-64B1-4642-AA0D-8FB1344BB69D}" dt="2024-05-08T11:18:00.265" v="148"/>
        <pc:sldMkLst>
          <pc:docMk/>
          <pc:sldMk cId="3777991858" sldId="2147469380"/>
        </pc:sldMkLst>
        <pc:spChg chg="mod">
          <ac:chgData name="Jacobs, Laura (Div)" userId="99fa74c6-ede3-4954-a39a-d9db78cf29d5" providerId="ADAL" clId="{EA3C22C1-64B1-4642-AA0D-8FB1344BB69D}" dt="2024-05-08T11:15:51.442" v="142" actId="400"/>
          <ac:spMkLst>
            <pc:docMk/>
            <pc:sldMk cId="3777991858" sldId="2147469380"/>
            <ac:spMk id="26" creationId="{A928690D-1763-A4C8-83AE-68D87456BE2F}"/>
          </ac:spMkLst>
        </pc:spChg>
        <pc:spChg chg="mod">
          <ac:chgData name="Jacobs, Laura (Div)" userId="99fa74c6-ede3-4954-a39a-d9db78cf29d5" providerId="ADAL" clId="{EA3C22C1-64B1-4642-AA0D-8FB1344BB69D}" dt="2024-05-08T11:15:57.622" v="144" actId="400"/>
          <ac:spMkLst>
            <pc:docMk/>
            <pc:sldMk cId="3777991858" sldId="2147469380"/>
            <ac:spMk id="27" creationId="{1041CD0C-F801-CB37-530C-4EB4009C0E58}"/>
          </ac:spMkLst>
        </pc:spChg>
        <pc:spChg chg="mod">
          <ac:chgData name="Jacobs, Laura (Div)" userId="99fa74c6-ede3-4954-a39a-d9db78cf29d5" providerId="ADAL" clId="{EA3C22C1-64B1-4642-AA0D-8FB1344BB69D}" dt="2024-05-08T11:16:03.917" v="146" actId="400"/>
          <ac:spMkLst>
            <pc:docMk/>
            <pc:sldMk cId="3777991858" sldId="2147469380"/>
            <ac:spMk id="28" creationId="{200B47F8-131D-B25F-527C-76BD3F5D91E4}"/>
          </ac:spMkLst>
        </pc:spChg>
        <pc:extLst>
          <p:ext xmlns:p="http://schemas.openxmlformats.org/presentationml/2006/main" uri="{D6D511B9-2390-475A-947B-AFAB55BFBCF1}">
            <pc226:cmChg xmlns:pc226="http://schemas.microsoft.com/office/powerpoint/2022/06/main/command" chg="add mod">
              <pc226:chgData name="Jacobs, Laura (Div)" userId="99fa74c6-ede3-4954-a39a-d9db78cf29d5" providerId="ADAL" clId="{EA3C22C1-64B1-4642-AA0D-8FB1344BB69D}" dt="2024-05-08T11:18:00.265" v="148"/>
              <pc2:cmMkLst xmlns:pc2="http://schemas.microsoft.com/office/powerpoint/2019/9/main/command">
                <pc:docMk/>
                <pc:sldMk cId="3777991858" sldId="2147469380"/>
                <pc2:cmMk id="{4B367651-68AA-4E61-AC48-56F1CBC2874B}"/>
              </pc2:cmMkLst>
            </pc226:cmChg>
          </p:ext>
        </pc:extLst>
      </pc:sldChg>
      <pc:sldChg chg="addCm">
        <pc:chgData name="Jacobs, Laura (Div)" userId="99fa74c6-ede3-4954-a39a-d9db78cf29d5" providerId="ADAL" clId="{EA3C22C1-64B1-4642-AA0D-8FB1344BB69D}" dt="2024-05-08T11:27:00.962" v="312"/>
        <pc:sldMkLst>
          <pc:docMk/>
          <pc:sldMk cId="3885099165" sldId="2147469391"/>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7:00.962" v="312"/>
              <pc2:cmMkLst xmlns:pc2="http://schemas.microsoft.com/office/powerpoint/2019/9/main/command">
                <pc:docMk/>
                <pc:sldMk cId="3885099165" sldId="2147469391"/>
                <pc2:cmMk id="{2A9D7709-AA4A-44CF-8ABD-97F83B72583A}"/>
              </pc2:cmMkLst>
            </pc226:cmChg>
          </p:ext>
        </pc:extLst>
      </pc:sldChg>
      <pc:sldChg chg="modSp mod addCm modCm">
        <pc:chgData name="Jacobs, Laura (Div)" userId="99fa74c6-ede3-4954-a39a-d9db78cf29d5" providerId="ADAL" clId="{EA3C22C1-64B1-4642-AA0D-8FB1344BB69D}" dt="2024-05-08T11:13:32.388" v="136"/>
        <pc:sldMkLst>
          <pc:docMk/>
          <pc:sldMk cId="3777710546" sldId="2147469398"/>
        </pc:sldMkLst>
        <pc:spChg chg="mod">
          <ac:chgData name="Jacobs, Laura (Div)" userId="99fa74c6-ede3-4954-a39a-d9db78cf29d5" providerId="ADAL" clId="{EA3C22C1-64B1-4642-AA0D-8FB1344BB69D}" dt="2024-05-07T14:29:53.428" v="126" actId="207"/>
          <ac:spMkLst>
            <pc:docMk/>
            <pc:sldMk cId="3777710546" sldId="2147469398"/>
            <ac:spMk id="31" creationId="{34C0941F-1E29-5940-8F3B-AFA4181D4DEB}"/>
          </ac:spMkLst>
        </pc:spChg>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13:13.203" v="135"/>
              <pc2:cmMkLst xmlns:pc2="http://schemas.microsoft.com/office/powerpoint/2019/9/main/command">
                <pc:docMk/>
                <pc:sldMk cId="3777710546" sldId="2147469398"/>
                <pc2:cmMk id="{0705A07D-8A11-48E7-BCE2-7E09ED64B1AE}"/>
              </pc2:cmMkLst>
              <pc226:cmRplyChg chg="add">
                <pc226:chgData name="Jacobs, Laura (Div)" userId="99fa74c6-ede3-4954-a39a-d9db78cf29d5" providerId="ADAL" clId="{EA3C22C1-64B1-4642-AA0D-8FB1344BB69D}" dt="2024-05-08T11:13:13.203" v="135"/>
                <pc2:cmRplyMkLst xmlns:pc2="http://schemas.microsoft.com/office/powerpoint/2019/9/main/command">
                  <pc:docMk/>
                  <pc:sldMk cId="3777710546" sldId="2147469398"/>
                  <pc2:cmMk id="{0705A07D-8A11-48E7-BCE2-7E09ED64B1AE}"/>
                  <pc2:cmRplyMk id="{74789F27-656A-4447-9E40-134E6A6E4810}"/>
                </pc2:cmRplyMkLst>
              </pc226:cmRplyChg>
            </pc226:cmChg>
            <pc226:cmChg xmlns:pc226="http://schemas.microsoft.com/office/powerpoint/2022/06/main/command" chg="add">
              <pc226:chgData name="Jacobs, Laura (Div)" userId="99fa74c6-ede3-4954-a39a-d9db78cf29d5" providerId="ADAL" clId="{EA3C22C1-64B1-4642-AA0D-8FB1344BB69D}" dt="2024-05-08T11:13:32.388" v="136"/>
              <pc2:cmMkLst xmlns:pc2="http://schemas.microsoft.com/office/powerpoint/2019/9/main/command">
                <pc:docMk/>
                <pc:sldMk cId="3777710546" sldId="2147469398"/>
                <pc2:cmMk id="{B959ECC3-B48A-4458-996E-31232A30466E}"/>
              </pc2:cmMkLst>
            </pc226:cmChg>
          </p:ext>
        </pc:extLst>
      </pc:sldChg>
      <pc:sldChg chg="del mod modShow">
        <pc:chgData name="Jacobs, Laura (Div)" userId="99fa74c6-ede3-4954-a39a-d9db78cf29d5" providerId="ADAL" clId="{EA3C22C1-64B1-4642-AA0D-8FB1344BB69D}" dt="2024-05-08T11:39:22.333" v="319" actId="47"/>
        <pc:sldMkLst>
          <pc:docMk/>
          <pc:sldMk cId="3414571426" sldId="2147469411"/>
        </pc:sldMkLst>
      </pc:sldChg>
      <pc:sldChg chg="del mod modShow">
        <pc:chgData name="Jacobs, Laura (Div)" userId="99fa74c6-ede3-4954-a39a-d9db78cf29d5" providerId="ADAL" clId="{EA3C22C1-64B1-4642-AA0D-8FB1344BB69D}" dt="2024-05-08T11:39:22.333" v="319" actId="47"/>
        <pc:sldMkLst>
          <pc:docMk/>
          <pc:sldMk cId="9412460" sldId="2147469418"/>
        </pc:sldMkLst>
      </pc:sldChg>
      <pc:sldChg chg="addSp modSp addCm">
        <pc:chgData name="Jacobs, Laura (Div)" userId="99fa74c6-ede3-4954-a39a-d9db78cf29d5" providerId="ADAL" clId="{EA3C22C1-64B1-4642-AA0D-8FB1344BB69D}" dt="2024-05-08T11:24:16.755" v="301"/>
        <pc:sldMkLst>
          <pc:docMk/>
          <pc:sldMk cId="3139701115" sldId="2147469445"/>
        </pc:sldMkLst>
        <pc:spChg chg="add mod">
          <ac:chgData name="Jacobs, Laura (Div)" userId="99fa74c6-ede3-4954-a39a-d9db78cf29d5" providerId="ADAL" clId="{EA3C22C1-64B1-4642-AA0D-8FB1344BB69D}" dt="2024-05-08T11:24:16.755" v="301"/>
          <ac:spMkLst>
            <pc:docMk/>
            <pc:sldMk cId="3139701115" sldId="2147469445"/>
            <ac:spMk id="11" creationId="{89B01E9B-E3C8-32EB-2BF5-6AB998080589}"/>
          </ac:spMkLst>
        </pc:spChg>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1:03.635" v="149"/>
              <pc2:cmMkLst xmlns:pc2="http://schemas.microsoft.com/office/powerpoint/2019/9/main/command">
                <pc:docMk/>
                <pc:sldMk cId="3139701115" sldId="2147469445"/>
                <pc2:cmMk id="{81D208C5-11DE-436A-894F-EEBBAABEB498}"/>
              </pc2:cmMkLst>
            </pc226:cmChg>
          </p:ext>
        </pc:extLst>
      </pc:sldChg>
      <pc:sldChg chg="del mod modShow addCm">
        <pc:chgData name="Jacobs, Laura (Div)" userId="99fa74c6-ede3-4954-a39a-d9db78cf29d5" providerId="ADAL" clId="{EA3C22C1-64B1-4642-AA0D-8FB1344BB69D}" dt="2024-05-08T11:39:22.333" v="319" actId="47"/>
        <pc:sldMkLst>
          <pc:docMk/>
          <pc:sldMk cId="1043862141" sldId="2147469469"/>
        </pc:sldMkLst>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EA3C22C1-64B1-4642-AA0D-8FB1344BB69D}" dt="2024-05-08T11:27:44.127" v="314"/>
              <pc2:cmMkLst xmlns:pc2="http://schemas.microsoft.com/office/powerpoint/2019/9/main/command">
                <pc:docMk/>
                <pc:sldMk cId="1043862141" sldId="2147469469"/>
                <pc2:cmMk id="{C9960AEE-7696-4CA8-82B6-C272A330AEEE}"/>
              </pc2:cmMkLst>
            </pc226:cmChg>
          </p:ext>
        </pc:extLst>
      </pc:sldChg>
      <pc:sldChg chg="del mod modShow">
        <pc:chgData name="Jacobs, Laura (Div)" userId="99fa74c6-ede3-4954-a39a-d9db78cf29d5" providerId="ADAL" clId="{EA3C22C1-64B1-4642-AA0D-8FB1344BB69D}" dt="2024-05-08T11:39:22.333" v="319" actId="47"/>
        <pc:sldMkLst>
          <pc:docMk/>
          <pc:sldMk cId="500320458" sldId="2147469470"/>
        </pc:sldMkLst>
      </pc:sldChg>
      <pc:sldChg chg="del mod modShow">
        <pc:chgData name="Jacobs, Laura (Div)" userId="99fa74c6-ede3-4954-a39a-d9db78cf29d5" providerId="ADAL" clId="{EA3C22C1-64B1-4642-AA0D-8FB1344BB69D}" dt="2024-05-08T11:39:22.333" v="319" actId="47"/>
        <pc:sldMkLst>
          <pc:docMk/>
          <pc:sldMk cId="4265797749" sldId="2147469471"/>
        </pc:sldMkLst>
      </pc:sldChg>
      <pc:sldChg chg="del mod modShow">
        <pc:chgData name="Jacobs, Laura (Div)" userId="99fa74c6-ede3-4954-a39a-d9db78cf29d5" providerId="ADAL" clId="{EA3C22C1-64B1-4642-AA0D-8FB1344BB69D}" dt="2024-05-08T11:39:22.333" v="319" actId="47"/>
        <pc:sldMkLst>
          <pc:docMk/>
          <pc:sldMk cId="1189546613" sldId="2147469472"/>
        </pc:sldMkLst>
      </pc:sldChg>
      <pc:sldChg chg="del mod modShow">
        <pc:chgData name="Jacobs, Laura (Div)" userId="99fa74c6-ede3-4954-a39a-d9db78cf29d5" providerId="ADAL" clId="{EA3C22C1-64B1-4642-AA0D-8FB1344BB69D}" dt="2024-05-08T11:39:22.333" v="319" actId="47"/>
        <pc:sldMkLst>
          <pc:docMk/>
          <pc:sldMk cId="3840591791" sldId="2147469473"/>
        </pc:sldMkLst>
      </pc:sldChg>
      <pc:sldChg chg="del mod modShow">
        <pc:chgData name="Jacobs, Laura (Div)" userId="99fa74c6-ede3-4954-a39a-d9db78cf29d5" providerId="ADAL" clId="{EA3C22C1-64B1-4642-AA0D-8FB1344BB69D}" dt="2024-05-08T11:39:22.333" v="319" actId="47"/>
        <pc:sldMkLst>
          <pc:docMk/>
          <pc:sldMk cId="4129821860" sldId="2147469474"/>
        </pc:sldMkLst>
      </pc:sldChg>
      <pc:sldChg chg="del mod modShow">
        <pc:chgData name="Jacobs, Laura (Div)" userId="99fa74c6-ede3-4954-a39a-d9db78cf29d5" providerId="ADAL" clId="{EA3C22C1-64B1-4642-AA0D-8FB1344BB69D}" dt="2024-05-08T11:39:22.333" v="319" actId="47"/>
        <pc:sldMkLst>
          <pc:docMk/>
          <pc:sldMk cId="3924729298" sldId="2147469475"/>
        </pc:sldMkLst>
      </pc:sldChg>
      <pc:sldChg chg="del mod modShow">
        <pc:chgData name="Jacobs, Laura (Div)" userId="99fa74c6-ede3-4954-a39a-d9db78cf29d5" providerId="ADAL" clId="{EA3C22C1-64B1-4642-AA0D-8FB1344BB69D}" dt="2024-05-08T11:39:22.333" v="319" actId="47"/>
        <pc:sldMkLst>
          <pc:docMk/>
          <pc:sldMk cId="510274933" sldId="2147469478"/>
        </pc:sldMkLst>
      </pc:sldChg>
      <pc:sldChg chg="del">
        <pc:chgData name="Jacobs, Laura (Div)" userId="99fa74c6-ede3-4954-a39a-d9db78cf29d5" providerId="ADAL" clId="{EA3C22C1-64B1-4642-AA0D-8FB1344BB69D}" dt="2024-05-08T11:28:22.601" v="316" actId="47"/>
        <pc:sldMkLst>
          <pc:docMk/>
          <pc:sldMk cId="578943989" sldId="2147469480"/>
        </pc:sldMkLst>
      </pc:sldChg>
      <pc:sldChg chg="del">
        <pc:chgData name="Jacobs, Laura (Div)" userId="99fa74c6-ede3-4954-a39a-d9db78cf29d5" providerId="ADAL" clId="{EA3C22C1-64B1-4642-AA0D-8FB1344BB69D}" dt="2024-05-08T11:28:20.626" v="315" actId="47"/>
        <pc:sldMkLst>
          <pc:docMk/>
          <pc:sldMk cId="2407252311" sldId="2147469481"/>
        </pc:sldMkLst>
      </pc:sldChg>
    </pc:docChg>
  </pc:docChgLst>
  <pc:docChgLst>
    <pc:chgData name="Jacobs, Laura (Div)" userId="99fa74c6-ede3-4954-a39a-d9db78cf29d5" providerId="ADAL" clId="{52D8CC9E-B5DF-4444-9B4B-7497A5B638E0}"/>
    <pc:docChg chg="undo custSel addSld delSld modSld">
      <pc:chgData name="Jacobs, Laura (Div)" userId="99fa74c6-ede3-4954-a39a-d9db78cf29d5" providerId="ADAL" clId="{52D8CC9E-B5DF-4444-9B4B-7497A5B638E0}" dt="2024-08-20T15:19:03.642" v="7273" actId="1076"/>
      <pc:docMkLst>
        <pc:docMk/>
      </pc:docMkLst>
      <pc:sldChg chg="modSp mod delCm modCm">
        <pc:chgData name="Jacobs, Laura (Div)" userId="99fa74c6-ede3-4954-a39a-d9db78cf29d5" providerId="ADAL" clId="{52D8CC9E-B5DF-4444-9B4B-7497A5B638E0}" dt="2024-07-17T12:42:13.222" v="4851"/>
        <pc:sldMkLst>
          <pc:docMk/>
          <pc:sldMk cId="794050670" sldId="261"/>
        </pc:sldMkLst>
        <pc:spChg chg="mod">
          <ac:chgData name="Jacobs, Laura (Div)" userId="99fa74c6-ede3-4954-a39a-d9db78cf29d5" providerId="ADAL" clId="{52D8CC9E-B5DF-4444-9B4B-7497A5B638E0}" dt="2024-07-03T07:09:11.444" v="4233" actId="20577"/>
          <ac:spMkLst>
            <pc:docMk/>
            <pc:sldMk cId="794050670" sldId="261"/>
            <ac:spMk id="3" creationId="{285E78FE-9A71-53B7-AFF2-7EF0C1A6F78F}"/>
          </ac:spMkLst>
        </pc:spChg>
        <pc:spChg chg="mod">
          <ac:chgData name="Jacobs, Laura (Div)" userId="99fa74c6-ede3-4954-a39a-d9db78cf29d5" providerId="ADAL" clId="{52D8CC9E-B5DF-4444-9B4B-7497A5B638E0}" dt="2024-07-03T07:15:03.625" v="4834" actId="20577"/>
          <ac:spMkLst>
            <pc:docMk/>
            <pc:sldMk cId="794050670" sldId="261"/>
            <ac:spMk id="6" creationId="{6399EA1D-C2E6-D779-395A-D23AFB00E67F}"/>
          </ac:spMkLst>
        </pc:spChg>
        <pc:extLst>
          <p:ext xmlns:p="http://schemas.openxmlformats.org/presentationml/2006/main" uri="{D6D511B9-2390-475A-947B-AFAB55BFBCF1}">
            <pc226:cmChg xmlns:pc226="http://schemas.microsoft.com/office/powerpoint/2022/06/main/command" chg="del mod">
              <pc226:chgData name="Jacobs, Laura (Div)" userId="99fa74c6-ede3-4954-a39a-d9db78cf29d5" providerId="ADAL" clId="{52D8CC9E-B5DF-4444-9B4B-7497A5B638E0}" dt="2024-07-17T12:42:13.222" v="4851"/>
              <pc2:cmMkLst xmlns:pc2="http://schemas.microsoft.com/office/powerpoint/2019/9/main/command">
                <pc:docMk/>
                <pc:sldMk cId="794050670" sldId="261"/>
                <pc2:cmMk id="{54383EAF-8C7C-4643-9D63-DB299005A811}"/>
              </pc2:cmMkLst>
              <pc226:cmRplyChg chg="add">
                <pc226:chgData name="Jacobs, Laura (Div)" userId="99fa74c6-ede3-4954-a39a-d9db78cf29d5" providerId="ADAL" clId="{52D8CC9E-B5DF-4444-9B4B-7497A5B638E0}" dt="2024-07-03T07:14:28.135" v="4818"/>
                <pc2:cmRplyMkLst xmlns:pc2="http://schemas.microsoft.com/office/powerpoint/2019/9/main/command">
                  <pc:docMk/>
                  <pc:sldMk cId="794050670" sldId="261"/>
                  <pc2:cmMk id="{54383EAF-8C7C-4643-9D63-DB299005A811}"/>
                  <pc2:cmRplyMk id="{08972682-EC6A-4662-B30B-69CA05C6CBDE}"/>
                </pc2:cmRplyMkLst>
              </pc226:cmRplyChg>
              <pc226:cmRplyChg chg="add">
                <pc226:chgData name="Jacobs, Laura (Div)" userId="99fa74c6-ede3-4954-a39a-d9db78cf29d5" providerId="ADAL" clId="{52D8CC9E-B5DF-4444-9B4B-7497A5B638E0}" dt="2024-06-26T11:27:25.471" v="17"/>
                <pc2:cmRplyMkLst xmlns:pc2="http://schemas.microsoft.com/office/powerpoint/2019/9/main/command">
                  <pc:docMk/>
                  <pc:sldMk cId="794050670" sldId="261"/>
                  <pc2:cmMk id="{54383EAF-8C7C-4643-9D63-DB299005A811}"/>
                  <pc2:cmRplyMk id="{C699789E-16E6-4785-A74A-0A1B41F32E02}"/>
                </pc2:cmRplyMkLst>
              </pc226:cmRplyChg>
            </pc226:cmChg>
          </p:ext>
        </pc:extLst>
      </pc:sldChg>
      <pc:sldChg chg="modSp mod addCm delCm">
        <pc:chgData name="Jacobs, Laura (Div)" userId="99fa74c6-ede3-4954-a39a-d9db78cf29d5" providerId="ADAL" clId="{52D8CC9E-B5DF-4444-9B4B-7497A5B638E0}" dt="2024-08-01T09:34:20.440" v="6565" actId="114"/>
        <pc:sldMkLst>
          <pc:docMk/>
          <pc:sldMk cId="398684552" sldId="430"/>
        </pc:sldMkLst>
        <pc:spChg chg="mod">
          <ac:chgData name="Jacobs, Laura (Div)" userId="99fa74c6-ede3-4954-a39a-d9db78cf29d5" providerId="ADAL" clId="{52D8CC9E-B5DF-4444-9B4B-7497A5B638E0}" dt="2024-06-26T14:55:54.835" v="2016" actId="20577"/>
          <ac:spMkLst>
            <pc:docMk/>
            <pc:sldMk cId="398684552" sldId="430"/>
            <ac:spMk id="5" creationId="{5FEEA7C3-FE22-77BB-7920-C4172108C034}"/>
          </ac:spMkLst>
        </pc:spChg>
        <pc:spChg chg="mod">
          <ac:chgData name="Jacobs, Laura (Div)" userId="99fa74c6-ede3-4954-a39a-d9db78cf29d5" providerId="ADAL" clId="{52D8CC9E-B5DF-4444-9B4B-7497A5B638E0}" dt="2024-08-01T09:34:20.440" v="6565" actId="114"/>
          <ac:spMkLst>
            <pc:docMk/>
            <pc:sldMk cId="398684552" sldId="430"/>
            <ac:spMk id="8" creationId="{73ABDC4C-916A-A13F-ABE8-42F39C05CE38}"/>
          </ac:spMkLst>
        </pc:spChg>
        <pc:spChg chg="mod">
          <ac:chgData name="Jacobs, Laura (Div)" userId="99fa74c6-ede3-4954-a39a-d9db78cf29d5" providerId="ADAL" clId="{52D8CC9E-B5DF-4444-9B4B-7497A5B638E0}" dt="2024-06-26T14:55:36.835" v="2012" actId="20577"/>
          <ac:spMkLst>
            <pc:docMk/>
            <pc:sldMk cId="398684552" sldId="430"/>
            <ac:spMk id="9" creationId="{00000000-0000-0000-0000-000000000000}"/>
          </ac:spMkLst>
        </pc:spChg>
        <pc:extLst>
          <p:ext xmlns:p="http://schemas.openxmlformats.org/presentationml/2006/main" uri="{D6D511B9-2390-475A-947B-AFAB55BFBCF1}">
            <pc226:cmChg xmlns:pc226="http://schemas.microsoft.com/office/powerpoint/2022/06/main/command" chg="add del">
              <pc226:chgData name="Jacobs, Laura (Div)" userId="99fa74c6-ede3-4954-a39a-d9db78cf29d5" providerId="ADAL" clId="{52D8CC9E-B5DF-4444-9B4B-7497A5B638E0}" dt="2024-06-26T14:56:25.268" v="2023"/>
              <pc2:cmMkLst xmlns:pc2="http://schemas.microsoft.com/office/powerpoint/2019/9/main/command">
                <pc:docMk/>
                <pc:sldMk cId="398684552" sldId="430"/>
                <pc2:cmMk id="{87D7750F-90D1-47DE-A99C-8C401EE99B10}"/>
              </pc2:cmMkLst>
            </pc226:cmChg>
          </p:ext>
        </pc:extLst>
      </pc:sldChg>
      <pc:sldChg chg="modSp mod addCm delCm modCm">
        <pc:chgData name="Jacobs, Laura (Div)" userId="99fa74c6-ede3-4954-a39a-d9db78cf29d5" providerId="ADAL" clId="{52D8CC9E-B5DF-4444-9B4B-7497A5B638E0}" dt="2024-07-17T12:43:00.149" v="4856" actId="13926"/>
        <pc:sldMkLst>
          <pc:docMk/>
          <pc:sldMk cId="953451061" sldId="434"/>
        </pc:sldMkLst>
        <pc:spChg chg="mod">
          <ac:chgData name="Jacobs, Laura (Div)" userId="99fa74c6-ede3-4954-a39a-d9db78cf29d5" providerId="ADAL" clId="{52D8CC9E-B5DF-4444-9B4B-7497A5B638E0}" dt="2024-07-17T12:43:00.149" v="4856" actId="13926"/>
          <ac:spMkLst>
            <pc:docMk/>
            <pc:sldMk cId="953451061" sldId="434"/>
            <ac:spMk id="7" creationId="{17C366BD-150B-7BBB-7C53-58D70F00AB2A}"/>
          </ac:spMkLst>
        </pc:spChg>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6-26T14:00:58.438" v="1633"/>
              <pc2:cmMkLst xmlns:pc2="http://schemas.microsoft.com/office/powerpoint/2019/9/main/command">
                <pc:docMk/>
                <pc:sldMk cId="953451061" sldId="434"/>
                <pc2:cmMk id="{B0061D9C-3310-4F2A-8D97-A6D5D2A3BE49}"/>
              </pc2:cmMkLst>
            </pc226:cmChg>
          </p:ext>
        </pc:extLst>
      </pc:sldChg>
      <pc:sldChg chg="delCm modCm">
        <pc:chgData name="Jacobs, Laura (Div)" userId="99fa74c6-ede3-4954-a39a-d9db78cf29d5" providerId="ADAL" clId="{52D8CC9E-B5DF-4444-9B4B-7497A5B638E0}" dt="2024-07-17T12:42:35.145" v="4854"/>
        <pc:sldMkLst>
          <pc:docMk/>
          <pc:sldMk cId="514237350" sldId="447"/>
        </pc:sldMkLst>
        <pc:extLst>
          <p:ext xmlns:p="http://schemas.openxmlformats.org/presentationml/2006/main" uri="{D6D511B9-2390-475A-947B-AFAB55BFBCF1}">
            <pc226:cmChg xmlns:pc226="http://schemas.microsoft.com/office/powerpoint/2022/06/main/command" chg="del mod">
              <pc226:chgData name="Jacobs, Laura (Div)" userId="99fa74c6-ede3-4954-a39a-d9db78cf29d5" providerId="ADAL" clId="{52D8CC9E-B5DF-4444-9B4B-7497A5B638E0}" dt="2024-07-17T12:42:35.145" v="4854"/>
              <pc2:cmMkLst xmlns:pc2="http://schemas.microsoft.com/office/powerpoint/2019/9/main/command">
                <pc:docMk/>
                <pc:sldMk cId="514237350" sldId="447"/>
                <pc2:cmMk id="{86644460-70F7-41F9-B1DE-2EC3C1F8F42A}"/>
              </pc2:cmMkLst>
            </pc226:cmChg>
          </p:ext>
        </pc:extLst>
      </pc:sldChg>
      <pc:sldChg chg="modSp mod delCm">
        <pc:chgData name="Jacobs, Laura (Div)" userId="99fa74c6-ede3-4954-a39a-d9db78cf29d5" providerId="ADAL" clId="{52D8CC9E-B5DF-4444-9B4B-7497A5B638E0}" dt="2024-08-01T09:34:02.395" v="6563" actId="114"/>
        <pc:sldMkLst>
          <pc:docMk/>
          <pc:sldMk cId="1727920259" sldId="526"/>
        </pc:sldMkLst>
        <pc:spChg chg="mod">
          <ac:chgData name="Jacobs, Laura (Div)" userId="99fa74c6-ede3-4954-a39a-d9db78cf29d5" providerId="ADAL" clId="{52D8CC9E-B5DF-4444-9B4B-7497A5B638E0}" dt="2024-06-26T11:51:51.086" v="61" actId="108"/>
          <ac:spMkLst>
            <pc:docMk/>
            <pc:sldMk cId="1727920259" sldId="526"/>
            <ac:spMk id="2" creationId="{00000000-0000-0000-0000-000000000000}"/>
          </ac:spMkLst>
        </pc:spChg>
        <pc:spChg chg="mod">
          <ac:chgData name="Jacobs, Laura (Div)" userId="99fa74c6-ede3-4954-a39a-d9db78cf29d5" providerId="ADAL" clId="{52D8CC9E-B5DF-4444-9B4B-7497A5B638E0}" dt="2024-07-31T13:45:03.620" v="4937" actId="947"/>
          <ac:spMkLst>
            <pc:docMk/>
            <pc:sldMk cId="1727920259" sldId="526"/>
            <ac:spMk id="7" creationId="{00000000-0000-0000-0000-000000000000}"/>
          </ac:spMkLst>
        </pc:spChg>
        <pc:spChg chg="mod">
          <ac:chgData name="Jacobs, Laura (Div)" userId="99fa74c6-ede3-4954-a39a-d9db78cf29d5" providerId="ADAL" clId="{52D8CC9E-B5DF-4444-9B4B-7497A5B638E0}" dt="2024-06-26T11:53:28.285" v="73" actId="1076"/>
          <ac:spMkLst>
            <pc:docMk/>
            <pc:sldMk cId="1727920259" sldId="526"/>
            <ac:spMk id="8" creationId="{00000000-0000-0000-0000-000000000000}"/>
          </ac:spMkLst>
        </pc:spChg>
        <pc:spChg chg="mod">
          <ac:chgData name="Jacobs, Laura (Div)" userId="99fa74c6-ede3-4954-a39a-d9db78cf29d5" providerId="ADAL" clId="{52D8CC9E-B5DF-4444-9B4B-7497A5B638E0}" dt="2024-08-01T09:34:02.395" v="6563" actId="114"/>
          <ac:spMkLst>
            <pc:docMk/>
            <pc:sldMk cId="1727920259" sldId="526"/>
            <ac:spMk id="11" creationId="{D3B996A3-B392-4770-34CB-E2310FBAC367}"/>
          </ac:spMkLst>
        </pc:spChg>
        <pc:spChg chg="mod">
          <ac:chgData name="Jacobs, Laura (Div)" userId="99fa74c6-ede3-4954-a39a-d9db78cf29d5" providerId="ADAL" clId="{52D8CC9E-B5DF-4444-9B4B-7497A5B638E0}" dt="2024-07-31T13:52:05.248" v="4986" actId="13926"/>
          <ac:spMkLst>
            <pc:docMk/>
            <pc:sldMk cId="1727920259" sldId="526"/>
            <ac:spMk id="13" creationId="{191D0E42-E32E-4C0C-8667-4BAFBEB3CB93}"/>
          </ac:spMkLst>
        </pc:spChg>
        <pc:spChg chg="mod">
          <ac:chgData name="Jacobs, Laura (Div)" userId="99fa74c6-ede3-4954-a39a-d9db78cf29d5" providerId="ADAL" clId="{52D8CC9E-B5DF-4444-9B4B-7497A5B638E0}" dt="2024-06-26T11:53:28.954" v="74" actId="1076"/>
          <ac:spMkLst>
            <pc:docMk/>
            <pc:sldMk cId="1727920259" sldId="526"/>
            <ac:spMk id="15" creationId="{22EFE617-2C32-F403-8CA6-8C4283601006}"/>
          </ac:spMkLst>
        </pc:spChg>
        <pc:spChg chg="mod">
          <ac:chgData name="Jacobs, Laura (Div)" userId="99fa74c6-ede3-4954-a39a-d9db78cf29d5" providerId="ADAL" clId="{52D8CC9E-B5DF-4444-9B4B-7497A5B638E0}" dt="2024-06-26T11:53:28.954" v="74" actId="1076"/>
          <ac:spMkLst>
            <pc:docMk/>
            <pc:sldMk cId="1727920259" sldId="526"/>
            <ac:spMk id="18" creationId="{E724A126-ADAA-6D84-A39B-1EF4BFECFF88}"/>
          </ac:spMkLst>
        </pc:spChg>
        <pc:spChg chg="mod">
          <ac:chgData name="Jacobs, Laura (Div)" userId="99fa74c6-ede3-4954-a39a-d9db78cf29d5" providerId="ADAL" clId="{52D8CC9E-B5DF-4444-9B4B-7497A5B638E0}" dt="2024-06-26T11:53:28.285" v="73" actId="1076"/>
          <ac:spMkLst>
            <pc:docMk/>
            <pc:sldMk cId="1727920259" sldId="526"/>
            <ac:spMk id="20" creationId="{889A8CC5-9CBC-1953-C7FF-72D0F629F4EA}"/>
          </ac:spMkLst>
        </pc:spChg>
        <pc:spChg chg="mod">
          <ac:chgData name="Jacobs, Laura (Div)" userId="99fa74c6-ede3-4954-a39a-d9db78cf29d5" providerId="ADAL" clId="{52D8CC9E-B5DF-4444-9B4B-7497A5B638E0}" dt="2024-06-26T11:53:28.285" v="73" actId="1076"/>
          <ac:spMkLst>
            <pc:docMk/>
            <pc:sldMk cId="1727920259" sldId="526"/>
            <ac:spMk id="21" creationId="{282BBD63-2753-DAE6-B181-F72F69C0E34E}"/>
          </ac:spMkLst>
        </pc:spChg>
        <pc:spChg chg="mod">
          <ac:chgData name="Jacobs, Laura (Div)" userId="99fa74c6-ede3-4954-a39a-d9db78cf29d5" providerId="ADAL" clId="{52D8CC9E-B5DF-4444-9B4B-7497A5B638E0}" dt="2024-06-26T11:53:28.954" v="74" actId="1076"/>
          <ac:spMkLst>
            <pc:docMk/>
            <pc:sldMk cId="1727920259" sldId="526"/>
            <ac:spMk id="22" creationId="{B36D19AD-0F37-7B64-ADDE-117F44A8645C}"/>
          </ac:spMkLst>
        </pc:spChg>
        <pc:spChg chg="mod">
          <ac:chgData name="Jacobs, Laura (Div)" userId="99fa74c6-ede3-4954-a39a-d9db78cf29d5" providerId="ADAL" clId="{52D8CC9E-B5DF-4444-9B4B-7497A5B638E0}" dt="2024-06-26T11:53:28.285" v="73" actId="1076"/>
          <ac:spMkLst>
            <pc:docMk/>
            <pc:sldMk cId="1727920259" sldId="526"/>
            <ac:spMk id="23" creationId="{DA15C1F2-C143-7A6D-00F6-5F6068F8E56B}"/>
          </ac:spMkLst>
        </pc:spChg>
        <pc:picChg chg="mod">
          <ac:chgData name="Jacobs, Laura (Div)" userId="99fa74c6-ede3-4954-a39a-d9db78cf29d5" providerId="ADAL" clId="{52D8CC9E-B5DF-4444-9B4B-7497A5B638E0}" dt="2024-06-26T11:53:28.954" v="74" actId="1076"/>
          <ac:picMkLst>
            <pc:docMk/>
            <pc:sldMk cId="1727920259" sldId="526"/>
            <ac:picMk id="25" creationId="{FD223125-1594-10C0-606C-C6B1DDFB418A}"/>
          </ac:picMkLst>
        </pc:picChg>
        <pc:picChg chg="mod">
          <ac:chgData name="Jacobs, Laura (Div)" userId="99fa74c6-ede3-4954-a39a-d9db78cf29d5" providerId="ADAL" clId="{52D8CC9E-B5DF-4444-9B4B-7497A5B638E0}" dt="2024-06-26T11:53:27.669" v="72" actId="1076"/>
          <ac:picMkLst>
            <pc:docMk/>
            <pc:sldMk cId="1727920259" sldId="526"/>
            <ac:picMk id="26" creationId="{DC84DBC7-A9E5-F163-C0F2-022BA6E34211}"/>
          </ac:picMkLst>
        </pc:picChg>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53:53.254" v="75"/>
              <pc2:cmMkLst xmlns:pc2="http://schemas.microsoft.com/office/powerpoint/2019/9/main/command">
                <pc:docMk/>
                <pc:sldMk cId="1727920259" sldId="526"/>
                <pc2:cmMk id="{F4135815-D828-40F3-8AEB-C2324ABF503A}"/>
              </pc2:cmMkLst>
            </pc226:cmChg>
          </p:ext>
        </pc:extLst>
      </pc:sldChg>
      <pc:sldChg chg="modSp mod">
        <pc:chgData name="Jacobs, Laura (Div)" userId="99fa74c6-ede3-4954-a39a-d9db78cf29d5" providerId="ADAL" clId="{52D8CC9E-B5DF-4444-9B4B-7497A5B638E0}" dt="2024-08-20T14:53:59.876" v="6770" actId="20577"/>
        <pc:sldMkLst>
          <pc:docMk/>
          <pc:sldMk cId="3535469502" sldId="2147469323"/>
        </pc:sldMkLst>
        <pc:spChg chg="mod">
          <ac:chgData name="Jacobs, Laura (Div)" userId="99fa74c6-ede3-4954-a39a-d9db78cf29d5" providerId="ADAL" clId="{52D8CC9E-B5DF-4444-9B4B-7497A5B638E0}" dt="2024-08-20T14:53:59.876" v="6770" actId="20577"/>
          <ac:spMkLst>
            <pc:docMk/>
            <pc:sldMk cId="3535469502" sldId="2147469323"/>
            <ac:spMk id="2" creationId="{B27317CB-41AD-00C3-7AD6-A6D7510F356A}"/>
          </ac:spMkLst>
        </pc:spChg>
        <pc:spChg chg="mod">
          <ac:chgData name="Jacobs, Laura (Div)" userId="99fa74c6-ede3-4954-a39a-d9db78cf29d5" providerId="ADAL" clId="{52D8CC9E-B5DF-4444-9B4B-7497A5B638E0}" dt="2024-08-01T08:24:48.721" v="5476" actId="115"/>
          <ac:spMkLst>
            <pc:docMk/>
            <pc:sldMk cId="3535469502" sldId="2147469323"/>
            <ac:spMk id="6" creationId="{F0ECB113-ABC3-4E13-BCFF-9B2C39A7C262}"/>
          </ac:spMkLst>
        </pc:spChg>
      </pc:sldChg>
      <pc:sldChg chg="addSp modSp mod addCm delCm modCm">
        <pc:chgData name="Jacobs, Laura (Div)" userId="99fa74c6-ede3-4954-a39a-d9db78cf29d5" providerId="ADAL" clId="{52D8CC9E-B5DF-4444-9B4B-7497A5B638E0}" dt="2024-08-01T09:34:57.270" v="6569" actId="114"/>
        <pc:sldMkLst>
          <pc:docMk/>
          <pc:sldMk cId="1097917158" sldId="2147469343"/>
        </pc:sldMkLst>
        <pc:spChg chg="mod">
          <ac:chgData name="Jacobs, Laura (Div)" userId="99fa74c6-ede3-4954-a39a-d9db78cf29d5" providerId="ADAL" clId="{52D8CC9E-B5DF-4444-9B4B-7497A5B638E0}" dt="2024-06-28T08:44:32.546" v="2666" actId="20577"/>
          <ac:spMkLst>
            <pc:docMk/>
            <pc:sldMk cId="1097917158" sldId="2147469343"/>
            <ac:spMk id="2" creationId="{00000000-0000-0000-0000-000000000000}"/>
          </ac:spMkLst>
        </pc:spChg>
        <pc:spChg chg="mod">
          <ac:chgData name="Jacobs, Laura (Div)" userId="99fa74c6-ede3-4954-a39a-d9db78cf29d5" providerId="ADAL" clId="{52D8CC9E-B5DF-4444-9B4B-7497A5B638E0}" dt="2024-06-28T08:56:24.541" v="2973" actId="20577"/>
          <ac:spMkLst>
            <pc:docMk/>
            <pc:sldMk cId="1097917158" sldId="2147469343"/>
            <ac:spMk id="3" creationId="{95C466A8-18E9-45F0-A398-DE72C33C587B}"/>
          </ac:spMkLst>
        </pc:spChg>
        <pc:spChg chg="mod">
          <ac:chgData name="Jacobs, Laura (Div)" userId="99fa74c6-ede3-4954-a39a-d9db78cf29d5" providerId="ADAL" clId="{52D8CC9E-B5DF-4444-9B4B-7497A5B638E0}" dt="2024-07-31T13:57:37.631" v="5013" actId="313"/>
          <ac:spMkLst>
            <pc:docMk/>
            <pc:sldMk cId="1097917158" sldId="2147469343"/>
            <ac:spMk id="4" creationId="{402BA9C5-9DA0-EC7B-4563-F3997B576064}"/>
          </ac:spMkLst>
        </pc:spChg>
        <pc:spChg chg="mod">
          <ac:chgData name="Jacobs, Laura (Div)" userId="99fa74c6-ede3-4954-a39a-d9db78cf29d5" providerId="ADAL" clId="{52D8CC9E-B5DF-4444-9B4B-7497A5B638E0}" dt="2024-08-01T09:34:57.270" v="6569" actId="114"/>
          <ac:spMkLst>
            <pc:docMk/>
            <pc:sldMk cId="1097917158" sldId="2147469343"/>
            <ac:spMk id="5" creationId="{FF5DB4FC-FBAA-39CD-CBD4-B6A6579AFD02}"/>
          </ac:spMkLst>
        </pc:spChg>
        <pc:spChg chg="mod">
          <ac:chgData name="Jacobs, Laura (Div)" userId="99fa74c6-ede3-4954-a39a-d9db78cf29d5" providerId="ADAL" clId="{52D8CC9E-B5DF-4444-9B4B-7497A5B638E0}" dt="2024-06-28T08:56:00.486" v="2970" actId="1036"/>
          <ac:spMkLst>
            <pc:docMk/>
            <pc:sldMk cId="1097917158" sldId="2147469343"/>
            <ac:spMk id="9" creationId="{FF094CB7-1488-5731-06AE-AE7F528BF72C}"/>
          </ac:spMkLst>
        </pc:spChg>
        <pc:spChg chg="mod">
          <ac:chgData name="Jacobs, Laura (Div)" userId="99fa74c6-ede3-4954-a39a-d9db78cf29d5" providerId="ADAL" clId="{52D8CC9E-B5DF-4444-9B4B-7497A5B638E0}" dt="2024-06-28T08:55:15.959" v="2956" actId="113"/>
          <ac:spMkLst>
            <pc:docMk/>
            <pc:sldMk cId="1097917158" sldId="2147469343"/>
            <ac:spMk id="36" creationId="{8D0E9BBE-EBA8-98DC-4891-BD835548077E}"/>
          </ac:spMkLst>
        </pc:spChg>
        <pc:spChg chg="mod">
          <ac:chgData name="Jacobs, Laura (Div)" userId="99fa74c6-ede3-4954-a39a-d9db78cf29d5" providerId="ADAL" clId="{52D8CC9E-B5DF-4444-9B4B-7497A5B638E0}" dt="2024-06-28T08:50:24.270" v="2756" actId="164"/>
          <ac:spMkLst>
            <pc:docMk/>
            <pc:sldMk cId="1097917158" sldId="2147469343"/>
            <ac:spMk id="44" creationId="{D6ECF220-8F10-A0EE-18CE-761FC9B0DC42}"/>
          </ac:spMkLst>
        </pc:spChg>
        <pc:spChg chg="mod">
          <ac:chgData name="Jacobs, Laura (Div)" userId="99fa74c6-ede3-4954-a39a-d9db78cf29d5" providerId="ADAL" clId="{52D8CC9E-B5DF-4444-9B4B-7497A5B638E0}" dt="2024-06-28T08:56:00.486" v="2970" actId="1036"/>
          <ac:spMkLst>
            <pc:docMk/>
            <pc:sldMk cId="1097917158" sldId="2147469343"/>
            <ac:spMk id="46" creationId="{9043D33D-D62D-CD93-3AAD-5591D76E991B}"/>
          </ac:spMkLst>
        </pc:spChg>
        <pc:grpChg chg="add mod">
          <ac:chgData name="Jacobs, Laura (Div)" userId="99fa74c6-ede3-4954-a39a-d9db78cf29d5" providerId="ADAL" clId="{52D8CC9E-B5DF-4444-9B4B-7497A5B638E0}" dt="2024-06-28T08:56:32.216" v="2974" actId="1076"/>
          <ac:grpSpMkLst>
            <pc:docMk/>
            <pc:sldMk cId="1097917158" sldId="2147469343"/>
            <ac:grpSpMk id="6" creationId="{F2968995-C473-3FE3-02BB-5A8558471583}"/>
          </ac:grpSpMkLst>
        </pc:grpChg>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7-17T12:45:26.451" v="4867"/>
              <pc2:cmMkLst xmlns:pc2="http://schemas.microsoft.com/office/powerpoint/2019/9/main/command">
                <pc:docMk/>
                <pc:sldMk cId="1097917158" sldId="2147469343"/>
                <pc2:cmMk id="{FA738E72-5C14-4B89-ADB8-8E626AA0149D}"/>
              </pc2:cmMkLst>
            </pc226:cmChg>
            <pc226:cmChg xmlns:pc226="http://schemas.microsoft.com/office/powerpoint/2022/06/main/command" chg="add del mod">
              <pc226:chgData name="Jacobs, Laura (Div)" userId="99fa74c6-ede3-4954-a39a-d9db78cf29d5" providerId="ADAL" clId="{52D8CC9E-B5DF-4444-9B4B-7497A5B638E0}" dt="2024-06-28T08:56:10.829" v="2971"/>
              <pc2:cmMkLst xmlns:pc2="http://schemas.microsoft.com/office/powerpoint/2019/9/main/command">
                <pc:docMk/>
                <pc:sldMk cId="1097917158" sldId="2147469343"/>
                <pc2:cmMk id="{FE92B899-0F1D-459B-BB2B-AD758A66B81E}"/>
              </pc2:cmMkLst>
            </pc226:cmChg>
          </p:ext>
        </pc:extLst>
      </pc:sldChg>
      <pc:sldChg chg="delSp mod">
        <pc:chgData name="Jacobs, Laura (Div)" userId="99fa74c6-ede3-4954-a39a-d9db78cf29d5" providerId="ADAL" clId="{52D8CC9E-B5DF-4444-9B4B-7497A5B638E0}" dt="2024-06-26T11:45:44.944" v="39" actId="478"/>
        <pc:sldMkLst>
          <pc:docMk/>
          <pc:sldMk cId="4148027668" sldId="2147469344"/>
        </pc:sldMkLst>
        <pc:spChg chg="del">
          <ac:chgData name="Jacobs, Laura (Div)" userId="99fa74c6-ede3-4954-a39a-d9db78cf29d5" providerId="ADAL" clId="{52D8CC9E-B5DF-4444-9B4B-7497A5B638E0}" dt="2024-06-26T11:45:44.944" v="39" actId="478"/>
          <ac:spMkLst>
            <pc:docMk/>
            <pc:sldMk cId="4148027668" sldId="2147469344"/>
            <ac:spMk id="3" creationId="{E6743CF1-42C4-DFB8-F1E0-0E776BACDFD6}"/>
          </ac:spMkLst>
        </pc:spChg>
      </pc:sldChg>
      <pc:sldChg chg="addSp delSp modSp add del mod delCm">
        <pc:chgData name="Jacobs, Laura (Div)" userId="99fa74c6-ede3-4954-a39a-d9db78cf29d5" providerId="ADAL" clId="{52D8CC9E-B5DF-4444-9B4B-7497A5B638E0}" dt="2024-08-01T08:38:52.370" v="5569" actId="47"/>
        <pc:sldMkLst>
          <pc:docMk/>
          <pc:sldMk cId="2408836625" sldId="2147469345"/>
        </pc:sldMkLst>
        <pc:spChg chg="del">
          <ac:chgData name="Jacobs, Laura (Div)" userId="99fa74c6-ede3-4954-a39a-d9db78cf29d5" providerId="ADAL" clId="{52D8CC9E-B5DF-4444-9B4B-7497A5B638E0}" dt="2024-06-26T11:50:24.134" v="57" actId="478"/>
          <ac:spMkLst>
            <pc:docMk/>
            <pc:sldMk cId="2408836625" sldId="2147469345"/>
            <ac:spMk id="9" creationId="{21F26F15-1E4D-110B-D77A-A1FB1F302F20}"/>
          </ac:spMkLst>
        </pc:spChg>
        <pc:spChg chg="add mod">
          <ac:chgData name="Jacobs, Laura (Div)" userId="99fa74c6-ede3-4954-a39a-d9db78cf29d5" providerId="ADAL" clId="{52D8CC9E-B5DF-4444-9B4B-7497A5B638E0}" dt="2024-07-31T13:41:34.342" v="4925" actId="571"/>
          <ac:spMkLst>
            <pc:docMk/>
            <pc:sldMk cId="2408836625" sldId="2147469345"/>
            <ac:spMk id="9" creationId="{4CCFDC77-23EE-7C0B-7EA4-A41F3CC37C69}"/>
          </ac:spMkLst>
        </pc:spChg>
        <pc:spChg chg="mod">
          <ac:chgData name="Jacobs, Laura (Div)" userId="99fa74c6-ede3-4954-a39a-d9db78cf29d5" providerId="ADAL" clId="{52D8CC9E-B5DF-4444-9B4B-7497A5B638E0}" dt="2024-07-31T13:41:34.342" v="4925" actId="571"/>
          <ac:spMkLst>
            <pc:docMk/>
            <pc:sldMk cId="2408836625" sldId="2147469345"/>
            <ac:spMk id="12" creationId="{1225B244-ED9D-6BC6-8C0F-EE58A53A1A1F}"/>
          </ac:spMkLst>
        </pc:spChg>
        <pc:spChg chg="mod">
          <ac:chgData name="Jacobs, Laura (Div)" userId="99fa74c6-ede3-4954-a39a-d9db78cf29d5" providerId="ADAL" clId="{52D8CC9E-B5DF-4444-9B4B-7497A5B638E0}" dt="2024-07-31T13:41:34.342" v="4925" actId="571"/>
          <ac:spMkLst>
            <pc:docMk/>
            <pc:sldMk cId="2408836625" sldId="2147469345"/>
            <ac:spMk id="13" creationId="{8610F929-1366-34D7-DAFB-AEF90F83C9C0}"/>
          </ac:spMkLst>
        </pc:spChg>
        <pc:spChg chg="mod">
          <ac:chgData name="Jacobs, Laura (Div)" userId="99fa74c6-ede3-4954-a39a-d9db78cf29d5" providerId="ADAL" clId="{52D8CC9E-B5DF-4444-9B4B-7497A5B638E0}" dt="2024-07-31T13:42:01.900" v="4932" actId="1076"/>
          <ac:spMkLst>
            <pc:docMk/>
            <pc:sldMk cId="2408836625" sldId="2147469345"/>
            <ac:spMk id="14" creationId="{993EB4C5-6E96-DDAE-5C89-9A136847ED31}"/>
          </ac:spMkLst>
        </pc:spChg>
        <pc:spChg chg="mod">
          <ac:chgData name="Jacobs, Laura (Div)" userId="99fa74c6-ede3-4954-a39a-d9db78cf29d5" providerId="ADAL" clId="{52D8CC9E-B5DF-4444-9B4B-7497A5B638E0}" dt="2024-07-31T13:41:34.342" v="4925" actId="571"/>
          <ac:spMkLst>
            <pc:docMk/>
            <pc:sldMk cId="2408836625" sldId="2147469345"/>
            <ac:spMk id="15" creationId="{6CB3AB7E-D70D-2E99-87C1-29D88134B241}"/>
          </ac:spMkLst>
        </pc:spChg>
        <pc:spChg chg="mod">
          <ac:chgData name="Jacobs, Laura (Div)" userId="99fa74c6-ede3-4954-a39a-d9db78cf29d5" providerId="ADAL" clId="{52D8CC9E-B5DF-4444-9B4B-7497A5B638E0}" dt="2024-07-31T13:41:34.342" v="4925" actId="571"/>
          <ac:spMkLst>
            <pc:docMk/>
            <pc:sldMk cId="2408836625" sldId="2147469345"/>
            <ac:spMk id="16" creationId="{DC2331FC-FB8E-E051-DA0B-D8A2F99E2101}"/>
          </ac:spMkLst>
        </pc:spChg>
        <pc:spChg chg="mod">
          <ac:chgData name="Jacobs, Laura (Div)" userId="99fa74c6-ede3-4954-a39a-d9db78cf29d5" providerId="ADAL" clId="{52D8CC9E-B5DF-4444-9B4B-7497A5B638E0}" dt="2024-07-31T13:42:10.293" v="4935" actId="1076"/>
          <ac:spMkLst>
            <pc:docMk/>
            <pc:sldMk cId="2408836625" sldId="2147469345"/>
            <ac:spMk id="35" creationId="{CDD458AA-754C-47F0-95C3-C9979B7FED23}"/>
          </ac:spMkLst>
        </pc:spChg>
        <pc:grpChg chg="mod">
          <ac:chgData name="Jacobs, Laura (Div)" userId="99fa74c6-ede3-4954-a39a-d9db78cf29d5" providerId="ADAL" clId="{52D8CC9E-B5DF-4444-9B4B-7497A5B638E0}" dt="2024-07-31T13:42:15.080" v="4936" actId="1076"/>
          <ac:grpSpMkLst>
            <pc:docMk/>
            <pc:sldMk cId="2408836625" sldId="2147469345"/>
            <ac:grpSpMk id="3" creationId="{7155FE97-D135-E151-BC09-DFF728CB6443}"/>
          </ac:grpSpMkLst>
        </pc:grpChg>
        <pc:grpChg chg="add mod">
          <ac:chgData name="Jacobs, Laura (Div)" userId="99fa74c6-ede3-4954-a39a-d9db78cf29d5" providerId="ADAL" clId="{52D8CC9E-B5DF-4444-9B4B-7497A5B638E0}" dt="2024-07-31T13:41:34.342" v="4925" actId="571"/>
          <ac:grpSpMkLst>
            <pc:docMk/>
            <pc:sldMk cId="2408836625" sldId="2147469345"/>
            <ac:grpSpMk id="11" creationId="{244D80DF-5555-AEA9-2C8F-6C3D0EEFC698}"/>
          </ac:grpSpMkLst>
        </pc:grpChg>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50:35.938" v="58"/>
              <pc2:cmMkLst xmlns:pc2="http://schemas.microsoft.com/office/powerpoint/2019/9/main/command">
                <pc:docMk/>
                <pc:sldMk cId="2408836625" sldId="2147469345"/>
                <pc2:cmMk id="{8FB4E38C-2A2B-49D6-BE25-D67607F32040}"/>
              </pc2:cmMkLst>
            </pc226:cmChg>
          </p:ext>
        </pc:extLst>
      </pc:sldChg>
      <pc:sldChg chg="delCm">
        <pc:chgData name="Jacobs, Laura (Div)" userId="99fa74c6-ede3-4954-a39a-d9db78cf29d5" providerId="ADAL" clId="{52D8CC9E-B5DF-4444-9B4B-7497A5B638E0}" dt="2024-07-17T12:46:14.272" v="4874"/>
        <pc:sldMkLst>
          <pc:docMk/>
          <pc:sldMk cId="699281536" sldId="2147469350"/>
        </pc:sldMkLst>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7-17T12:46:14.272" v="4874"/>
              <pc2:cmMkLst xmlns:pc2="http://schemas.microsoft.com/office/powerpoint/2019/9/main/command">
                <pc:docMk/>
                <pc:sldMk cId="699281536" sldId="2147469350"/>
                <pc2:cmMk id="{71734DBD-5431-4DB2-B9CB-DCA12CEA725F}"/>
              </pc2:cmMkLst>
            </pc226:cmChg>
          </p:ext>
        </pc:extLst>
      </pc:sldChg>
      <pc:sldChg chg="modSp mod">
        <pc:chgData name="Jacobs, Laura (Div)" userId="99fa74c6-ede3-4954-a39a-d9db78cf29d5" providerId="ADAL" clId="{52D8CC9E-B5DF-4444-9B4B-7497A5B638E0}" dt="2024-07-31T14:03:09.812" v="5103" actId="14100"/>
        <pc:sldMkLst>
          <pc:docMk/>
          <pc:sldMk cId="3376299215" sldId="2147469359"/>
        </pc:sldMkLst>
        <pc:spChg chg="mod">
          <ac:chgData name="Jacobs, Laura (Div)" userId="99fa74c6-ede3-4954-a39a-d9db78cf29d5" providerId="ADAL" clId="{52D8CC9E-B5DF-4444-9B4B-7497A5B638E0}" dt="2024-07-31T14:02:59.325" v="5102" actId="14100"/>
          <ac:spMkLst>
            <pc:docMk/>
            <pc:sldMk cId="3376299215" sldId="2147469359"/>
            <ac:spMk id="16" creationId="{2FA51F2C-B143-4E5A-BF06-6A3041F9F78D}"/>
          </ac:spMkLst>
        </pc:spChg>
        <pc:cxnChg chg="mod">
          <ac:chgData name="Jacobs, Laura (Div)" userId="99fa74c6-ede3-4954-a39a-d9db78cf29d5" providerId="ADAL" clId="{52D8CC9E-B5DF-4444-9B4B-7497A5B638E0}" dt="2024-07-31T14:03:09.812" v="5103" actId="14100"/>
          <ac:cxnSpMkLst>
            <pc:docMk/>
            <pc:sldMk cId="3376299215" sldId="2147469359"/>
            <ac:cxnSpMk id="12" creationId="{34D4E1F1-90BC-2A1F-A35D-748DFA9A4573}"/>
          </ac:cxnSpMkLst>
        </pc:cxnChg>
      </pc:sldChg>
      <pc:sldChg chg="modSp mod">
        <pc:chgData name="Jacobs, Laura (Div)" userId="99fa74c6-ede3-4954-a39a-d9db78cf29d5" providerId="ADAL" clId="{52D8CC9E-B5DF-4444-9B4B-7497A5B638E0}" dt="2024-07-31T14:04:07.063" v="5111" actId="14100"/>
        <pc:sldMkLst>
          <pc:docMk/>
          <pc:sldMk cId="2258845942" sldId="2147469360"/>
        </pc:sldMkLst>
        <pc:spChg chg="mod">
          <ac:chgData name="Jacobs, Laura (Div)" userId="99fa74c6-ede3-4954-a39a-d9db78cf29d5" providerId="ADAL" clId="{52D8CC9E-B5DF-4444-9B4B-7497A5B638E0}" dt="2024-07-31T14:03:32.543" v="5105" actId="14100"/>
          <ac:spMkLst>
            <pc:docMk/>
            <pc:sldMk cId="2258845942" sldId="2147469360"/>
            <ac:spMk id="21" creationId="{2F0DEE63-9D67-24B8-A832-A6A6C542B95F}"/>
          </ac:spMkLst>
        </pc:spChg>
        <pc:spChg chg="mod">
          <ac:chgData name="Jacobs, Laura (Div)" userId="99fa74c6-ede3-4954-a39a-d9db78cf29d5" providerId="ADAL" clId="{52D8CC9E-B5DF-4444-9B4B-7497A5B638E0}" dt="2024-07-31T14:04:03.694" v="5110" actId="1076"/>
          <ac:spMkLst>
            <pc:docMk/>
            <pc:sldMk cId="2258845942" sldId="2147469360"/>
            <ac:spMk id="22" creationId="{B986088B-65A7-3233-ECA6-E23E70CF2165}"/>
          </ac:spMkLst>
        </pc:spChg>
        <pc:spChg chg="mod">
          <ac:chgData name="Jacobs, Laura (Div)" userId="99fa74c6-ede3-4954-a39a-d9db78cf29d5" providerId="ADAL" clId="{52D8CC9E-B5DF-4444-9B4B-7497A5B638E0}" dt="2024-07-31T14:03:54.024" v="5109" actId="1076"/>
          <ac:spMkLst>
            <pc:docMk/>
            <pc:sldMk cId="2258845942" sldId="2147469360"/>
            <ac:spMk id="26" creationId="{40EDF205-630D-2FF7-8A97-D9B8BF872658}"/>
          </ac:spMkLst>
        </pc:spChg>
        <pc:grpChg chg="mod">
          <ac:chgData name="Jacobs, Laura (Div)" userId="99fa74c6-ede3-4954-a39a-d9db78cf29d5" providerId="ADAL" clId="{52D8CC9E-B5DF-4444-9B4B-7497A5B638E0}" dt="2024-07-31T14:03:50.734" v="5108" actId="1076"/>
          <ac:grpSpMkLst>
            <pc:docMk/>
            <pc:sldMk cId="2258845942" sldId="2147469360"/>
            <ac:grpSpMk id="2" creationId="{17733723-068F-5AEA-DB1B-F06CC8C7E2A3}"/>
          </ac:grpSpMkLst>
        </pc:grpChg>
        <pc:cxnChg chg="mod">
          <ac:chgData name="Jacobs, Laura (Div)" userId="99fa74c6-ede3-4954-a39a-d9db78cf29d5" providerId="ADAL" clId="{52D8CC9E-B5DF-4444-9B4B-7497A5B638E0}" dt="2024-07-31T14:04:07.063" v="5111" actId="14100"/>
          <ac:cxnSpMkLst>
            <pc:docMk/>
            <pc:sldMk cId="2258845942" sldId="2147469360"/>
            <ac:cxnSpMk id="17" creationId="{A3143D89-2DBD-52AD-BAEE-457F3CCF0834}"/>
          </ac:cxnSpMkLst>
        </pc:cxnChg>
      </pc:sldChg>
      <pc:sldChg chg="modSp mod">
        <pc:chgData name="Jacobs, Laura (Div)" userId="99fa74c6-ede3-4954-a39a-d9db78cf29d5" providerId="ADAL" clId="{52D8CC9E-B5DF-4444-9B4B-7497A5B638E0}" dt="2024-07-31T14:05:25.910" v="5137" actId="20577"/>
        <pc:sldMkLst>
          <pc:docMk/>
          <pc:sldMk cId="400044406" sldId="2147469361"/>
        </pc:sldMkLst>
        <pc:spChg chg="mod">
          <ac:chgData name="Jacobs, Laura (Div)" userId="99fa74c6-ede3-4954-a39a-d9db78cf29d5" providerId="ADAL" clId="{52D8CC9E-B5DF-4444-9B4B-7497A5B638E0}" dt="2024-07-31T14:05:14.854" v="5133" actId="20577"/>
          <ac:spMkLst>
            <pc:docMk/>
            <pc:sldMk cId="400044406" sldId="2147469361"/>
            <ac:spMk id="2" creationId="{F9D0E7D9-BDA8-275D-145B-CB4B16F2DEF1}"/>
          </ac:spMkLst>
        </pc:spChg>
        <pc:spChg chg="mod">
          <ac:chgData name="Jacobs, Laura (Div)" userId="99fa74c6-ede3-4954-a39a-d9db78cf29d5" providerId="ADAL" clId="{52D8CC9E-B5DF-4444-9B4B-7497A5B638E0}" dt="2024-07-31T14:05:19.180" v="5134"/>
          <ac:spMkLst>
            <pc:docMk/>
            <pc:sldMk cId="400044406" sldId="2147469361"/>
            <ac:spMk id="4" creationId="{10493D8A-FD4F-A578-7C62-C202BC8FB2E9}"/>
          </ac:spMkLst>
        </pc:spChg>
        <pc:spChg chg="mod">
          <ac:chgData name="Jacobs, Laura (Div)" userId="99fa74c6-ede3-4954-a39a-d9db78cf29d5" providerId="ADAL" clId="{52D8CC9E-B5DF-4444-9B4B-7497A5B638E0}" dt="2024-07-31T14:05:25.910" v="5137" actId="20577"/>
          <ac:spMkLst>
            <pc:docMk/>
            <pc:sldMk cId="400044406" sldId="2147469361"/>
            <ac:spMk id="17" creationId="{90B6E59D-AF54-8DD2-CFDA-90771F1599A1}"/>
          </ac:spMkLst>
        </pc:spChg>
      </pc:sldChg>
      <pc:sldChg chg="modSp mod addCm delCm">
        <pc:chgData name="Jacobs, Laura (Div)" userId="99fa74c6-ede3-4954-a39a-d9db78cf29d5" providerId="ADAL" clId="{52D8CC9E-B5DF-4444-9B4B-7497A5B638E0}" dt="2024-07-17T12:42:30.086" v="4853"/>
        <pc:sldMkLst>
          <pc:docMk/>
          <pc:sldMk cId="1948986" sldId="2147469369"/>
        </pc:sldMkLst>
        <pc:spChg chg="mod">
          <ac:chgData name="Jacobs, Laura (Div)" userId="99fa74c6-ede3-4954-a39a-d9db78cf29d5" providerId="ADAL" clId="{52D8CC9E-B5DF-4444-9B4B-7497A5B638E0}" dt="2024-06-26T11:30:39.055" v="23" actId="108"/>
          <ac:spMkLst>
            <pc:docMk/>
            <pc:sldMk cId="1948986" sldId="2147469369"/>
            <ac:spMk id="13" creationId="{1912B2F8-D060-FA9B-0A99-75BB2BA55862}"/>
          </ac:spMkLst>
        </pc:spChg>
        <pc:spChg chg="mod">
          <ac:chgData name="Jacobs, Laura (Div)" userId="99fa74c6-ede3-4954-a39a-d9db78cf29d5" providerId="ADAL" clId="{52D8CC9E-B5DF-4444-9B4B-7497A5B638E0}" dt="2024-06-26T11:31:02.860" v="25" actId="108"/>
          <ac:spMkLst>
            <pc:docMk/>
            <pc:sldMk cId="1948986" sldId="2147469369"/>
            <ac:spMk id="14" creationId="{37F64F10-4BF0-EA88-776F-3FFEC341677F}"/>
          </ac:spMkLst>
        </pc:spChg>
        <pc:spChg chg="mod">
          <ac:chgData name="Jacobs, Laura (Div)" userId="99fa74c6-ede3-4954-a39a-d9db78cf29d5" providerId="ADAL" clId="{52D8CC9E-B5DF-4444-9B4B-7497A5B638E0}" dt="2024-06-26T11:31:16.029" v="27" actId="108"/>
          <ac:spMkLst>
            <pc:docMk/>
            <pc:sldMk cId="1948986" sldId="2147469369"/>
            <ac:spMk id="16" creationId="{9846A3DB-0B63-C8B2-4947-AE04842A74CE}"/>
          </ac:spMkLst>
        </pc:spChg>
        <pc:spChg chg="mod">
          <ac:chgData name="Jacobs, Laura (Div)" userId="99fa74c6-ede3-4954-a39a-d9db78cf29d5" providerId="ADAL" clId="{52D8CC9E-B5DF-4444-9B4B-7497A5B638E0}" dt="2024-06-26T11:30:51.498" v="24" actId="108"/>
          <ac:spMkLst>
            <pc:docMk/>
            <pc:sldMk cId="1948986" sldId="2147469369"/>
            <ac:spMk id="25" creationId="{0D36D1D6-5CBD-718D-D7CC-71F34BD3EFD0}"/>
          </ac:spMkLst>
        </pc:spChg>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29:40.411" v="18"/>
              <pc2:cmMkLst xmlns:pc2="http://schemas.microsoft.com/office/powerpoint/2019/9/main/command">
                <pc:docMk/>
                <pc:sldMk cId="1948986" sldId="2147469369"/>
                <pc2:cmMk id="{6CF7088E-F209-44DA-A320-111E4413117B}"/>
              </pc2:cmMkLst>
            </pc226:cmChg>
            <pc226:cmChg xmlns:pc226="http://schemas.microsoft.com/office/powerpoint/2022/06/main/command" chg="add del">
              <pc226:chgData name="Jacobs, Laura (Div)" userId="99fa74c6-ede3-4954-a39a-d9db78cf29d5" providerId="ADAL" clId="{52D8CC9E-B5DF-4444-9B4B-7497A5B638E0}" dt="2024-07-17T12:42:30.086" v="4853"/>
              <pc2:cmMkLst xmlns:pc2="http://schemas.microsoft.com/office/powerpoint/2019/9/main/command">
                <pc:docMk/>
                <pc:sldMk cId="1948986" sldId="2147469369"/>
                <pc2:cmMk id="{FF9BECB9-B2AE-49ED-943B-62E12C30958D}"/>
              </pc2:cmMkLst>
            </pc226:cmChg>
            <pc226:cmChg xmlns:pc226="http://schemas.microsoft.com/office/powerpoint/2022/06/main/command" chg="add del">
              <pc226:chgData name="Jacobs, Laura (Div)" userId="99fa74c6-ede3-4954-a39a-d9db78cf29d5" providerId="ADAL" clId="{52D8CC9E-B5DF-4444-9B4B-7497A5B638E0}" dt="2024-07-17T12:42:28.721" v="4852"/>
              <pc2:cmMkLst xmlns:pc2="http://schemas.microsoft.com/office/powerpoint/2019/9/main/command">
                <pc:docMk/>
                <pc:sldMk cId="1948986" sldId="2147469369"/>
                <pc2:cmMk id="{9C4A9AE5-4A21-4493-BB04-16D796B370CC}"/>
              </pc2:cmMkLst>
            </pc226:cmChg>
          </p:ext>
        </pc:extLst>
      </pc:sldChg>
      <pc:sldChg chg="modSp mod addCm delCm modCm">
        <pc:chgData name="Jacobs, Laura (Div)" userId="99fa74c6-ede3-4954-a39a-d9db78cf29d5" providerId="ADAL" clId="{52D8CC9E-B5DF-4444-9B4B-7497A5B638E0}" dt="2024-08-01T09:32:58.993" v="6554" actId="114"/>
        <pc:sldMkLst>
          <pc:docMk/>
          <pc:sldMk cId="1567353880" sldId="2147469377"/>
        </pc:sldMkLst>
        <pc:spChg chg="mod">
          <ac:chgData name="Jacobs, Laura (Div)" userId="99fa74c6-ede3-4954-a39a-d9db78cf29d5" providerId="ADAL" clId="{52D8CC9E-B5DF-4444-9B4B-7497A5B638E0}" dt="2024-08-01T09:32:58.993" v="6554" actId="114"/>
          <ac:spMkLst>
            <pc:docMk/>
            <pc:sldMk cId="1567353880" sldId="2147469377"/>
            <ac:spMk id="2" creationId="{1F0DE6D4-6FE0-9C2D-FCBB-206CAEE98DD5}"/>
          </ac:spMkLst>
        </pc:spChg>
        <pc:spChg chg="mod">
          <ac:chgData name="Jacobs, Laura (Div)" userId="99fa74c6-ede3-4954-a39a-d9db78cf29d5" providerId="ADAL" clId="{52D8CC9E-B5DF-4444-9B4B-7497A5B638E0}" dt="2024-06-26T14:51:04.066" v="1894" actId="20577"/>
          <ac:spMkLst>
            <pc:docMk/>
            <pc:sldMk cId="1567353880" sldId="2147469377"/>
            <ac:spMk id="25" creationId="{02E84C56-041F-EF50-8854-4AB5576C2BE4}"/>
          </ac:spMkLst>
        </pc:spChg>
        <pc:spChg chg="mod">
          <ac:chgData name="Jacobs, Laura (Div)" userId="99fa74c6-ede3-4954-a39a-d9db78cf29d5" providerId="ADAL" clId="{52D8CC9E-B5DF-4444-9B4B-7497A5B638E0}" dt="2024-06-26T14:51:07.068" v="1896" actId="20577"/>
          <ac:spMkLst>
            <pc:docMk/>
            <pc:sldMk cId="1567353880" sldId="2147469377"/>
            <ac:spMk id="27" creationId="{0D5F7DD1-6A38-927C-CEF3-1E53B5EA79F1}"/>
          </ac:spMkLst>
        </pc:spChg>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6-26T14:51:09.778" v="1897"/>
              <pc2:cmMkLst xmlns:pc2="http://schemas.microsoft.com/office/powerpoint/2019/9/main/command">
                <pc:docMk/>
                <pc:sldMk cId="1567353880" sldId="2147469377"/>
                <pc2:cmMk id="{779CCD15-D886-4C35-A9E0-1FF9AE7B08A6}"/>
              </pc2:cmMkLst>
            </pc226:cmChg>
          </p:ext>
        </pc:extLst>
      </pc:sldChg>
      <pc:sldChg chg="modSp mod delCm">
        <pc:chgData name="Jacobs, Laura (Div)" userId="99fa74c6-ede3-4954-a39a-d9db78cf29d5" providerId="ADAL" clId="{52D8CC9E-B5DF-4444-9B4B-7497A5B638E0}" dt="2024-08-01T09:33:23.584" v="6557" actId="114"/>
        <pc:sldMkLst>
          <pc:docMk/>
          <pc:sldMk cId="3777991858" sldId="2147469380"/>
        </pc:sldMkLst>
        <pc:spChg chg="mod">
          <ac:chgData name="Jacobs, Laura (Div)" userId="99fa74c6-ede3-4954-a39a-d9db78cf29d5" providerId="ADAL" clId="{52D8CC9E-B5DF-4444-9B4B-7497A5B638E0}" dt="2024-08-01T09:33:23.584" v="6557" actId="114"/>
          <ac:spMkLst>
            <pc:docMk/>
            <pc:sldMk cId="3777991858" sldId="2147469380"/>
            <ac:spMk id="6" creationId="{0C74C068-328C-8177-5D81-AB9482C8E15D}"/>
          </ac:spMkLst>
        </pc:spChg>
        <pc:spChg chg="mod">
          <ac:chgData name="Jacobs, Laura (Div)" userId="99fa74c6-ede3-4954-a39a-d9db78cf29d5" providerId="ADAL" clId="{52D8CC9E-B5DF-4444-9B4B-7497A5B638E0}" dt="2024-06-26T11:49:10.471" v="56" actId="20577"/>
          <ac:spMkLst>
            <pc:docMk/>
            <pc:sldMk cId="3777991858" sldId="2147469380"/>
            <ac:spMk id="26" creationId="{A928690D-1763-A4C8-83AE-68D87456BE2F}"/>
          </ac:spMkLst>
        </pc:spChg>
        <pc:spChg chg="mod">
          <ac:chgData name="Jacobs, Laura (Div)" userId="99fa74c6-ede3-4954-a39a-d9db78cf29d5" providerId="ADAL" clId="{52D8CC9E-B5DF-4444-9B4B-7497A5B638E0}" dt="2024-06-26T11:48:49.642" v="52" actId="1076"/>
          <ac:spMkLst>
            <pc:docMk/>
            <pc:sldMk cId="3777991858" sldId="2147469380"/>
            <ac:spMk id="27" creationId="{1041CD0C-F801-CB37-530C-4EB4009C0E58}"/>
          </ac:spMkLst>
        </pc:spChg>
        <pc:spChg chg="mod">
          <ac:chgData name="Jacobs, Laura (Div)" userId="99fa74c6-ede3-4954-a39a-d9db78cf29d5" providerId="ADAL" clId="{52D8CC9E-B5DF-4444-9B4B-7497A5B638E0}" dt="2024-06-26T11:49:01.400" v="54" actId="1076"/>
          <ac:spMkLst>
            <pc:docMk/>
            <pc:sldMk cId="3777991858" sldId="2147469380"/>
            <ac:spMk id="28" creationId="{200B47F8-131D-B25F-527C-76BD3F5D91E4}"/>
          </ac:spMkLst>
        </pc:spChg>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47:01.293" v="46"/>
              <pc2:cmMkLst xmlns:pc2="http://schemas.microsoft.com/office/powerpoint/2019/9/main/command">
                <pc:docMk/>
                <pc:sldMk cId="3777991858" sldId="2147469380"/>
                <pc2:cmMk id="{4B367651-68AA-4E61-AC48-56F1CBC2874B}"/>
              </pc2:cmMkLst>
            </pc226:cmChg>
          </p:ext>
        </pc:extLst>
      </pc:sldChg>
      <pc:sldChg chg="delSp modSp add del mod addCm delCm modCm">
        <pc:chgData name="Jacobs, Laura (Div)" userId="99fa74c6-ede3-4954-a39a-d9db78cf29d5" providerId="ADAL" clId="{52D8CC9E-B5DF-4444-9B4B-7497A5B638E0}" dt="2024-08-20T15:09:44.537" v="7267" actId="20577"/>
        <pc:sldMkLst>
          <pc:docMk/>
          <pc:sldMk cId="4003574130" sldId="2147469384"/>
        </pc:sldMkLst>
        <pc:spChg chg="mod">
          <ac:chgData name="Jacobs, Laura (Div)" userId="99fa74c6-ede3-4954-a39a-d9db78cf29d5" providerId="ADAL" clId="{52D8CC9E-B5DF-4444-9B4B-7497A5B638E0}" dt="2024-08-20T14:59:36.238" v="6831" actId="1036"/>
          <ac:spMkLst>
            <pc:docMk/>
            <pc:sldMk cId="4003574130" sldId="2147469384"/>
            <ac:spMk id="3" creationId="{95C466A8-18E9-45F0-A398-DE72C33C587B}"/>
          </ac:spMkLst>
        </pc:spChg>
        <pc:spChg chg="del mod">
          <ac:chgData name="Jacobs, Laura (Div)" userId="99fa74c6-ede3-4954-a39a-d9db78cf29d5" providerId="ADAL" clId="{52D8CC9E-B5DF-4444-9B4B-7497A5B638E0}" dt="2024-08-20T14:59:25.157" v="6799" actId="478"/>
          <ac:spMkLst>
            <pc:docMk/>
            <pc:sldMk cId="4003574130" sldId="2147469384"/>
            <ac:spMk id="7" creationId="{AE325D78-F222-3133-D3C0-EEA4BADD4B32}"/>
          </ac:spMkLst>
        </pc:spChg>
        <pc:spChg chg="mod">
          <ac:chgData name="Jacobs, Laura (Div)" userId="99fa74c6-ede3-4954-a39a-d9db78cf29d5" providerId="ADAL" clId="{52D8CC9E-B5DF-4444-9B4B-7497A5B638E0}" dt="2024-08-20T15:06:24.621" v="7214" actId="6549"/>
          <ac:spMkLst>
            <pc:docMk/>
            <pc:sldMk cId="4003574130" sldId="2147469384"/>
            <ac:spMk id="10" creationId="{626077CE-5F03-2892-AC77-01E055C7FDA8}"/>
          </ac:spMkLst>
        </pc:spChg>
        <pc:spChg chg="del mod">
          <ac:chgData name="Jacobs, Laura (Div)" userId="99fa74c6-ede3-4954-a39a-d9db78cf29d5" providerId="ADAL" clId="{52D8CC9E-B5DF-4444-9B4B-7497A5B638E0}" dt="2024-08-20T15:09:44.537" v="7267" actId="20577"/>
          <ac:spMkLst>
            <pc:docMk/>
            <pc:sldMk cId="4003574130" sldId="2147469384"/>
            <ac:spMk id="15" creationId="{013DD074-0EFB-2710-7C62-380CAB89EEEB}"/>
          </ac:spMkLst>
        </pc:spChg>
        <pc:spChg chg="mod">
          <ac:chgData name="Jacobs, Laura (Div)" userId="99fa74c6-ede3-4954-a39a-d9db78cf29d5" providerId="ADAL" clId="{52D8CC9E-B5DF-4444-9B4B-7497A5B638E0}" dt="2024-08-20T14:59:36.238" v="6831" actId="1036"/>
          <ac:spMkLst>
            <pc:docMk/>
            <pc:sldMk cId="4003574130" sldId="2147469384"/>
            <ac:spMk id="16" creationId="{EA48AF0B-E515-BC28-DA5C-D0D9431DFD2B}"/>
          </ac:spMkLst>
        </pc:spChg>
        <pc:picChg chg="mod">
          <ac:chgData name="Jacobs, Laura (Div)" userId="99fa74c6-ede3-4954-a39a-d9db78cf29d5" providerId="ADAL" clId="{52D8CC9E-B5DF-4444-9B4B-7497A5B638E0}" dt="2024-08-20T14:59:36.238" v="6831" actId="1036"/>
          <ac:picMkLst>
            <pc:docMk/>
            <pc:sldMk cId="4003574130" sldId="2147469384"/>
            <ac:picMk id="4" creationId="{84FB06FD-DA35-F82E-98EF-D0AD514CFCA8}"/>
          </ac:picMkLst>
        </pc:picChg>
        <pc:cxnChg chg="mod">
          <ac:chgData name="Jacobs, Laura (Div)" userId="99fa74c6-ede3-4954-a39a-d9db78cf29d5" providerId="ADAL" clId="{52D8CC9E-B5DF-4444-9B4B-7497A5B638E0}" dt="2024-08-20T14:59:36.238" v="6831" actId="1036"/>
          <ac:cxnSpMkLst>
            <pc:docMk/>
            <pc:sldMk cId="4003574130" sldId="2147469384"/>
            <ac:cxnSpMk id="17" creationId="{D440D7D4-E3F5-25B9-6EA6-0BB664430E3D}"/>
          </ac:cxnSpMkLst>
        </pc:cxnChg>
        <pc:cxnChg chg="mod">
          <ac:chgData name="Jacobs, Laura (Div)" userId="99fa74c6-ede3-4954-a39a-d9db78cf29d5" providerId="ADAL" clId="{52D8CC9E-B5DF-4444-9B4B-7497A5B638E0}" dt="2024-08-20T14:59:36.238" v="6831" actId="1036"/>
          <ac:cxnSpMkLst>
            <pc:docMk/>
            <pc:sldMk cId="4003574130" sldId="2147469384"/>
            <ac:cxnSpMk id="18" creationId="{0D3B6FDF-30F6-0534-81A8-E5107F7B5F0A}"/>
          </ac:cxnSpMkLst>
        </pc:cxnChg>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7-17T12:45:46.908" v="4872"/>
              <pc2:cmMkLst xmlns:pc2="http://schemas.microsoft.com/office/powerpoint/2019/9/main/command">
                <pc:docMk/>
                <pc:sldMk cId="4003574130" sldId="2147469384"/>
                <pc2:cmMk id="{E55D752D-77AC-4498-AE60-A30B4C8C4990}"/>
              </pc2:cmMkLst>
              <pc226:cmRplyChg chg="add">
                <pc226:chgData name="Jacobs, Laura (Div)" userId="99fa74c6-ede3-4954-a39a-d9db78cf29d5" providerId="ADAL" clId="{52D8CC9E-B5DF-4444-9B4B-7497A5B638E0}" dt="2024-06-26T12:32:24.177" v="425"/>
                <pc2:cmRplyMkLst xmlns:pc2="http://schemas.microsoft.com/office/powerpoint/2019/9/main/command">
                  <pc:docMk/>
                  <pc:sldMk cId="4003574130" sldId="2147469384"/>
                  <pc2:cmMk id="{E55D752D-77AC-4498-AE60-A30B4C8C4990}"/>
                  <pc2:cmRplyMk id="{579F8A35-AFDF-451B-A5C3-E7D8E40A91E2}"/>
                </pc2:cmRplyMkLst>
              </pc226:cmRplyChg>
            </pc226:cmChg>
            <pc226:cmChg xmlns:pc226="http://schemas.microsoft.com/office/powerpoint/2022/06/main/command" chg="del mod">
              <pc226:chgData name="Jacobs, Laura (Div)" userId="99fa74c6-ede3-4954-a39a-d9db78cf29d5" providerId="ADAL" clId="{52D8CC9E-B5DF-4444-9B4B-7497A5B638E0}" dt="2024-08-20T15:06:36.915" v="7215"/>
              <pc2:cmMkLst xmlns:pc2="http://schemas.microsoft.com/office/powerpoint/2019/9/main/command">
                <pc:docMk/>
                <pc:sldMk cId="4003574130" sldId="2147469384"/>
                <pc2:cmMk id="{58B38449-A140-45A0-867F-94ADB3579FEE}"/>
              </pc2:cmMkLst>
            </pc226:cmChg>
          </p:ext>
        </pc:extLst>
      </pc:sldChg>
      <pc:sldChg chg="modSp mod">
        <pc:chgData name="Jacobs, Laura (Div)" userId="99fa74c6-ede3-4954-a39a-d9db78cf29d5" providerId="ADAL" clId="{52D8CC9E-B5DF-4444-9B4B-7497A5B638E0}" dt="2024-08-01T09:36:32.179" v="6593" actId="114"/>
        <pc:sldMkLst>
          <pc:docMk/>
          <pc:sldMk cId="3931705517" sldId="2147469390"/>
        </pc:sldMkLst>
        <pc:spChg chg="mod">
          <ac:chgData name="Jacobs, Laura (Div)" userId="99fa74c6-ede3-4954-a39a-d9db78cf29d5" providerId="ADAL" clId="{52D8CC9E-B5DF-4444-9B4B-7497A5B638E0}" dt="2024-08-01T09:36:32.179" v="6593" actId="114"/>
          <ac:spMkLst>
            <pc:docMk/>
            <pc:sldMk cId="3931705517" sldId="2147469390"/>
            <ac:spMk id="3" creationId="{AECDBD7F-F726-911C-236F-826AD5591669}"/>
          </ac:spMkLst>
        </pc:spChg>
      </pc:sldChg>
      <pc:sldChg chg="modSp mod addCm delCm modCm">
        <pc:chgData name="Jacobs, Laura (Div)" userId="99fa74c6-ede3-4954-a39a-d9db78cf29d5" providerId="ADAL" clId="{52D8CC9E-B5DF-4444-9B4B-7497A5B638E0}" dt="2024-08-01T09:35:19.762" v="6572" actId="114"/>
        <pc:sldMkLst>
          <pc:docMk/>
          <pc:sldMk cId="3885099165" sldId="2147469391"/>
        </pc:sldMkLst>
        <pc:spChg chg="mod">
          <ac:chgData name="Jacobs, Laura (Div)" userId="99fa74c6-ede3-4954-a39a-d9db78cf29d5" providerId="ADAL" clId="{52D8CC9E-B5DF-4444-9B4B-7497A5B638E0}" dt="2024-07-02T09:57:18.011" v="3964" actId="20577"/>
          <ac:spMkLst>
            <pc:docMk/>
            <pc:sldMk cId="3885099165" sldId="2147469391"/>
            <ac:spMk id="2" creationId="{FB56B318-7E1B-2691-E734-DE742E16B50D}"/>
          </ac:spMkLst>
        </pc:spChg>
        <pc:spChg chg="mod">
          <ac:chgData name="Jacobs, Laura (Div)" userId="99fa74c6-ede3-4954-a39a-d9db78cf29d5" providerId="ADAL" clId="{52D8CC9E-B5DF-4444-9B4B-7497A5B638E0}" dt="2024-07-02T09:32:28.699" v="3853" actId="207"/>
          <ac:spMkLst>
            <pc:docMk/>
            <pc:sldMk cId="3885099165" sldId="2147469391"/>
            <ac:spMk id="3" creationId="{DD5C99C0-DA91-368D-FAC5-6B1637CE5C24}"/>
          </ac:spMkLst>
        </pc:spChg>
        <pc:spChg chg="mod">
          <ac:chgData name="Jacobs, Laura (Div)" userId="99fa74c6-ede3-4954-a39a-d9db78cf29d5" providerId="ADAL" clId="{52D8CC9E-B5DF-4444-9B4B-7497A5B638E0}" dt="2024-07-02T09:32:18.276" v="3852" actId="207"/>
          <ac:spMkLst>
            <pc:docMk/>
            <pc:sldMk cId="3885099165" sldId="2147469391"/>
            <ac:spMk id="7" creationId="{32A9755D-A347-3190-3289-B0D2177587DB}"/>
          </ac:spMkLst>
        </pc:spChg>
        <pc:spChg chg="mod">
          <ac:chgData name="Jacobs, Laura (Div)" userId="99fa74c6-ede3-4954-a39a-d9db78cf29d5" providerId="ADAL" clId="{52D8CC9E-B5DF-4444-9B4B-7497A5B638E0}" dt="2024-07-02T11:07:03.401" v="4062" actId="20577"/>
          <ac:spMkLst>
            <pc:docMk/>
            <pc:sldMk cId="3885099165" sldId="2147469391"/>
            <ac:spMk id="13" creationId="{EB59964B-64DC-6D49-B8AF-802AFDDF6143}"/>
          </ac:spMkLst>
        </pc:spChg>
        <pc:spChg chg="mod">
          <ac:chgData name="Jacobs, Laura (Div)" userId="99fa74c6-ede3-4954-a39a-d9db78cf29d5" providerId="ADAL" clId="{52D8CC9E-B5DF-4444-9B4B-7497A5B638E0}" dt="2024-08-01T09:35:19.762" v="6572" actId="114"/>
          <ac:spMkLst>
            <pc:docMk/>
            <pc:sldMk cId="3885099165" sldId="2147469391"/>
            <ac:spMk id="14" creationId="{72077B9A-C01B-1993-49E6-60CD39353B17}"/>
          </ac:spMkLst>
        </pc:spChg>
        <pc:spChg chg="mod">
          <ac:chgData name="Jacobs, Laura (Div)" userId="99fa74c6-ede3-4954-a39a-d9db78cf29d5" providerId="ADAL" clId="{52D8CC9E-B5DF-4444-9B4B-7497A5B638E0}" dt="2024-07-02T09:32:18.276" v="3852" actId="207"/>
          <ac:spMkLst>
            <pc:docMk/>
            <pc:sldMk cId="3885099165" sldId="2147469391"/>
            <ac:spMk id="42" creationId="{07EEB099-F72D-5AE9-9021-23F9FB802861}"/>
          </ac:spMkLst>
        </pc:spChg>
        <pc:spChg chg="mod">
          <ac:chgData name="Jacobs, Laura (Div)" userId="99fa74c6-ede3-4954-a39a-d9db78cf29d5" providerId="ADAL" clId="{52D8CC9E-B5DF-4444-9B4B-7497A5B638E0}" dt="2024-07-02T09:32:18.276" v="3852" actId="207"/>
          <ac:spMkLst>
            <pc:docMk/>
            <pc:sldMk cId="3885099165" sldId="2147469391"/>
            <ac:spMk id="43" creationId="{AFCC4ADA-20AF-22F5-B941-9A2B54873BE6}"/>
          </ac:spMkLst>
        </pc:spChg>
        <pc:spChg chg="mod">
          <ac:chgData name="Jacobs, Laura (Div)" userId="99fa74c6-ede3-4954-a39a-d9db78cf29d5" providerId="ADAL" clId="{52D8CC9E-B5DF-4444-9B4B-7497A5B638E0}" dt="2024-07-02T09:32:18.276" v="3852" actId="207"/>
          <ac:spMkLst>
            <pc:docMk/>
            <pc:sldMk cId="3885099165" sldId="2147469391"/>
            <ac:spMk id="44" creationId="{1414C7A9-4DCE-F05D-F39F-B84AA850E057}"/>
          </ac:spMkLst>
        </pc:spChg>
        <pc:spChg chg="mod">
          <ac:chgData name="Jacobs, Laura (Div)" userId="99fa74c6-ede3-4954-a39a-d9db78cf29d5" providerId="ADAL" clId="{52D8CC9E-B5DF-4444-9B4B-7497A5B638E0}" dt="2024-07-02T09:32:18.276" v="3852" actId="207"/>
          <ac:spMkLst>
            <pc:docMk/>
            <pc:sldMk cId="3885099165" sldId="2147469391"/>
            <ac:spMk id="49" creationId="{A771BFF9-4A20-8C6F-04D2-065141092598}"/>
          </ac:spMkLst>
        </pc:spChg>
        <pc:spChg chg="mod">
          <ac:chgData name="Jacobs, Laura (Div)" userId="99fa74c6-ede3-4954-a39a-d9db78cf29d5" providerId="ADAL" clId="{52D8CC9E-B5DF-4444-9B4B-7497A5B638E0}" dt="2024-07-31T14:17:31.267" v="5314" actId="20577"/>
          <ac:spMkLst>
            <pc:docMk/>
            <pc:sldMk cId="3885099165" sldId="2147469391"/>
            <ac:spMk id="51" creationId="{B92AF98A-7A16-9BD1-A240-90363ACF8EC3}"/>
          </ac:spMkLst>
        </pc:spChg>
        <pc:spChg chg="mod">
          <ac:chgData name="Jacobs, Laura (Div)" userId="99fa74c6-ede3-4954-a39a-d9db78cf29d5" providerId="ADAL" clId="{52D8CC9E-B5DF-4444-9B4B-7497A5B638E0}" dt="2024-08-01T08:42:59.729" v="5639" actId="113"/>
          <ac:spMkLst>
            <pc:docMk/>
            <pc:sldMk cId="3885099165" sldId="2147469391"/>
            <ac:spMk id="53" creationId="{B3DE3327-C9DC-8A7C-B594-6B51F134748B}"/>
          </ac:spMkLst>
        </pc:spChg>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7-02T09:52:15.841" v="3899"/>
              <pc2:cmMkLst xmlns:pc2="http://schemas.microsoft.com/office/powerpoint/2019/9/main/command">
                <pc:docMk/>
                <pc:sldMk cId="3885099165" sldId="2147469391"/>
                <pc2:cmMk id="{2A9D7709-AA4A-44CF-8ABD-97F83B72583A}"/>
              </pc2:cmMkLst>
              <pc226:cmRplyChg chg="add">
                <pc226:chgData name="Jacobs, Laura (Div)" userId="99fa74c6-ede3-4954-a39a-d9db78cf29d5" providerId="ADAL" clId="{52D8CC9E-B5DF-4444-9B4B-7497A5B638E0}" dt="2024-06-26T12:43:42.742" v="499"/>
                <pc2:cmRplyMkLst xmlns:pc2="http://schemas.microsoft.com/office/powerpoint/2019/9/main/command">
                  <pc:docMk/>
                  <pc:sldMk cId="3885099165" sldId="2147469391"/>
                  <pc2:cmMk id="{2A9D7709-AA4A-44CF-8ABD-97F83B72583A}"/>
                  <pc2:cmRplyMk id="{4718E732-C377-4A86-A87E-B1D12FF0BC6A}"/>
                </pc2:cmRplyMkLst>
              </pc226:cmRplyChg>
            </pc226:cmChg>
            <pc226:cmChg xmlns:pc226="http://schemas.microsoft.com/office/powerpoint/2022/06/main/command" chg="add del mod">
              <pc226:chgData name="Jacobs, Laura (Div)" userId="99fa74c6-ede3-4954-a39a-d9db78cf29d5" providerId="ADAL" clId="{52D8CC9E-B5DF-4444-9B4B-7497A5B638E0}" dt="2024-07-17T12:45:33.380" v="4869"/>
              <pc2:cmMkLst xmlns:pc2="http://schemas.microsoft.com/office/powerpoint/2019/9/main/command">
                <pc:docMk/>
                <pc:sldMk cId="3885099165" sldId="2147469391"/>
                <pc2:cmMk id="{157DD375-9EED-4896-97A9-7843CF87A74A}"/>
              </pc2:cmMkLst>
              <pc226:cmRplyChg chg="add">
                <pc226:chgData name="Jacobs, Laura (Div)" userId="99fa74c6-ede3-4954-a39a-d9db78cf29d5" providerId="ADAL" clId="{52D8CC9E-B5DF-4444-9B4B-7497A5B638E0}" dt="2024-07-02T09:57:25.195" v="3965"/>
                <pc2:cmRplyMkLst xmlns:pc2="http://schemas.microsoft.com/office/powerpoint/2019/9/main/command">
                  <pc:docMk/>
                  <pc:sldMk cId="3885099165" sldId="2147469391"/>
                  <pc2:cmMk id="{157DD375-9EED-4896-97A9-7843CF87A74A}"/>
                  <pc2:cmRplyMk id="{F7861C7D-F0FE-4885-BDA7-034AAC074377}"/>
                </pc2:cmRplyMkLst>
              </pc226:cmRplyChg>
            </pc226:cmChg>
          </p:ext>
        </pc:extLst>
      </pc:sldChg>
      <pc:sldChg chg="modSp mod">
        <pc:chgData name="Jacobs, Laura (Div)" userId="99fa74c6-ede3-4954-a39a-d9db78cf29d5" providerId="ADAL" clId="{52D8CC9E-B5DF-4444-9B4B-7497A5B638E0}" dt="2024-08-01T09:37:01.307" v="6599" actId="114"/>
        <pc:sldMkLst>
          <pc:docMk/>
          <pc:sldMk cId="1233012306" sldId="2147469395"/>
        </pc:sldMkLst>
        <pc:spChg chg="mod">
          <ac:chgData name="Jacobs, Laura (Div)" userId="99fa74c6-ede3-4954-a39a-d9db78cf29d5" providerId="ADAL" clId="{52D8CC9E-B5DF-4444-9B4B-7497A5B638E0}" dt="2024-08-01T09:37:01.307" v="6599" actId="114"/>
          <ac:spMkLst>
            <pc:docMk/>
            <pc:sldMk cId="1233012306" sldId="2147469395"/>
            <ac:spMk id="14" creationId="{F19185D3-4F8C-69B6-2089-F35CD3230A22}"/>
          </ac:spMkLst>
        </pc:spChg>
      </pc:sldChg>
      <pc:sldChg chg="modSp mod delCm">
        <pc:chgData name="Jacobs, Laura (Div)" userId="99fa74c6-ede3-4954-a39a-d9db78cf29d5" providerId="ADAL" clId="{52D8CC9E-B5DF-4444-9B4B-7497A5B638E0}" dt="2024-08-01T09:32:08.980" v="6549" actId="114"/>
        <pc:sldMkLst>
          <pc:docMk/>
          <pc:sldMk cId="3777710546" sldId="2147469398"/>
        </pc:sldMkLst>
        <pc:spChg chg="mod">
          <ac:chgData name="Jacobs, Laura (Div)" userId="99fa74c6-ede3-4954-a39a-d9db78cf29d5" providerId="ADAL" clId="{52D8CC9E-B5DF-4444-9B4B-7497A5B638E0}" dt="2024-08-01T08:27:10.960" v="5531" actId="20577"/>
          <ac:spMkLst>
            <pc:docMk/>
            <pc:sldMk cId="3777710546" sldId="2147469398"/>
            <ac:spMk id="4" creationId="{DDC78C75-4E85-51B0-449F-21B42A81FE02}"/>
          </ac:spMkLst>
        </pc:spChg>
        <pc:spChg chg="mod">
          <ac:chgData name="Jacobs, Laura (Div)" userId="99fa74c6-ede3-4954-a39a-d9db78cf29d5" providerId="ADAL" clId="{52D8CC9E-B5DF-4444-9B4B-7497A5B638E0}" dt="2024-08-01T08:27:15.862" v="5554" actId="20577"/>
          <ac:spMkLst>
            <pc:docMk/>
            <pc:sldMk cId="3777710546" sldId="2147469398"/>
            <ac:spMk id="6" creationId="{79DB895B-AB41-E95C-79F4-FD07E2077D1D}"/>
          </ac:spMkLst>
        </pc:spChg>
        <pc:spChg chg="mod">
          <ac:chgData name="Jacobs, Laura (Div)" userId="99fa74c6-ede3-4954-a39a-d9db78cf29d5" providerId="ADAL" clId="{52D8CC9E-B5DF-4444-9B4B-7497A5B638E0}" dt="2024-08-01T09:32:08.980" v="6549" actId="114"/>
          <ac:spMkLst>
            <pc:docMk/>
            <pc:sldMk cId="3777710546" sldId="2147469398"/>
            <ac:spMk id="10" creationId="{51CDBA92-50A0-0880-74B5-A1C85631FD85}"/>
          </ac:spMkLst>
        </pc:spChg>
        <pc:spChg chg="mod">
          <ac:chgData name="Jacobs, Laura (Div)" userId="99fa74c6-ede3-4954-a39a-d9db78cf29d5" providerId="ADAL" clId="{52D8CC9E-B5DF-4444-9B4B-7497A5B638E0}" dt="2024-08-01T08:26:56.781" v="5487" actId="20577"/>
          <ac:spMkLst>
            <pc:docMk/>
            <pc:sldMk cId="3777710546" sldId="2147469398"/>
            <ac:spMk id="29" creationId="{FB5A2326-88B6-2887-D4AC-C052EE6B7E19}"/>
          </ac:spMkLst>
        </pc:spChg>
        <pc:spChg chg="mod">
          <ac:chgData name="Jacobs, Laura (Div)" userId="99fa74c6-ede3-4954-a39a-d9db78cf29d5" providerId="ADAL" clId="{52D8CC9E-B5DF-4444-9B4B-7497A5B638E0}" dt="2024-08-01T08:27:00.822" v="5499" actId="20577"/>
          <ac:spMkLst>
            <pc:docMk/>
            <pc:sldMk cId="3777710546" sldId="2147469398"/>
            <ac:spMk id="30" creationId="{BF4229B7-E738-0791-8B93-33A946F1499F}"/>
          </ac:spMkLst>
        </pc:spChg>
        <pc:spChg chg="mod">
          <ac:chgData name="Jacobs, Laura (Div)" userId="99fa74c6-ede3-4954-a39a-d9db78cf29d5" providerId="ADAL" clId="{52D8CC9E-B5DF-4444-9B4B-7497A5B638E0}" dt="2024-08-01T08:27:04.025" v="5510" actId="20577"/>
          <ac:spMkLst>
            <pc:docMk/>
            <pc:sldMk cId="3777710546" sldId="2147469398"/>
            <ac:spMk id="31" creationId="{34C0941F-1E29-5940-8F3B-AFA4181D4DEB}"/>
          </ac:spMkLst>
        </pc:spChg>
        <pc:spChg chg="mod">
          <ac:chgData name="Jacobs, Laura (Div)" userId="99fa74c6-ede3-4954-a39a-d9db78cf29d5" providerId="ADAL" clId="{52D8CC9E-B5DF-4444-9B4B-7497A5B638E0}" dt="2024-08-01T08:27:07.649" v="5520" actId="20577"/>
          <ac:spMkLst>
            <pc:docMk/>
            <pc:sldMk cId="3777710546" sldId="2147469398"/>
            <ac:spMk id="35" creationId="{0D49B4F5-6E68-0C65-681A-5826840C7E02}"/>
          </ac:spMkLst>
        </pc:spChg>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33:47.429" v="30"/>
              <pc2:cmMkLst xmlns:pc2="http://schemas.microsoft.com/office/powerpoint/2019/9/main/command">
                <pc:docMk/>
                <pc:sldMk cId="3777710546" sldId="2147469398"/>
                <pc2:cmMk id="{0705A07D-8A11-48E7-BCE2-7E09ED64B1AE}"/>
              </pc2:cmMkLst>
            </pc226:cmChg>
            <pc226:cmChg xmlns:pc226="http://schemas.microsoft.com/office/powerpoint/2022/06/main/command" chg="del">
              <pc226:chgData name="Jacobs, Laura (Div)" userId="99fa74c6-ede3-4954-a39a-d9db78cf29d5" providerId="ADAL" clId="{52D8CC9E-B5DF-4444-9B4B-7497A5B638E0}" dt="2024-06-26T11:34:29.210" v="36"/>
              <pc2:cmMkLst xmlns:pc2="http://schemas.microsoft.com/office/powerpoint/2019/9/main/command">
                <pc:docMk/>
                <pc:sldMk cId="3777710546" sldId="2147469398"/>
                <pc2:cmMk id="{B959ECC3-B48A-4458-996E-31232A30466E}"/>
              </pc2:cmMkLst>
            </pc226:cmChg>
          </p:ext>
        </pc:extLst>
      </pc:sldChg>
      <pc:sldChg chg="delSp modSp mod delCm">
        <pc:chgData name="Jacobs, Laura (Div)" userId="99fa74c6-ede3-4954-a39a-d9db78cf29d5" providerId="ADAL" clId="{52D8CC9E-B5DF-4444-9B4B-7497A5B638E0}" dt="2024-08-01T09:33:51.546" v="6562" actId="114"/>
        <pc:sldMkLst>
          <pc:docMk/>
          <pc:sldMk cId="3139701115" sldId="2147469445"/>
        </pc:sldMkLst>
        <pc:spChg chg="mod">
          <ac:chgData name="Jacobs, Laura (Div)" userId="99fa74c6-ede3-4954-a39a-d9db78cf29d5" providerId="ADAL" clId="{52D8CC9E-B5DF-4444-9B4B-7497A5B638E0}" dt="2024-08-01T09:33:51.546" v="6562" actId="114"/>
          <ac:spMkLst>
            <pc:docMk/>
            <pc:sldMk cId="3139701115" sldId="2147469445"/>
            <ac:spMk id="10" creationId="{F2374353-0129-0FE9-3701-CA923B7914C0}"/>
          </ac:spMkLst>
        </pc:spChg>
        <pc:spChg chg="del">
          <ac:chgData name="Jacobs, Laura (Div)" userId="99fa74c6-ede3-4954-a39a-d9db78cf29d5" providerId="ADAL" clId="{52D8CC9E-B5DF-4444-9B4B-7497A5B638E0}" dt="2024-06-26T11:51:21.008" v="59" actId="478"/>
          <ac:spMkLst>
            <pc:docMk/>
            <pc:sldMk cId="3139701115" sldId="2147469445"/>
            <ac:spMk id="11" creationId="{89B01E9B-E3C8-32EB-2BF5-6AB998080589}"/>
          </ac:spMkLst>
        </pc:spChg>
        <pc:spChg chg="mod">
          <ac:chgData name="Jacobs, Laura (Div)" userId="99fa74c6-ede3-4954-a39a-d9db78cf29d5" providerId="ADAL" clId="{52D8CC9E-B5DF-4444-9B4B-7497A5B638E0}" dt="2024-08-01T08:39:41.205" v="5602" actId="113"/>
          <ac:spMkLst>
            <pc:docMk/>
            <pc:sldMk cId="3139701115" sldId="2147469445"/>
            <ac:spMk id="118" creationId="{39EB7F9E-2333-202A-0A29-03DEF2AB46F4}"/>
          </ac:spMkLst>
        </pc:spChg>
        <pc:extLst>
          <p:ext xmlns:p="http://schemas.openxmlformats.org/presentationml/2006/main" uri="{D6D511B9-2390-475A-947B-AFAB55BFBCF1}">
            <pc226:cmChg xmlns:pc226="http://schemas.microsoft.com/office/powerpoint/2022/06/main/command" chg="del">
              <pc226:chgData name="Jacobs, Laura (Div)" userId="99fa74c6-ede3-4954-a39a-d9db78cf29d5" providerId="ADAL" clId="{52D8CC9E-B5DF-4444-9B4B-7497A5B638E0}" dt="2024-06-26T11:51:23.954" v="60"/>
              <pc2:cmMkLst xmlns:pc2="http://schemas.microsoft.com/office/powerpoint/2019/9/main/command">
                <pc:docMk/>
                <pc:sldMk cId="3139701115" sldId="2147469445"/>
                <pc2:cmMk id="{81D208C5-11DE-436A-894F-EEBBAABEB498}"/>
              </pc2:cmMkLst>
            </pc226:cmChg>
          </p:ext>
        </pc:extLst>
      </pc:sldChg>
      <pc:sldChg chg="modSp mod">
        <pc:chgData name="Jacobs, Laura (Div)" userId="99fa74c6-ede3-4954-a39a-d9db78cf29d5" providerId="ADAL" clId="{52D8CC9E-B5DF-4444-9B4B-7497A5B638E0}" dt="2024-08-02T07:21:47.348" v="6764" actId="20577"/>
        <pc:sldMkLst>
          <pc:docMk/>
          <pc:sldMk cId="4284686953" sldId="2147469446"/>
        </pc:sldMkLst>
        <pc:spChg chg="mod">
          <ac:chgData name="Jacobs, Laura (Div)" userId="99fa74c6-ede3-4954-a39a-d9db78cf29d5" providerId="ADAL" clId="{52D8CC9E-B5DF-4444-9B4B-7497A5B638E0}" dt="2024-08-02T07:21:47.348" v="6764" actId="20577"/>
          <ac:spMkLst>
            <pc:docMk/>
            <pc:sldMk cId="4284686953" sldId="2147469446"/>
            <ac:spMk id="3" creationId="{63504AEB-0662-51C6-5658-7C9C0E8C683C}"/>
          </ac:spMkLst>
        </pc:spChg>
      </pc:sldChg>
      <pc:sldChg chg="modSp mod">
        <pc:chgData name="Jacobs, Laura (Div)" userId="99fa74c6-ede3-4954-a39a-d9db78cf29d5" providerId="ADAL" clId="{52D8CC9E-B5DF-4444-9B4B-7497A5B638E0}" dt="2024-08-01T09:55:04.333" v="6654" actId="20577"/>
        <pc:sldMkLst>
          <pc:docMk/>
          <pc:sldMk cId="4187906293" sldId="2147469447"/>
        </pc:sldMkLst>
        <pc:spChg chg="mod">
          <ac:chgData name="Jacobs, Laura (Div)" userId="99fa74c6-ede3-4954-a39a-d9db78cf29d5" providerId="ADAL" clId="{52D8CC9E-B5DF-4444-9B4B-7497A5B638E0}" dt="2024-08-01T09:55:04.333" v="6654" actId="20577"/>
          <ac:spMkLst>
            <pc:docMk/>
            <pc:sldMk cId="4187906293" sldId="2147469447"/>
            <ac:spMk id="3" creationId="{63504AEB-0662-51C6-5658-7C9C0E8C683C}"/>
          </ac:spMkLst>
        </pc:spChg>
      </pc:sldChg>
      <pc:sldChg chg="modSp mod addCm delCm">
        <pc:chgData name="Jacobs, Laura (Div)" userId="99fa74c6-ede3-4954-a39a-d9db78cf29d5" providerId="ADAL" clId="{52D8CC9E-B5DF-4444-9B4B-7497A5B638E0}" dt="2024-08-01T09:56:36.787" v="6666" actId="255"/>
        <pc:sldMkLst>
          <pc:docMk/>
          <pc:sldMk cId="3156860151" sldId="2147469448"/>
        </pc:sldMkLst>
        <pc:spChg chg="mod">
          <ac:chgData name="Jacobs, Laura (Div)" userId="99fa74c6-ede3-4954-a39a-d9db78cf29d5" providerId="ADAL" clId="{52D8CC9E-B5DF-4444-9B4B-7497A5B638E0}" dt="2024-08-01T09:56:36.787" v="6666" actId="255"/>
          <ac:spMkLst>
            <pc:docMk/>
            <pc:sldMk cId="3156860151" sldId="2147469448"/>
            <ac:spMk id="3" creationId="{63504AEB-0662-51C6-5658-7C9C0E8C683C}"/>
          </ac:spMkLst>
        </pc:spChg>
        <pc:extLst>
          <p:ext xmlns:p="http://schemas.openxmlformats.org/presentationml/2006/main" uri="{D6D511B9-2390-475A-947B-AFAB55BFBCF1}">
            <pc226:cmChg xmlns:pc226="http://schemas.microsoft.com/office/powerpoint/2022/06/main/command" chg="add del">
              <pc226:chgData name="Jacobs, Laura (Div)" userId="99fa74c6-ede3-4954-a39a-d9db78cf29d5" providerId="ADAL" clId="{52D8CC9E-B5DF-4444-9B4B-7497A5B638E0}" dt="2024-06-28T11:57:44.375" v="3323"/>
              <pc2:cmMkLst xmlns:pc2="http://schemas.microsoft.com/office/powerpoint/2019/9/main/command">
                <pc:docMk/>
                <pc:sldMk cId="3156860151" sldId="2147469448"/>
                <pc2:cmMk id="{2E8D6933-3B92-440A-87D2-03A7C1A8425C}"/>
              </pc2:cmMkLst>
            </pc226:cmChg>
          </p:ext>
        </pc:extLst>
      </pc:sldChg>
      <pc:sldChg chg="modSp mod">
        <pc:chgData name="Jacobs, Laura (Div)" userId="99fa74c6-ede3-4954-a39a-d9db78cf29d5" providerId="ADAL" clId="{52D8CC9E-B5DF-4444-9B4B-7497A5B638E0}" dt="2024-08-01T09:57:00.023" v="6671" actId="20577"/>
        <pc:sldMkLst>
          <pc:docMk/>
          <pc:sldMk cId="3783570312" sldId="2147469449"/>
        </pc:sldMkLst>
        <pc:spChg chg="mod">
          <ac:chgData name="Jacobs, Laura (Div)" userId="99fa74c6-ede3-4954-a39a-d9db78cf29d5" providerId="ADAL" clId="{52D8CC9E-B5DF-4444-9B4B-7497A5B638E0}" dt="2024-08-01T09:57:00.023" v="6671" actId="20577"/>
          <ac:spMkLst>
            <pc:docMk/>
            <pc:sldMk cId="3783570312" sldId="2147469449"/>
            <ac:spMk id="3" creationId="{63504AEB-0662-51C6-5658-7C9C0E8C683C}"/>
          </ac:spMkLst>
        </pc:spChg>
      </pc:sldChg>
      <pc:sldChg chg="modSp mod">
        <pc:chgData name="Jacobs, Laura (Div)" userId="99fa74c6-ede3-4954-a39a-d9db78cf29d5" providerId="ADAL" clId="{52D8CC9E-B5DF-4444-9B4B-7497A5B638E0}" dt="2024-07-31T14:05:48.382" v="5143" actId="20577"/>
        <pc:sldMkLst>
          <pc:docMk/>
          <pc:sldMk cId="368028071" sldId="2147469456"/>
        </pc:sldMkLst>
        <pc:spChg chg="mod">
          <ac:chgData name="Jacobs, Laura (Div)" userId="99fa74c6-ede3-4954-a39a-d9db78cf29d5" providerId="ADAL" clId="{52D8CC9E-B5DF-4444-9B4B-7497A5B638E0}" dt="2024-07-31T14:05:30.159" v="5138"/>
          <ac:spMkLst>
            <pc:docMk/>
            <pc:sldMk cId="368028071" sldId="2147469456"/>
            <ac:spMk id="2" creationId="{F9D0E7D9-BDA8-275D-145B-CB4B16F2DEF1}"/>
          </ac:spMkLst>
        </pc:spChg>
        <pc:spChg chg="mod">
          <ac:chgData name="Jacobs, Laura (Div)" userId="99fa74c6-ede3-4954-a39a-d9db78cf29d5" providerId="ADAL" clId="{52D8CC9E-B5DF-4444-9B4B-7497A5B638E0}" dt="2024-07-31T14:05:40.543" v="5140" actId="207"/>
          <ac:spMkLst>
            <pc:docMk/>
            <pc:sldMk cId="368028071" sldId="2147469456"/>
            <ac:spMk id="4" creationId="{10493D8A-FD4F-A578-7C62-C202BC8FB2E9}"/>
          </ac:spMkLst>
        </pc:spChg>
        <pc:spChg chg="mod">
          <ac:chgData name="Jacobs, Laura (Div)" userId="99fa74c6-ede3-4954-a39a-d9db78cf29d5" providerId="ADAL" clId="{52D8CC9E-B5DF-4444-9B4B-7497A5B638E0}" dt="2024-07-31T14:05:48.382" v="5143" actId="20577"/>
          <ac:spMkLst>
            <pc:docMk/>
            <pc:sldMk cId="368028071" sldId="2147469456"/>
            <ac:spMk id="17" creationId="{90B6E59D-AF54-8DD2-CFDA-90771F1599A1}"/>
          </ac:spMkLst>
        </pc:spChg>
      </pc:sldChg>
      <pc:sldChg chg="addSp delSp modSp del mod addCm">
        <pc:chgData name="Jacobs, Laura (Div)" userId="99fa74c6-ede3-4954-a39a-d9db78cf29d5" providerId="ADAL" clId="{52D8CC9E-B5DF-4444-9B4B-7497A5B638E0}" dt="2024-06-26T13:36:18.621" v="1530" actId="47"/>
        <pc:sldMkLst>
          <pc:docMk/>
          <pc:sldMk cId="48683776" sldId="2147469459"/>
        </pc:sldMkLst>
        <pc:spChg chg="add mod">
          <ac:chgData name="Jacobs, Laura (Div)" userId="99fa74c6-ede3-4954-a39a-d9db78cf29d5" providerId="ADAL" clId="{52D8CC9E-B5DF-4444-9B4B-7497A5B638E0}" dt="2024-06-26T12:16:40.465" v="248" actId="207"/>
          <ac:spMkLst>
            <pc:docMk/>
            <pc:sldMk cId="48683776" sldId="2147469459"/>
            <ac:spMk id="4" creationId="{A2C5DF7A-BA22-0332-0594-3F518AEC7754}"/>
          </ac:spMkLst>
        </pc:spChg>
        <pc:spChg chg="add del mod">
          <ac:chgData name="Jacobs, Laura (Div)" userId="99fa74c6-ede3-4954-a39a-d9db78cf29d5" providerId="ADAL" clId="{52D8CC9E-B5DF-4444-9B4B-7497A5B638E0}" dt="2024-06-26T12:11:08.394" v="149" actId="13926"/>
          <ac:spMkLst>
            <pc:docMk/>
            <pc:sldMk cId="48683776" sldId="2147469459"/>
            <ac:spMk id="9" creationId="{8D66EEE2-E092-F3D0-9DD4-C16582C4C438}"/>
          </ac:spMkLst>
        </pc:spChg>
        <pc:spChg chg="mod topLvl">
          <ac:chgData name="Jacobs, Laura (Div)" userId="99fa74c6-ede3-4954-a39a-d9db78cf29d5" providerId="ADAL" clId="{52D8CC9E-B5DF-4444-9B4B-7497A5B638E0}" dt="2024-06-26T12:12:09.793" v="151" actId="165"/>
          <ac:spMkLst>
            <pc:docMk/>
            <pc:sldMk cId="48683776" sldId="2147469459"/>
            <ac:spMk id="50" creationId="{36C8F080-B798-FF19-D9E6-08AECC5B7C8D}"/>
          </ac:spMkLst>
        </pc:spChg>
        <pc:spChg chg="mod topLvl">
          <ac:chgData name="Jacobs, Laura (Div)" userId="99fa74c6-ede3-4954-a39a-d9db78cf29d5" providerId="ADAL" clId="{52D8CC9E-B5DF-4444-9B4B-7497A5B638E0}" dt="2024-06-26T12:12:09.793" v="151" actId="165"/>
          <ac:spMkLst>
            <pc:docMk/>
            <pc:sldMk cId="48683776" sldId="2147469459"/>
            <ac:spMk id="51" creationId="{31244215-5106-52CD-A772-3699C12F7726}"/>
          </ac:spMkLst>
        </pc:spChg>
        <pc:spChg chg="mod topLvl">
          <ac:chgData name="Jacobs, Laura (Div)" userId="99fa74c6-ede3-4954-a39a-d9db78cf29d5" providerId="ADAL" clId="{52D8CC9E-B5DF-4444-9B4B-7497A5B638E0}" dt="2024-06-26T12:12:09.793" v="151" actId="165"/>
          <ac:spMkLst>
            <pc:docMk/>
            <pc:sldMk cId="48683776" sldId="2147469459"/>
            <ac:spMk id="52" creationId="{215FD072-B2B0-F7D9-FEE7-FAED43D311E8}"/>
          </ac:spMkLst>
        </pc:spChg>
        <pc:spChg chg="mod topLvl">
          <ac:chgData name="Jacobs, Laura (Div)" userId="99fa74c6-ede3-4954-a39a-d9db78cf29d5" providerId="ADAL" clId="{52D8CC9E-B5DF-4444-9B4B-7497A5B638E0}" dt="2024-06-26T12:12:09.793" v="151" actId="165"/>
          <ac:spMkLst>
            <pc:docMk/>
            <pc:sldMk cId="48683776" sldId="2147469459"/>
            <ac:spMk id="57" creationId="{9B6D9CB1-9F30-484F-6DB9-441776F81030}"/>
          </ac:spMkLst>
        </pc:spChg>
        <pc:spChg chg="mod topLvl">
          <ac:chgData name="Jacobs, Laura (Div)" userId="99fa74c6-ede3-4954-a39a-d9db78cf29d5" providerId="ADAL" clId="{52D8CC9E-B5DF-4444-9B4B-7497A5B638E0}" dt="2024-06-26T12:12:09.793" v="151" actId="165"/>
          <ac:spMkLst>
            <pc:docMk/>
            <pc:sldMk cId="48683776" sldId="2147469459"/>
            <ac:spMk id="58" creationId="{97230C16-7022-B228-BD34-3218231C6551}"/>
          </ac:spMkLst>
        </pc:spChg>
        <pc:spChg chg="mod topLvl">
          <ac:chgData name="Jacobs, Laura (Div)" userId="99fa74c6-ede3-4954-a39a-d9db78cf29d5" providerId="ADAL" clId="{52D8CC9E-B5DF-4444-9B4B-7497A5B638E0}" dt="2024-06-26T12:12:09.793" v="151" actId="165"/>
          <ac:spMkLst>
            <pc:docMk/>
            <pc:sldMk cId="48683776" sldId="2147469459"/>
            <ac:spMk id="59" creationId="{9653CE68-6E2F-9752-0717-BEB29E275613}"/>
          </ac:spMkLst>
        </pc:spChg>
        <pc:spChg chg="mod topLvl">
          <ac:chgData name="Jacobs, Laura (Div)" userId="99fa74c6-ede3-4954-a39a-d9db78cf29d5" providerId="ADAL" clId="{52D8CC9E-B5DF-4444-9B4B-7497A5B638E0}" dt="2024-06-26T12:12:09.793" v="151" actId="165"/>
          <ac:spMkLst>
            <pc:docMk/>
            <pc:sldMk cId="48683776" sldId="2147469459"/>
            <ac:spMk id="60" creationId="{E744BFF5-3936-8C14-9FE9-63D4621AE59F}"/>
          </ac:spMkLst>
        </pc:spChg>
        <pc:spChg chg="mod">
          <ac:chgData name="Jacobs, Laura (Div)" userId="99fa74c6-ede3-4954-a39a-d9db78cf29d5" providerId="ADAL" clId="{52D8CC9E-B5DF-4444-9B4B-7497A5B638E0}" dt="2024-06-26T12:12:09.793" v="151" actId="165"/>
          <ac:spMkLst>
            <pc:docMk/>
            <pc:sldMk cId="48683776" sldId="2147469459"/>
            <ac:spMk id="63" creationId="{F4B3814C-5B8A-E64A-9D7B-2CFC9B025EF3}"/>
          </ac:spMkLst>
        </pc:spChg>
        <pc:spChg chg="mod">
          <ac:chgData name="Jacobs, Laura (Div)" userId="99fa74c6-ede3-4954-a39a-d9db78cf29d5" providerId="ADAL" clId="{52D8CC9E-B5DF-4444-9B4B-7497A5B638E0}" dt="2024-06-26T12:12:09.793" v="151" actId="165"/>
          <ac:spMkLst>
            <pc:docMk/>
            <pc:sldMk cId="48683776" sldId="2147469459"/>
            <ac:spMk id="64" creationId="{EE1A7059-9BFB-926D-D4BD-EAAC14394211}"/>
          </ac:spMkLst>
        </pc:spChg>
        <pc:spChg chg="mod">
          <ac:chgData name="Jacobs, Laura (Div)" userId="99fa74c6-ede3-4954-a39a-d9db78cf29d5" providerId="ADAL" clId="{52D8CC9E-B5DF-4444-9B4B-7497A5B638E0}" dt="2024-06-26T12:12:09.793" v="151" actId="165"/>
          <ac:spMkLst>
            <pc:docMk/>
            <pc:sldMk cId="48683776" sldId="2147469459"/>
            <ac:spMk id="65" creationId="{3C797CDF-D618-B2B6-BDAE-1E70BDC19A94}"/>
          </ac:spMkLst>
        </pc:spChg>
        <pc:spChg chg="mod">
          <ac:chgData name="Jacobs, Laura (Div)" userId="99fa74c6-ede3-4954-a39a-d9db78cf29d5" providerId="ADAL" clId="{52D8CC9E-B5DF-4444-9B4B-7497A5B638E0}" dt="2024-06-26T12:12:09.793" v="151" actId="165"/>
          <ac:spMkLst>
            <pc:docMk/>
            <pc:sldMk cId="48683776" sldId="2147469459"/>
            <ac:spMk id="66" creationId="{0A5146F2-DE4E-76E4-BAA6-030BEC26AD3A}"/>
          </ac:spMkLst>
        </pc:spChg>
        <pc:spChg chg="mod">
          <ac:chgData name="Jacobs, Laura (Div)" userId="99fa74c6-ede3-4954-a39a-d9db78cf29d5" providerId="ADAL" clId="{52D8CC9E-B5DF-4444-9B4B-7497A5B638E0}" dt="2024-06-26T12:12:09.793" v="151" actId="165"/>
          <ac:spMkLst>
            <pc:docMk/>
            <pc:sldMk cId="48683776" sldId="2147469459"/>
            <ac:spMk id="67" creationId="{ABBE08AC-0289-1C83-338F-4D8C04D388EC}"/>
          </ac:spMkLst>
        </pc:spChg>
        <pc:spChg chg="mod">
          <ac:chgData name="Jacobs, Laura (Div)" userId="99fa74c6-ede3-4954-a39a-d9db78cf29d5" providerId="ADAL" clId="{52D8CC9E-B5DF-4444-9B4B-7497A5B638E0}" dt="2024-06-26T12:12:09.793" v="151" actId="165"/>
          <ac:spMkLst>
            <pc:docMk/>
            <pc:sldMk cId="48683776" sldId="2147469459"/>
            <ac:spMk id="68" creationId="{23D46471-57F2-F44C-E616-9D8521132633}"/>
          </ac:spMkLst>
        </pc:spChg>
        <pc:spChg chg="mod">
          <ac:chgData name="Jacobs, Laura (Div)" userId="99fa74c6-ede3-4954-a39a-d9db78cf29d5" providerId="ADAL" clId="{52D8CC9E-B5DF-4444-9B4B-7497A5B638E0}" dt="2024-06-26T12:12:09.793" v="151" actId="165"/>
          <ac:spMkLst>
            <pc:docMk/>
            <pc:sldMk cId="48683776" sldId="2147469459"/>
            <ac:spMk id="69" creationId="{5882C56F-BE0E-F5B3-D3AF-516FC8175134}"/>
          </ac:spMkLst>
        </pc:spChg>
        <pc:spChg chg="mod">
          <ac:chgData name="Jacobs, Laura (Div)" userId="99fa74c6-ede3-4954-a39a-d9db78cf29d5" providerId="ADAL" clId="{52D8CC9E-B5DF-4444-9B4B-7497A5B638E0}" dt="2024-06-26T12:12:09.793" v="151" actId="165"/>
          <ac:spMkLst>
            <pc:docMk/>
            <pc:sldMk cId="48683776" sldId="2147469459"/>
            <ac:spMk id="70" creationId="{28EB1910-7353-BEC6-8B10-9100E031D880}"/>
          </ac:spMkLst>
        </pc:spChg>
        <pc:spChg chg="mod">
          <ac:chgData name="Jacobs, Laura (Div)" userId="99fa74c6-ede3-4954-a39a-d9db78cf29d5" providerId="ADAL" clId="{52D8CC9E-B5DF-4444-9B4B-7497A5B638E0}" dt="2024-06-26T12:12:09.793" v="151" actId="165"/>
          <ac:spMkLst>
            <pc:docMk/>
            <pc:sldMk cId="48683776" sldId="2147469459"/>
            <ac:spMk id="71" creationId="{39BEB0D3-14FD-F556-C19F-9DDC96DFACDC}"/>
          </ac:spMkLst>
        </pc:spChg>
        <pc:spChg chg="mod">
          <ac:chgData name="Jacobs, Laura (Div)" userId="99fa74c6-ede3-4954-a39a-d9db78cf29d5" providerId="ADAL" clId="{52D8CC9E-B5DF-4444-9B4B-7497A5B638E0}" dt="2024-06-26T12:12:09.793" v="151" actId="165"/>
          <ac:spMkLst>
            <pc:docMk/>
            <pc:sldMk cId="48683776" sldId="2147469459"/>
            <ac:spMk id="72" creationId="{85D5F196-F0BB-C437-B3FA-507D2A2005AE}"/>
          </ac:spMkLst>
        </pc:spChg>
        <pc:spChg chg="mod">
          <ac:chgData name="Jacobs, Laura (Div)" userId="99fa74c6-ede3-4954-a39a-d9db78cf29d5" providerId="ADAL" clId="{52D8CC9E-B5DF-4444-9B4B-7497A5B638E0}" dt="2024-06-26T12:12:09.793" v="151" actId="165"/>
          <ac:spMkLst>
            <pc:docMk/>
            <pc:sldMk cId="48683776" sldId="2147469459"/>
            <ac:spMk id="73" creationId="{95274BF6-7E90-74CD-AF3D-F446CEE6C293}"/>
          </ac:spMkLst>
        </pc:spChg>
        <pc:spChg chg="mod">
          <ac:chgData name="Jacobs, Laura (Div)" userId="99fa74c6-ede3-4954-a39a-d9db78cf29d5" providerId="ADAL" clId="{52D8CC9E-B5DF-4444-9B4B-7497A5B638E0}" dt="2024-06-26T12:12:09.793" v="151" actId="165"/>
          <ac:spMkLst>
            <pc:docMk/>
            <pc:sldMk cId="48683776" sldId="2147469459"/>
            <ac:spMk id="74" creationId="{1CB2226D-2E15-5935-6D76-69AE2A299207}"/>
          </ac:spMkLst>
        </pc:spChg>
        <pc:spChg chg="mod">
          <ac:chgData name="Jacobs, Laura (Div)" userId="99fa74c6-ede3-4954-a39a-d9db78cf29d5" providerId="ADAL" clId="{52D8CC9E-B5DF-4444-9B4B-7497A5B638E0}" dt="2024-06-26T12:12:09.793" v="151" actId="165"/>
          <ac:spMkLst>
            <pc:docMk/>
            <pc:sldMk cId="48683776" sldId="2147469459"/>
            <ac:spMk id="75" creationId="{96D76A50-D747-77CE-263F-843779C923D7}"/>
          </ac:spMkLst>
        </pc:spChg>
        <pc:spChg chg="mod">
          <ac:chgData name="Jacobs, Laura (Div)" userId="99fa74c6-ede3-4954-a39a-d9db78cf29d5" providerId="ADAL" clId="{52D8CC9E-B5DF-4444-9B4B-7497A5B638E0}" dt="2024-06-26T12:12:09.793" v="151" actId="165"/>
          <ac:spMkLst>
            <pc:docMk/>
            <pc:sldMk cId="48683776" sldId="2147469459"/>
            <ac:spMk id="76" creationId="{DE8F4BB1-72C0-014C-BC5C-2CCE7E6612B5}"/>
          </ac:spMkLst>
        </pc:spChg>
        <pc:spChg chg="mod">
          <ac:chgData name="Jacobs, Laura (Div)" userId="99fa74c6-ede3-4954-a39a-d9db78cf29d5" providerId="ADAL" clId="{52D8CC9E-B5DF-4444-9B4B-7497A5B638E0}" dt="2024-06-26T12:12:09.793" v="151" actId="165"/>
          <ac:spMkLst>
            <pc:docMk/>
            <pc:sldMk cId="48683776" sldId="2147469459"/>
            <ac:spMk id="77" creationId="{93E9577F-3DAE-DC52-FA70-3CEDF8A653AA}"/>
          </ac:spMkLst>
        </pc:spChg>
        <pc:spChg chg="mod">
          <ac:chgData name="Jacobs, Laura (Div)" userId="99fa74c6-ede3-4954-a39a-d9db78cf29d5" providerId="ADAL" clId="{52D8CC9E-B5DF-4444-9B4B-7497A5B638E0}" dt="2024-06-26T12:12:09.793" v="151" actId="165"/>
          <ac:spMkLst>
            <pc:docMk/>
            <pc:sldMk cId="48683776" sldId="2147469459"/>
            <ac:spMk id="78" creationId="{2AAB23DD-1CF3-CE8E-1916-837DD88FB251}"/>
          </ac:spMkLst>
        </pc:spChg>
        <pc:spChg chg="mod">
          <ac:chgData name="Jacobs, Laura (Div)" userId="99fa74c6-ede3-4954-a39a-d9db78cf29d5" providerId="ADAL" clId="{52D8CC9E-B5DF-4444-9B4B-7497A5B638E0}" dt="2024-06-26T12:12:09.793" v="151" actId="165"/>
          <ac:spMkLst>
            <pc:docMk/>
            <pc:sldMk cId="48683776" sldId="2147469459"/>
            <ac:spMk id="79" creationId="{AF84BA5F-6309-02C1-2C7D-4F500B369B88}"/>
          </ac:spMkLst>
        </pc:spChg>
        <pc:spChg chg="mod">
          <ac:chgData name="Jacobs, Laura (Div)" userId="99fa74c6-ede3-4954-a39a-d9db78cf29d5" providerId="ADAL" clId="{52D8CC9E-B5DF-4444-9B4B-7497A5B638E0}" dt="2024-06-26T12:12:09.793" v="151" actId="165"/>
          <ac:spMkLst>
            <pc:docMk/>
            <pc:sldMk cId="48683776" sldId="2147469459"/>
            <ac:spMk id="80" creationId="{ACCC86BF-5461-6745-C6DF-EF987CD13E4E}"/>
          </ac:spMkLst>
        </pc:spChg>
        <pc:spChg chg="mod">
          <ac:chgData name="Jacobs, Laura (Div)" userId="99fa74c6-ede3-4954-a39a-d9db78cf29d5" providerId="ADAL" clId="{52D8CC9E-B5DF-4444-9B4B-7497A5B638E0}" dt="2024-06-26T12:12:09.793" v="151" actId="165"/>
          <ac:spMkLst>
            <pc:docMk/>
            <pc:sldMk cId="48683776" sldId="2147469459"/>
            <ac:spMk id="84" creationId="{6C1D0A59-3FEC-E207-45D1-2D9BACDE8A96}"/>
          </ac:spMkLst>
        </pc:spChg>
        <pc:spChg chg="mod">
          <ac:chgData name="Jacobs, Laura (Div)" userId="99fa74c6-ede3-4954-a39a-d9db78cf29d5" providerId="ADAL" clId="{52D8CC9E-B5DF-4444-9B4B-7497A5B638E0}" dt="2024-06-26T12:12:09.793" v="151" actId="165"/>
          <ac:spMkLst>
            <pc:docMk/>
            <pc:sldMk cId="48683776" sldId="2147469459"/>
            <ac:spMk id="86" creationId="{3B6EBD95-77ED-D10F-F739-6713E3DDB8ED}"/>
          </ac:spMkLst>
        </pc:spChg>
        <pc:spChg chg="mod">
          <ac:chgData name="Jacobs, Laura (Div)" userId="99fa74c6-ede3-4954-a39a-d9db78cf29d5" providerId="ADAL" clId="{52D8CC9E-B5DF-4444-9B4B-7497A5B638E0}" dt="2024-06-26T12:12:09.793" v="151" actId="165"/>
          <ac:spMkLst>
            <pc:docMk/>
            <pc:sldMk cId="48683776" sldId="2147469459"/>
            <ac:spMk id="88" creationId="{14269488-A12F-C583-944F-30870CBF3259}"/>
          </ac:spMkLst>
        </pc:spChg>
        <pc:grpChg chg="add del mod">
          <ac:chgData name="Jacobs, Laura (Div)" userId="99fa74c6-ede3-4954-a39a-d9db78cf29d5" providerId="ADAL" clId="{52D8CC9E-B5DF-4444-9B4B-7497A5B638E0}" dt="2024-06-26T12:12:09.793" v="151" actId="165"/>
          <ac:grpSpMkLst>
            <pc:docMk/>
            <pc:sldMk cId="48683776" sldId="2147469459"/>
            <ac:grpSpMk id="48" creationId="{34BAC453-B23B-19DB-E789-1131150C462D}"/>
          </ac:grpSpMkLst>
        </pc:grpChg>
        <pc:grpChg chg="mod topLvl">
          <ac:chgData name="Jacobs, Laura (Div)" userId="99fa74c6-ede3-4954-a39a-d9db78cf29d5" providerId="ADAL" clId="{52D8CC9E-B5DF-4444-9B4B-7497A5B638E0}" dt="2024-06-26T12:12:09.793" v="151" actId="165"/>
          <ac:grpSpMkLst>
            <pc:docMk/>
            <pc:sldMk cId="48683776" sldId="2147469459"/>
            <ac:grpSpMk id="49" creationId="{D300DFDB-F4B1-6B31-9A67-795443ACAC59}"/>
          </ac:grpSpMkLst>
        </pc:grpChg>
        <pc:grpChg chg="add del mod topLvl">
          <ac:chgData name="Jacobs, Laura (Div)" userId="99fa74c6-ede3-4954-a39a-d9db78cf29d5" providerId="ADAL" clId="{52D8CC9E-B5DF-4444-9B4B-7497A5B638E0}" dt="2024-06-26T12:12:09.793" v="151" actId="165"/>
          <ac:grpSpMkLst>
            <pc:docMk/>
            <pc:sldMk cId="48683776" sldId="2147469459"/>
            <ac:grpSpMk id="61" creationId="{CEC5C8AF-97CE-FFD8-D78C-929E9ECBB928}"/>
          </ac:grpSpMkLst>
        </pc:grpChg>
        <pc:grpChg chg="mod topLvl">
          <ac:chgData name="Jacobs, Laura (Div)" userId="99fa74c6-ede3-4954-a39a-d9db78cf29d5" providerId="ADAL" clId="{52D8CC9E-B5DF-4444-9B4B-7497A5B638E0}" dt="2024-06-26T12:12:09.793" v="151" actId="165"/>
          <ac:grpSpMkLst>
            <pc:docMk/>
            <pc:sldMk cId="48683776" sldId="2147469459"/>
            <ac:grpSpMk id="62" creationId="{BE4116B8-B241-3C48-66E0-2DC73A10F190}"/>
          </ac:grpSpMkLst>
        </pc:grpChg>
        <pc:grpChg chg="mod">
          <ac:chgData name="Jacobs, Laura (Div)" userId="99fa74c6-ede3-4954-a39a-d9db78cf29d5" providerId="ADAL" clId="{52D8CC9E-B5DF-4444-9B4B-7497A5B638E0}" dt="2024-06-26T12:12:09.793" v="151" actId="165"/>
          <ac:grpSpMkLst>
            <pc:docMk/>
            <pc:sldMk cId="48683776" sldId="2147469459"/>
            <ac:grpSpMk id="81" creationId="{13E48942-20F5-11F5-24F2-AF7E6B833931}"/>
          </ac:grpSpMkLst>
        </pc:grpChg>
        <pc:grpChg chg="mod">
          <ac:chgData name="Jacobs, Laura (Div)" userId="99fa74c6-ede3-4954-a39a-d9db78cf29d5" providerId="ADAL" clId="{52D8CC9E-B5DF-4444-9B4B-7497A5B638E0}" dt="2024-06-26T12:12:09.793" v="151" actId="165"/>
          <ac:grpSpMkLst>
            <pc:docMk/>
            <pc:sldMk cId="48683776" sldId="2147469459"/>
            <ac:grpSpMk id="82" creationId="{B2BE95F1-CA23-0971-2EC2-533ABD367194}"/>
          </ac:grpSpMkLst>
        </pc:grpChg>
        <pc:grpChg chg="mod">
          <ac:chgData name="Jacobs, Laura (Div)" userId="99fa74c6-ede3-4954-a39a-d9db78cf29d5" providerId="ADAL" clId="{52D8CC9E-B5DF-4444-9B4B-7497A5B638E0}" dt="2024-06-26T12:12:09.793" v="151" actId="165"/>
          <ac:grpSpMkLst>
            <pc:docMk/>
            <pc:sldMk cId="48683776" sldId="2147469459"/>
            <ac:grpSpMk id="83" creationId="{90C754F5-9856-4C74-6A01-DEB4B6475671}"/>
          </ac:grpSpMkLst>
        </pc:grpChg>
        <pc:picChg chg="mod">
          <ac:chgData name="Jacobs, Laura (Div)" userId="99fa74c6-ede3-4954-a39a-d9db78cf29d5" providerId="ADAL" clId="{52D8CC9E-B5DF-4444-9B4B-7497A5B638E0}" dt="2024-06-26T12:12:09.793" v="151" actId="165"/>
          <ac:picMkLst>
            <pc:docMk/>
            <pc:sldMk cId="48683776" sldId="2147469459"/>
            <ac:picMk id="85" creationId="{8D01A92B-9F57-E240-C2F8-4791285B39F1}"/>
          </ac:picMkLst>
        </pc:picChg>
        <pc:picChg chg="mod">
          <ac:chgData name="Jacobs, Laura (Div)" userId="99fa74c6-ede3-4954-a39a-d9db78cf29d5" providerId="ADAL" clId="{52D8CC9E-B5DF-4444-9B4B-7497A5B638E0}" dt="2024-06-26T12:12:09.793" v="151" actId="165"/>
          <ac:picMkLst>
            <pc:docMk/>
            <pc:sldMk cId="48683776" sldId="2147469459"/>
            <ac:picMk id="87" creationId="{E81E753F-B8B8-D27B-FD4F-09DDA3746A6E}"/>
          </ac:picMkLst>
        </pc:picChg>
        <pc:picChg chg="mod">
          <ac:chgData name="Jacobs, Laura (Div)" userId="99fa74c6-ede3-4954-a39a-d9db78cf29d5" providerId="ADAL" clId="{52D8CC9E-B5DF-4444-9B4B-7497A5B638E0}" dt="2024-06-26T12:12:09.793" v="151" actId="165"/>
          <ac:picMkLst>
            <pc:docMk/>
            <pc:sldMk cId="48683776" sldId="2147469459"/>
            <ac:picMk id="89" creationId="{ED5C64E0-5B0B-8AF2-7DDA-DE18AFA28DA9}"/>
          </ac:picMkLst>
        </pc:picChg>
        <pc:cxnChg chg="mod topLvl">
          <ac:chgData name="Jacobs, Laura (Div)" userId="99fa74c6-ede3-4954-a39a-d9db78cf29d5" providerId="ADAL" clId="{52D8CC9E-B5DF-4444-9B4B-7497A5B638E0}" dt="2024-06-26T12:12:09.793" v="151" actId="165"/>
          <ac:cxnSpMkLst>
            <pc:docMk/>
            <pc:sldMk cId="48683776" sldId="2147469459"/>
            <ac:cxnSpMk id="53" creationId="{F86B964F-74CE-EF63-B6A5-0D659EC4DC8E}"/>
          </ac:cxnSpMkLst>
        </pc:cxnChg>
        <pc:cxnChg chg="mod topLvl">
          <ac:chgData name="Jacobs, Laura (Div)" userId="99fa74c6-ede3-4954-a39a-d9db78cf29d5" providerId="ADAL" clId="{52D8CC9E-B5DF-4444-9B4B-7497A5B638E0}" dt="2024-06-26T12:12:09.793" v="151" actId="165"/>
          <ac:cxnSpMkLst>
            <pc:docMk/>
            <pc:sldMk cId="48683776" sldId="2147469459"/>
            <ac:cxnSpMk id="54" creationId="{EE9C8EB9-2CAF-EAA3-49C9-FDA7A77E1FDF}"/>
          </ac:cxnSpMkLst>
        </pc:cxnChg>
        <pc:cxnChg chg="mod topLvl">
          <ac:chgData name="Jacobs, Laura (Div)" userId="99fa74c6-ede3-4954-a39a-d9db78cf29d5" providerId="ADAL" clId="{52D8CC9E-B5DF-4444-9B4B-7497A5B638E0}" dt="2024-06-26T12:12:09.793" v="151" actId="165"/>
          <ac:cxnSpMkLst>
            <pc:docMk/>
            <pc:sldMk cId="48683776" sldId="2147469459"/>
            <ac:cxnSpMk id="55" creationId="{67619428-2E18-FA02-3BC9-A8C7F57129BF}"/>
          </ac:cxnSpMkLst>
        </pc:cxnChg>
        <pc:cxnChg chg="mod topLvl">
          <ac:chgData name="Jacobs, Laura (Div)" userId="99fa74c6-ede3-4954-a39a-d9db78cf29d5" providerId="ADAL" clId="{52D8CC9E-B5DF-4444-9B4B-7497A5B638E0}" dt="2024-06-26T12:12:09.793" v="151" actId="165"/>
          <ac:cxnSpMkLst>
            <pc:docMk/>
            <pc:sldMk cId="48683776" sldId="2147469459"/>
            <ac:cxnSpMk id="56" creationId="{4BF6A164-F7D5-CE08-533A-841E75A53B3E}"/>
          </ac:cxnSpMkLst>
        </pc:cxnChg>
        <pc:extLst>
          <p:ext xmlns:p="http://schemas.openxmlformats.org/presentationml/2006/main" uri="{D6D511B9-2390-475A-947B-AFAB55BFBCF1}">
            <pc226:cmChg xmlns:pc226="http://schemas.microsoft.com/office/powerpoint/2022/06/main/command" chg="add">
              <pc226:chgData name="Jacobs, Laura (Div)" userId="99fa74c6-ede3-4954-a39a-d9db78cf29d5" providerId="ADAL" clId="{52D8CC9E-B5DF-4444-9B4B-7497A5B638E0}" dt="2024-06-26T12:11:15.691" v="150"/>
              <pc2:cmMkLst xmlns:pc2="http://schemas.microsoft.com/office/powerpoint/2019/9/main/command">
                <pc:docMk/>
                <pc:sldMk cId="48683776" sldId="2147469459"/>
                <pc2:cmMk id="{04C7DBDD-F738-462C-80C2-48F53CCE4165}"/>
              </pc2:cmMkLst>
            </pc226:cmChg>
          </p:ext>
        </pc:extLst>
      </pc:sldChg>
      <pc:sldChg chg="addSp delSp modSp mod">
        <pc:chgData name="Jacobs, Laura (Div)" userId="99fa74c6-ede3-4954-a39a-d9db78cf29d5" providerId="ADAL" clId="{52D8CC9E-B5DF-4444-9B4B-7497A5B638E0}" dt="2024-08-01T09:34:27.738" v="6566" actId="114"/>
        <pc:sldMkLst>
          <pc:docMk/>
          <pc:sldMk cId="1758882031" sldId="2147469463"/>
        </pc:sldMkLst>
        <pc:spChg chg="mod">
          <ac:chgData name="Jacobs, Laura (Div)" userId="99fa74c6-ede3-4954-a39a-d9db78cf29d5" providerId="ADAL" clId="{52D8CC9E-B5DF-4444-9B4B-7497A5B638E0}" dt="2024-07-31T13:57:10.641" v="5011" actId="6549"/>
          <ac:spMkLst>
            <pc:docMk/>
            <pc:sldMk cId="1758882031" sldId="2147469463"/>
            <ac:spMk id="6" creationId="{7DF504C4-62C1-C336-52C4-8C5EBF0889E8}"/>
          </ac:spMkLst>
        </pc:spChg>
        <pc:spChg chg="add del">
          <ac:chgData name="Jacobs, Laura (Div)" userId="99fa74c6-ede3-4954-a39a-d9db78cf29d5" providerId="ADAL" clId="{52D8CC9E-B5DF-4444-9B4B-7497A5B638E0}" dt="2024-06-26T11:59:25.599" v="77" actId="22"/>
          <ac:spMkLst>
            <pc:docMk/>
            <pc:sldMk cId="1758882031" sldId="2147469463"/>
            <ac:spMk id="11" creationId="{28C2C610-0AB9-894D-0CED-5B0ACACBDBE1}"/>
          </ac:spMkLst>
        </pc:spChg>
        <pc:spChg chg="mod">
          <ac:chgData name="Jacobs, Laura (Div)" userId="99fa74c6-ede3-4954-a39a-d9db78cf29d5" providerId="ADAL" clId="{52D8CC9E-B5DF-4444-9B4B-7497A5B638E0}" dt="2024-08-01T09:34:27.738" v="6566" actId="114"/>
          <ac:spMkLst>
            <pc:docMk/>
            <pc:sldMk cId="1758882031" sldId="2147469463"/>
            <ac:spMk id="29" creationId="{5E79222E-4B03-33E5-CE22-EA1EC04011E7}"/>
          </ac:spMkLst>
        </pc:spChg>
      </pc:sldChg>
      <pc:sldChg chg="modSp mod addCm delCm modCm">
        <pc:chgData name="Jacobs, Laura (Div)" userId="99fa74c6-ede3-4954-a39a-d9db78cf29d5" providerId="ADAL" clId="{52D8CC9E-B5DF-4444-9B4B-7497A5B638E0}" dt="2024-08-02T07:20:52.808" v="6754" actId="20577"/>
        <pc:sldMkLst>
          <pc:docMk/>
          <pc:sldMk cId="918521977" sldId="2147469465"/>
        </pc:sldMkLst>
        <pc:spChg chg="mod">
          <ac:chgData name="Jacobs, Laura (Div)" userId="99fa74c6-ede3-4954-a39a-d9db78cf29d5" providerId="ADAL" clId="{52D8CC9E-B5DF-4444-9B4B-7497A5B638E0}" dt="2024-08-02T07:20:52.808" v="6754" actId="20577"/>
          <ac:spMkLst>
            <pc:docMk/>
            <pc:sldMk cId="918521977" sldId="2147469465"/>
            <ac:spMk id="3" creationId="{63504AEB-0662-51C6-5658-7C9C0E8C683C}"/>
          </ac:spMkLst>
        </pc:spChg>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6-28T11:57:38.815" v="3322"/>
              <pc2:cmMkLst xmlns:pc2="http://schemas.microsoft.com/office/powerpoint/2019/9/main/command">
                <pc:docMk/>
                <pc:sldMk cId="918521977" sldId="2147469465"/>
                <pc2:cmMk id="{DB024EB3-2952-4BE9-AF20-A75AA7D1B3D8}"/>
              </pc2:cmMkLst>
            </pc226:cmChg>
          </p:ext>
        </pc:extLst>
      </pc:sldChg>
      <pc:sldChg chg="addSp delSp modSp mod addCm delCm modCm">
        <pc:chgData name="Jacobs, Laura (Div)" userId="99fa74c6-ede3-4954-a39a-d9db78cf29d5" providerId="ADAL" clId="{52D8CC9E-B5DF-4444-9B4B-7497A5B638E0}" dt="2024-08-20T15:19:03.642" v="7273" actId="1076"/>
        <pc:sldMkLst>
          <pc:docMk/>
          <pc:sldMk cId="1122028596" sldId="2147469466"/>
        </pc:sldMkLst>
        <pc:spChg chg="mod">
          <ac:chgData name="Jacobs, Laura (Div)" userId="99fa74c6-ede3-4954-a39a-d9db78cf29d5" providerId="ADAL" clId="{52D8CC9E-B5DF-4444-9B4B-7497A5B638E0}" dt="2024-08-20T15:19:03.642" v="7273" actId="1076"/>
          <ac:spMkLst>
            <pc:docMk/>
            <pc:sldMk cId="1122028596" sldId="2147469466"/>
            <ac:spMk id="5" creationId="{245176C4-F529-51A8-062A-65AE6D8D409A}"/>
          </ac:spMkLst>
        </pc:spChg>
        <pc:spChg chg="mod">
          <ac:chgData name="Jacobs, Laura (Div)" userId="99fa74c6-ede3-4954-a39a-d9db78cf29d5" providerId="ADAL" clId="{52D8CC9E-B5DF-4444-9B4B-7497A5B638E0}" dt="2024-08-01T08:47:41.833" v="5668" actId="14100"/>
          <ac:spMkLst>
            <pc:docMk/>
            <pc:sldMk cId="1122028596" sldId="2147469466"/>
            <ac:spMk id="6" creationId="{984BDD0E-B342-EEC2-C4E0-0E6732E48E41}"/>
          </ac:spMkLst>
        </pc:spChg>
        <pc:spChg chg="add del mod">
          <ac:chgData name="Jacobs, Laura (Div)" userId="99fa74c6-ede3-4954-a39a-d9db78cf29d5" providerId="ADAL" clId="{52D8CC9E-B5DF-4444-9B4B-7497A5B638E0}" dt="2024-07-02T09:05:50.601" v="3533" actId="478"/>
          <ac:spMkLst>
            <pc:docMk/>
            <pc:sldMk cId="1122028596" sldId="2147469466"/>
            <ac:spMk id="9" creationId="{383134BB-CD5F-9585-D4DA-1AD251333E2B}"/>
          </ac:spMkLst>
        </pc:spChg>
        <pc:spChg chg="add del mod ord">
          <ac:chgData name="Jacobs, Laura (Div)" userId="99fa74c6-ede3-4954-a39a-d9db78cf29d5" providerId="ADAL" clId="{52D8CC9E-B5DF-4444-9B4B-7497A5B638E0}" dt="2024-07-02T09:05:11.689" v="3521" actId="478"/>
          <ac:spMkLst>
            <pc:docMk/>
            <pc:sldMk cId="1122028596" sldId="2147469466"/>
            <ac:spMk id="10" creationId="{3B7E1BA8-76A2-01E1-AE6E-08FAFBF4A9FC}"/>
          </ac:spMkLst>
        </pc:spChg>
        <pc:spChg chg="add del mod">
          <ac:chgData name="Jacobs, Laura (Div)" userId="99fa74c6-ede3-4954-a39a-d9db78cf29d5" providerId="ADAL" clId="{52D8CC9E-B5DF-4444-9B4B-7497A5B638E0}" dt="2024-07-02T09:05:48.871" v="3532" actId="478"/>
          <ac:spMkLst>
            <pc:docMk/>
            <pc:sldMk cId="1122028596" sldId="2147469466"/>
            <ac:spMk id="11" creationId="{64601B48-341E-3858-7531-3A599557B764}"/>
          </ac:spMkLst>
        </pc:spChg>
        <pc:spChg chg="add del mod">
          <ac:chgData name="Jacobs, Laura (Div)" userId="99fa74c6-ede3-4954-a39a-d9db78cf29d5" providerId="ADAL" clId="{52D8CC9E-B5DF-4444-9B4B-7497A5B638E0}" dt="2024-08-01T08:46:14.235" v="5664" actId="1035"/>
          <ac:spMkLst>
            <pc:docMk/>
            <pc:sldMk cId="1122028596" sldId="2147469466"/>
            <ac:spMk id="12" creationId="{F4D5FCBB-6C04-EA1C-B59C-E7C2E7BD1C09}"/>
          </ac:spMkLst>
        </pc:spChg>
        <pc:spChg chg="mod">
          <ac:chgData name="Jacobs, Laura (Div)" userId="99fa74c6-ede3-4954-a39a-d9db78cf29d5" providerId="ADAL" clId="{52D8CC9E-B5DF-4444-9B4B-7497A5B638E0}" dt="2024-08-01T09:35:29.263" v="6573" actId="114"/>
          <ac:spMkLst>
            <pc:docMk/>
            <pc:sldMk cId="1122028596" sldId="2147469466"/>
            <ac:spMk id="14" creationId="{72077B9A-C01B-1993-49E6-60CD39353B17}"/>
          </ac:spMkLst>
        </pc:spChg>
        <pc:spChg chg="add del mod">
          <ac:chgData name="Jacobs, Laura (Div)" userId="99fa74c6-ede3-4954-a39a-d9db78cf29d5" providerId="ADAL" clId="{52D8CC9E-B5DF-4444-9B4B-7497A5B638E0}" dt="2024-07-02T09:06:00.643" v="3537" actId="478"/>
          <ac:spMkLst>
            <pc:docMk/>
            <pc:sldMk cId="1122028596" sldId="2147469466"/>
            <ac:spMk id="16" creationId="{FCDD2BA3-C34B-9C33-02CE-CC5F2423F89F}"/>
          </ac:spMkLst>
        </pc:spChg>
        <pc:spChg chg="add mod ord">
          <ac:chgData name="Jacobs, Laura (Div)" userId="99fa74c6-ede3-4954-a39a-d9db78cf29d5" providerId="ADAL" clId="{52D8CC9E-B5DF-4444-9B4B-7497A5B638E0}" dt="2024-08-01T08:46:14.235" v="5664" actId="1035"/>
          <ac:spMkLst>
            <pc:docMk/>
            <pc:sldMk cId="1122028596" sldId="2147469466"/>
            <ac:spMk id="19" creationId="{ACB17F2F-FCE0-AD5E-CF19-6EF3ABE06320}"/>
          </ac:spMkLst>
        </pc:spChg>
        <pc:spChg chg="add mod ord">
          <ac:chgData name="Jacobs, Laura (Div)" userId="99fa74c6-ede3-4954-a39a-d9db78cf29d5" providerId="ADAL" clId="{52D8CC9E-B5DF-4444-9B4B-7497A5B638E0}" dt="2024-08-01T08:46:14.235" v="5664" actId="1035"/>
          <ac:spMkLst>
            <pc:docMk/>
            <pc:sldMk cId="1122028596" sldId="2147469466"/>
            <ac:spMk id="20" creationId="{7B2AF1A0-2BBA-CDF6-C5A1-46F13C74C3A8}"/>
          </ac:spMkLst>
        </pc:spChg>
        <pc:spChg chg="mod ord">
          <ac:chgData name="Jacobs, Laura (Div)" userId="99fa74c6-ede3-4954-a39a-d9db78cf29d5" providerId="ADAL" clId="{52D8CC9E-B5DF-4444-9B4B-7497A5B638E0}" dt="2024-08-01T08:46:14.235" v="5664" actId="1035"/>
          <ac:spMkLst>
            <pc:docMk/>
            <pc:sldMk cId="1122028596" sldId="2147469466"/>
            <ac:spMk id="23" creationId="{9B9B4D9E-77E5-1CB6-89EE-931F04CAB0C0}"/>
          </ac:spMkLst>
        </pc:spChg>
        <pc:spChg chg="mod">
          <ac:chgData name="Jacobs, Laura (Div)" userId="99fa74c6-ede3-4954-a39a-d9db78cf29d5" providerId="ADAL" clId="{52D8CC9E-B5DF-4444-9B4B-7497A5B638E0}" dt="2024-08-01T08:46:14.235" v="5664" actId="1035"/>
          <ac:spMkLst>
            <pc:docMk/>
            <pc:sldMk cId="1122028596" sldId="2147469466"/>
            <ac:spMk id="24" creationId="{78EB8793-AF2F-ABE3-10C6-841ED06B1515}"/>
          </ac:spMkLst>
        </pc:spChg>
        <pc:spChg chg="mod">
          <ac:chgData name="Jacobs, Laura (Div)" userId="99fa74c6-ede3-4954-a39a-d9db78cf29d5" providerId="ADAL" clId="{52D8CC9E-B5DF-4444-9B4B-7497A5B638E0}" dt="2024-07-02T09:06:41.043" v="3549"/>
          <ac:spMkLst>
            <pc:docMk/>
            <pc:sldMk cId="1122028596" sldId="2147469466"/>
            <ac:spMk id="25" creationId="{625D3DCD-6A8D-1130-0D39-3E1810241CDA}"/>
          </ac:spMkLst>
        </pc:spChg>
        <pc:spChg chg="mod">
          <ac:chgData name="Jacobs, Laura (Div)" userId="99fa74c6-ede3-4954-a39a-d9db78cf29d5" providerId="ADAL" clId="{52D8CC9E-B5DF-4444-9B4B-7497A5B638E0}" dt="2024-08-01T08:46:14.235" v="5664" actId="1035"/>
          <ac:spMkLst>
            <pc:docMk/>
            <pc:sldMk cId="1122028596" sldId="2147469466"/>
            <ac:spMk id="32" creationId="{DB32D465-0499-1320-B404-6BB6D7D0388B}"/>
          </ac:spMkLst>
        </pc:spChg>
        <pc:spChg chg="mod">
          <ac:chgData name="Jacobs, Laura (Div)" userId="99fa74c6-ede3-4954-a39a-d9db78cf29d5" providerId="ADAL" clId="{52D8CC9E-B5DF-4444-9B4B-7497A5B638E0}" dt="2024-07-02T09:05:24.485" v="3525" actId="164"/>
          <ac:spMkLst>
            <pc:docMk/>
            <pc:sldMk cId="1122028596" sldId="2147469466"/>
            <ac:spMk id="46" creationId="{E8D66ACB-09B5-CA7D-CC8E-D25ECC15D8BD}"/>
          </ac:spMkLst>
        </pc:spChg>
        <pc:spChg chg="mod">
          <ac:chgData name="Jacobs, Laura (Div)" userId="99fa74c6-ede3-4954-a39a-d9db78cf29d5" providerId="ADAL" clId="{52D8CC9E-B5DF-4444-9B4B-7497A5B638E0}" dt="2024-07-02T09:05:29.776" v="3526" actId="164"/>
          <ac:spMkLst>
            <pc:docMk/>
            <pc:sldMk cId="1122028596" sldId="2147469466"/>
            <ac:spMk id="47" creationId="{6086EEA5-F301-2C90-DEB4-D3BD099F0A4C}"/>
          </ac:spMkLst>
        </pc:spChg>
        <pc:grpChg chg="add mod">
          <ac:chgData name="Jacobs, Laura (Div)" userId="99fa74c6-ede3-4954-a39a-d9db78cf29d5" providerId="ADAL" clId="{52D8CC9E-B5DF-4444-9B4B-7497A5B638E0}" dt="2024-08-01T08:46:14.235" v="5664" actId="1035"/>
          <ac:grpSpMkLst>
            <pc:docMk/>
            <pc:sldMk cId="1122028596" sldId="2147469466"/>
            <ac:grpSpMk id="3" creationId="{FCD3745C-8841-4CF0-71BC-1952F86CBCD9}"/>
          </ac:grpSpMkLst>
        </pc:grpChg>
        <pc:grpChg chg="add mod ord">
          <ac:chgData name="Jacobs, Laura (Div)" userId="99fa74c6-ede3-4954-a39a-d9db78cf29d5" providerId="ADAL" clId="{52D8CC9E-B5DF-4444-9B4B-7497A5B638E0}" dt="2024-08-01T08:46:14.235" v="5664" actId="1035"/>
          <ac:grpSpMkLst>
            <pc:docMk/>
            <pc:sldMk cId="1122028596" sldId="2147469466"/>
            <ac:grpSpMk id="4" creationId="{FD6A5664-6D97-E0BA-FBA4-78E6AEEBF9B1}"/>
          </ac:grpSpMkLst>
        </pc:grpChg>
        <pc:grpChg chg="mod">
          <ac:chgData name="Jacobs, Laura (Div)" userId="99fa74c6-ede3-4954-a39a-d9db78cf29d5" providerId="ADAL" clId="{52D8CC9E-B5DF-4444-9B4B-7497A5B638E0}" dt="2024-07-02T08:57:09.874" v="3392" actId="164"/>
          <ac:grpSpMkLst>
            <pc:docMk/>
            <pc:sldMk cId="1122028596" sldId="2147469466"/>
            <ac:grpSpMk id="7" creationId="{D34D0F44-0777-4216-0701-C2BA7CAC9569}"/>
          </ac:grpSpMkLst>
        </pc:grpChg>
        <pc:grpChg chg="add del mod">
          <ac:chgData name="Jacobs, Laura (Div)" userId="99fa74c6-ede3-4954-a39a-d9db78cf29d5" providerId="ADAL" clId="{52D8CC9E-B5DF-4444-9B4B-7497A5B638E0}" dt="2024-07-02T09:06:57.605" v="3553" actId="478"/>
          <ac:grpSpMkLst>
            <pc:docMk/>
            <pc:sldMk cId="1122028596" sldId="2147469466"/>
            <ac:grpSpMk id="8" creationId="{E0CFCFF4-FF3E-4B1D-04C3-6939C6BD43ED}"/>
          </ac:grpSpMkLst>
        </pc:grpChg>
        <pc:grpChg chg="mod">
          <ac:chgData name="Jacobs, Laura (Div)" userId="99fa74c6-ede3-4954-a39a-d9db78cf29d5" providerId="ADAL" clId="{52D8CC9E-B5DF-4444-9B4B-7497A5B638E0}" dt="2024-07-02T08:57:09.874" v="3392" actId="164"/>
          <ac:grpSpMkLst>
            <pc:docMk/>
            <pc:sldMk cId="1122028596" sldId="2147469466"/>
            <ac:grpSpMk id="21" creationId="{0A914E70-DF87-3213-D6AA-B11C2C71778E}"/>
          </ac:grpSpMkLst>
        </pc:grpChg>
        <pc:grpChg chg="add mod">
          <ac:chgData name="Jacobs, Laura (Div)" userId="99fa74c6-ede3-4954-a39a-d9db78cf29d5" providerId="ADAL" clId="{52D8CC9E-B5DF-4444-9B4B-7497A5B638E0}" dt="2024-08-01T08:46:14.235" v="5664" actId="1035"/>
          <ac:grpSpMkLst>
            <pc:docMk/>
            <pc:sldMk cId="1122028596" sldId="2147469466"/>
            <ac:grpSpMk id="22" creationId="{507AC95F-9417-19DF-292A-3D6EEAACD348}"/>
          </ac:grpSpMkLst>
        </pc:grpChg>
        <pc:picChg chg="mod">
          <ac:chgData name="Jacobs, Laura (Div)" userId="99fa74c6-ede3-4954-a39a-d9db78cf29d5" providerId="ADAL" clId="{52D8CC9E-B5DF-4444-9B4B-7497A5B638E0}" dt="2024-07-02T09:06:41.043" v="3549"/>
          <ac:picMkLst>
            <pc:docMk/>
            <pc:sldMk cId="1122028596" sldId="2147469466"/>
            <ac:picMk id="29" creationId="{C347446B-728B-033B-3A7C-4FA4F753B9D7}"/>
          </ac:picMkLst>
        </pc:picChg>
        <pc:picChg chg="mod">
          <ac:chgData name="Jacobs, Laura (Div)" userId="99fa74c6-ede3-4954-a39a-d9db78cf29d5" providerId="ADAL" clId="{52D8CC9E-B5DF-4444-9B4B-7497A5B638E0}" dt="2024-08-01T08:46:14.235" v="5664" actId="1035"/>
          <ac:picMkLst>
            <pc:docMk/>
            <pc:sldMk cId="1122028596" sldId="2147469466"/>
            <ac:picMk id="36" creationId="{3618EF31-D6F7-7583-203C-9E7A2CF6BFA2}"/>
          </ac:picMkLst>
        </pc:picChg>
        <pc:picChg chg="mod">
          <ac:chgData name="Jacobs, Laura (Div)" userId="99fa74c6-ede3-4954-a39a-d9db78cf29d5" providerId="ADAL" clId="{52D8CC9E-B5DF-4444-9B4B-7497A5B638E0}" dt="2024-08-01T08:46:14.235" v="5664" actId="1035"/>
          <ac:picMkLst>
            <pc:docMk/>
            <pc:sldMk cId="1122028596" sldId="2147469466"/>
            <ac:picMk id="38" creationId="{6F619BED-6386-66C3-16B9-89436ECCD716}"/>
          </ac:picMkLst>
        </pc:picChg>
        <pc:picChg chg="mod">
          <ac:chgData name="Jacobs, Laura (Div)" userId="99fa74c6-ede3-4954-a39a-d9db78cf29d5" providerId="ADAL" clId="{52D8CC9E-B5DF-4444-9B4B-7497A5B638E0}" dt="2024-07-02T09:05:24.485" v="3525" actId="164"/>
          <ac:picMkLst>
            <pc:docMk/>
            <pc:sldMk cId="1122028596" sldId="2147469466"/>
            <ac:picMk id="45" creationId="{0CA521C5-0662-A90F-E08B-2919F2FB8540}"/>
          </ac:picMkLst>
        </pc:picChg>
        <pc:picChg chg="mod">
          <ac:chgData name="Jacobs, Laura (Div)" userId="99fa74c6-ede3-4954-a39a-d9db78cf29d5" providerId="ADAL" clId="{52D8CC9E-B5DF-4444-9B4B-7497A5B638E0}" dt="2024-07-02T09:05:29.776" v="3526" actId="164"/>
          <ac:picMkLst>
            <pc:docMk/>
            <pc:sldMk cId="1122028596" sldId="2147469466"/>
            <ac:picMk id="48" creationId="{DE360A36-43F0-7F6C-379A-A38C4AF6FB7F}"/>
          </ac:picMkLst>
        </pc:picChg>
        <pc:cxnChg chg="mod">
          <ac:chgData name="Jacobs, Laura (Div)" userId="99fa74c6-ede3-4954-a39a-d9db78cf29d5" providerId="ADAL" clId="{52D8CC9E-B5DF-4444-9B4B-7497A5B638E0}" dt="2024-07-02T08:57:09.874" v="3392" actId="164"/>
          <ac:cxnSpMkLst>
            <pc:docMk/>
            <pc:sldMk cId="1122028596" sldId="2147469466"/>
            <ac:cxnSpMk id="34" creationId="{5EAF7F6B-2290-67E8-A708-E7A216035468}"/>
          </ac:cxnSpMkLst>
        </pc:cxnChg>
        <pc:cxnChg chg="add del mod">
          <ac:chgData name="Jacobs, Laura (Div)" userId="99fa74c6-ede3-4954-a39a-d9db78cf29d5" providerId="ADAL" clId="{52D8CC9E-B5DF-4444-9B4B-7497A5B638E0}" dt="2024-07-02T09:05:15.058" v="3522" actId="478"/>
          <ac:cxnSpMkLst>
            <pc:docMk/>
            <pc:sldMk cId="1122028596" sldId="2147469466"/>
            <ac:cxnSpMk id="50" creationId="{E014485A-6C75-03FB-80CD-4730D16C2EF6}"/>
          </ac:cxnSpMkLst>
        </pc:cxnChg>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7-17T12:45:41.830" v="4871"/>
              <pc2:cmMkLst xmlns:pc2="http://schemas.microsoft.com/office/powerpoint/2019/9/main/command">
                <pc:docMk/>
                <pc:sldMk cId="1122028596" sldId="2147469466"/>
                <pc2:cmMk id="{FD37D24E-305B-4D6F-8A66-15AB88701DFF}"/>
              </pc2:cmMkLst>
              <pc226:cmRplyChg chg="add">
                <pc226:chgData name="Jacobs, Laura (Div)" userId="99fa74c6-ede3-4954-a39a-d9db78cf29d5" providerId="ADAL" clId="{52D8CC9E-B5DF-4444-9B4B-7497A5B638E0}" dt="2024-07-02T09:08:38.413" v="3567"/>
                <pc2:cmRplyMkLst xmlns:pc2="http://schemas.microsoft.com/office/powerpoint/2019/9/main/command">
                  <pc:docMk/>
                  <pc:sldMk cId="1122028596" sldId="2147469466"/>
                  <pc2:cmMk id="{FD37D24E-305B-4D6F-8A66-15AB88701DFF}"/>
                  <pc2:cmRplyMk id="{AD0DC5B2-D853-4F8D-BAA0-3692225AE15E}"/>
                </pc2:cmRplyMkLst>
              </pc226:cmRplyChg>
            </pc226:cmChg>
            <pc226:cmChg xmlns:pc226="http://schemas.microsoft.com/office/powerpoint/2022/06/main/command" chg="add del">
              <pc226:chgData name="Jacobs, Laura (Div)" userId="99fa74c6-ede3-4954-a39a-d9db78cf29d5" providerId="ADAL" clId="{52D8CC9E-B5DF-4444-9B4B-7497A5B638E0}" dt="2024-06-26T13:26:45.715" v="1132"/>
              <pc2:cmMkLst xmlns:pc2="http://schemas.microsoft.com/office/powerpoint/2019/9/main/command">
                <pc:docMk/>
                <pc:sldMk cId="1122028596" sldId="2147469466"/>
                <pc2:cmMk id="{994031BB-30D6-48E6-AC3F-ACCD1BC4E8B5}"/>
              </pc2:cmMkLst>
            </pc226:cmChg>
          </p:ext>
        </pc:extLst>
      </pc:sldChg>
      <pc:sldChg chg="modSp mod addCm delCm">
        <pc:chgData name="Jacobs, Laura (Div)" userId="99fa74c6-ede3-4954-a39a-d9db78cf29d5" providerId="ADAL" clId="{52D8CC9E-B5DF-4444-9B4B-7497A5B638E0}" dt="2024-08-01T09:32:51.058" v="6553" actId="114"/>
        <pc:sldMkLst>
          <pc:docMk/>
          <pc:sldMk cId="3887885311" sldId="2147469468"/>
        </pc:sldMkLst>
        <pc:spChg chg="mod">
          <ac:chgData name="Jacobs, Laura (Div)" userId="99fa74c6-ede3-4954-a39a-d9db78cf29d5" providerId="ADAL" clId="{52D8CC9E-B5DF-4444-9B4B-7497A5B638E0}" dt="2024-08-01T09:32:51.058" v="6553" actId="114"/>
          <ac:spMkLst>
            <pc:docMk/>
            <pc:sldMk cId="3887885311" sldId="2147469468"/>
            <ac:spMk id="2" creationId="{7E82BA03-F95C-4DDC-3DBC-88C5368A3168}"/>
          </ac:spMkLst>
        </pc:spChg>
        <pc:extLst>
          <p:ext xmlns:p="http://schemas.openxmlformats.org/presentationml/2006/main" uri="{D6D511B9-2390-475A-947B-AFAB55BFBCF1}">
            <pc226:cmChg xmlns:pc226="http://schemas.microsoft.com/office/powerpoint/2022/06/main/command" chg="add del">
              <pc226:chgData name="Jacobs, Laura (Div)" userId="99fa74c6-ede3-4954-a39a-d9db78cf29d5" providerId="ADAL" clId="{52D8CC9E-B5DF-4444-9B4B-7497A5B638E0}" dt="2024-06-26T14:43:53.649" v="1650"/>
              <pc2:cmMkLst xmlns:pc2="http://schemas.microsoft.com/office/powerpoint/2019/9/main/command">
                <pc:docMk/>
                <pc:sldMk cId="3887885311" sldId="2147469468"/>
                <pc2:cmMk id="{4A54EC6B-03E3-40C8-BECD-DCF3E53867FA}"/>
              </pc2:cmMkLst>
            </pc226:cmChg>
          </p:ext>
        </pc:extLst>
      </pc:sldChg>
      <pc:sldChg chg="modSp del mod">
        <pc:chgData name="Jacobs, Laura (Div)" userId="99fa74c6-ede3-4954-a39a-d9db78cf29d5" providerId="ADAL" clId="{52D8CC9E-B5DF-4444-9B4B-7497A5B638E0}" dt="2024-08-01T09:57:22.412" v="6675" actId="47"/>
        <pc:sldMkLst>
          <pc:docMk/>
          <pc:sldMk cId="2940323695" sldId="2147469479"/>
        </pc:sldMkLst>
        <pc:spChg chg="mod">
          <ac:chgData name="Jacobs, Laura (Div)" userId="99fa74c6-ede3-4954-a39a-d9db78cf29d5" providerId="ADAL" clId="{52D8CC9E-B5DF-4444-9B4B-7497A5B638E0}" dt="2024-08-01T09:57:10.843" v="6672" actId="21"/>
          <ac:spMkLst>
            <pc:docMk/>
            <pc:sldMk cId="2940323695" sldId="2147469479"/>
            <ac:spMk id="3" creationId="{63504AEB-0662-51C6-5658-7C9C0E8C683C}"/>
          </ac:spMkLst>
        </pc:spChg>
      </pc:sldChg>
      <pc:sldChg chg="modSp mod addCm delCm modCm">
        <pc:chgData name="Jacobs, Laura (Div)" userId="99fa74c6-ede3-4954-a39a-d9db78cf29d5" providerId="ADAL" clId="{52D8CC9E-B5DF-4444-9B4B-7497A5B638E0}" dt="2024-08-01T09:32:38.661" v="6552" actId="114"/>
        <pc:sldMkLst>
          <pc:docMk/>
          <pc:sldMk cId="993275777" sldId="2147469484"/>
        </pc:sldMkLst>
        <pc:spChg chg="mod">
          <ac:chgData name="Jacobs, Laura (Div)" userId="99fa74c6-ede3-4954-a39a-d9db78cf29d5" providerId="ADAL" clId="{52D8CC9E-B5DF-4444-9B4B-7497A5B638E0}" dt="2024-08-01T09:32:38.661" v="6552" actId="114"/>
          <ac:spMkLst>
            <pc:docMk/>
            <pc:sldMk cId="993275777" sldId="2147469484"/>
            <ac:spMk id="9" creationId="{F7B65BA2-1D43-6C3D-6F35-12F7AF2C919C}"/>
          </ac:spMkLst>
        </pc:spChg>
        <pc:extLst>
          <p:ext xmlns:p="http://schemas.openxmlformats.org/presentationml/2006/main" uri="{D6D511B9-2390-475A-947B-AFAB55BFBCF1}">
            <pc226:cmChg xmlns:pc226="http://schemas.microsoft.com/office/powerpoint/2022/06/main/command" chg="add del mod">
              <pc226:chgData name="Jacobs, Laura (Div)" userId="99fa74c6-ede3-4954-a39a-d9db78cf29d5" providerId="ADAL" clId="{52D8CC9E-B5DF-4444-9B4B-7497A5B638E0}" dt="2024-06-26T14:49:19.203" v="1885"/>
              <pc2:cmMkLst xmlns:pc2="http://schemas.microsoft.com/office/powerpoint/2019/9/main/command">
                <pc:docMk/>
                <pc:sldMk cId="993275777" sldId="2147469484"/>
                <pc2:cmMk id="{68E27C52-C6B1-481A-8053-155F70D59D58}"/>
              </pc2:cmMkLst>
            </pc226:cmChg>
          </p:ext>
        </pc:extLst>
      </pc:sldChg>
      <pc:sldChg chg="addSp delSp modSp add mod addCm delCm">
        <pc:chgData name="Jacobs, Laura (Div)" userId="99fa74c6-ede3-4954-a39a-d9db78cf29d5" providerId="ADAL" clId="{52D8CC9E-B5DF-4444-9B4B-7497A5B638E0}" dt="2024-08-01T09:34:40.650" v="6567" actId="114"/>
        <pc:sldMkLst>
          <pc:docMk/>
          <pc:sldMk cId="1723735933" sldId="2147469485"/>
        </pc:sldMkLst>
        <pc:spChg chg="mod">
          <ac:chgData name="Jacobs, Laura (Div)" userId="99fa74c6-ede3-4954-a39a-d9db78cf29d5" providerId="ADAL" clId="{52D8CC9E-B5DF-4444-9B4B-7497A5B638E0}" dt="2024-06-28T10:53:14.628" v="3034" actId="20577"/>
          <ac:spMkLst>
            <pc:docMk/>
            <pc:sldMk cId="1723735933" sldId="2147469485"/>
            <ac:spMk id="2" creationId="{CE0621FC-B1A8-926A-BAE2-5F5EAEBF07FC}"/>
          </ac:spMkLst>
        </pc:spChg>
        <pc:spChg chg="add mod">
          <ac:chgData name="Jacobs, Laura (Div)" userId="99fa74c6-ede3-4954-a39a-d9db78cf29d5" providerId="ADAL" clId="{52D8CC9E-B5DF-4444-9B4B-7497A5B638E0}" dt="2024-06-28T08:15:07.756" v="2038" actId="1076"/>
          <ac:spMkLst>
            <pc:docMk/>
            <pc:sldMk cId="1723735933" sldId="2147469485"/>
            <ac:spMk id="3" creationId="{4647F8C6-ABDE-6E0B-8AF3-F9036926B94E}"/>
          </ac:spMkLst>
        </pc:spChg>
        <pc:spChg chg="del">
          <ac:chgData name="Jacobs, Laura (Div)" userId="99fa74c6-ede3-4954-a39a-d9db78cf29d5" providerId="ADAL" clId="{52D8CC9E-B5DF-4444-9B4B-7497A5B638E0}" dt="2024-06-26T12:01:40.154" v="85" actId="478"/>
          <ac:spMkLst>
            <pc:docMk/>
            <pc:sldMk cId="1723735933" sldId="2147469485"/>
            <ac:spMk id="3" creationId="{926E73F8-C870-48BA-ACDE-CFAC4AAF96FA}"/>
          </ac:spMkLst>
        </pc:spChg>
        <pc:spChg chg="add mod">
          <ac:chgData name="Jacobs, Laura (Div)" userId="99fa74c6-ede3-4954-a39a-d9db78cf29d5" providerId="ADAL" clId="{52D8CC9E-B5DF-4444-9B4B-7497A5B638E0}" dt="2024-06-28T08:14:50.192" v="2025" actId="1076"/>
          <ac:spMkLst>
            <pc:docMk/>
            <pc:sldMk cId="1723735933" sldId="2147469485"/>
            <ac:spMk id="5" creationId="{7A9BBC61-AF89-7F6F-6BAC-5067F8519DC2}"/>
          </ac:spMkLst>
        </pc:spChg>
        <pc:spChg chg="mod">
          <ac:chgData name="Jacobs, Laura (Div)" userId="99fa74c6-ede3-4954-a39a-d9db78cf29d5" providerId="ADAL" clId="{52D8CC9E-B5DF-4444-9B4B-7497A5B638E0}" dt="2024-08-01T09:34:40.650" v="6567" actId="114"/>
          <ac:spMkLst>
            <pc:docMk/>
            <pc:sldMk cId="1723735933" sldId="2147469485"/>
            <ac:spMk id="9" creationId="{8D66EEE2-E092-F3D0-9DD4-C16582C4C438}"/>
          </ac:spMkLst>
        </pc:spChg>
        <pc:spChg chg="add mod">
          <ac:chgData name="Jacobs, Laura (Div)" userId="99fa74c6-ede3-4954-a39a-d9db78cf29d5" providerId="ADAL" clId="{52D8CC9E-B5DF-4444-9B4B-7497A5B638E0}" dt="2024-06-26T12:05:53.536" v="124" actId="1076"/>
          <ac:spMkLst>
            <pc:docMk/>
            <pc:sldMk cId="1723735933" sldId="2147469485"/>
            <ac:spMk id="10" creationId="{4538F502-DC50-E109-BE3D-BC2061C47329}"/>
          </ac:spMkLst>
        </pc:spChg>
        <pc:spChg chg="add mod">
          <ac:chgData name="Jacobs, Laura (Div)" userId="99fa74c6-ede3-4954-a39a-d9db78cf29d5" providerId="ADAL" clId="{52D8CC9E-B5DF-4444-9B4B-7497A5B638E0}" dt="2024-06-28T10:53:22.098" v="3036" actId="20577"/>
          <ac:spMkLst>
            <pc:docMk/>
            <pc:sldMk cId="1723735933" sldId="2147469485"/>
            <ac:spMk id="11" creationId="{1C0E04DC-22E4-9CD4-5963-53F58F10E45E}"/>
          </ac:spMkLst>
        </pc:spChg>
        <pc:spChg chg="add mod">
          <ac:chgData name="Jacobs, Laura (Div)" userId="99fa74c6-ede3-4954-a39a-d9db78cf29d5" providerId="ADAL" clId="{52D8CC9E-B5DF-4444-9B4B-7497A5B638E0}" dt="2024-06-26T12:05:19.396" v="116" actId="1076"/>
          <ac:spMkLst>
            <pc:docMk/>
            <pc:sldMk cId="1723735933" sldId="2147469485"/>
            <ac:spMk id="12" creationId="{22D6BB9A-2124-3732-1743-BFC017546738}"/>
          </ac:spMkLst>
        </pc:spChg>
        <pc:spChg chg="add mod">
          <ac:chgData name="Jacobs, Laura (Div)" userId="99fa74c6-ede3-4954-a39a-d9db78cf29d5" providerId="ADAL" clId="{52D8CC9E-B5DF-4444-9B4B-7497A5B638E0}" dt="2024-06-26T12:05:45.055" v="122" actId="14100"/>
          <ac:spMkLst>
            <pc:docMk/>
            <pc:sldMk cId="1723735933" sldId="2147469485"/>
            <ac:spMk id="13" creationId="{242A7844-63FD-EB7E-DB69-BA728B10AC53}"/>
          </ac:spMkLst>
        </pc:spChg>
        <pc:spChg chg="add mod">
          <ac:chgData name="Jacobs, Laura (Div)" userId="99fa74c6-ede3-4954-a39a-d9db78cf29d5" providerId="ADAL" clId="{52D8CC9E-B5DF-4444-9B4B-7497A5B638E0}" dt="2024-06-26T12:23:52.663" v="404" actId="1076"/>
          <ac:spMkLst>
            <pc:docMk/>
            <pc:sldMk cId="1723735933" sldId="2147469485"/>
            <ac:spMk id="14" creationId="{1D51FD0A-F6B8-A27A-E265-3A7C765FB41D}"/>
          </ac:spMkLst>
        </pc:spChg>
        <pc:spChg chg="add del mod">
          <ac:chgData name="Jacobs, Laura (Div)" userId="99fa74c6-ede3-4954-a39a-d9db78cf29d5" providerId="ADAL" clId="{52D8CC9E-B5DF-4444-9B4B-7497A5B638E0}" dt="2024-06-26T12:14:26.807" v="228" actId="478"/>
          <ac:spMkLst>
            <pc:docMk/>
            <pc:sldMk cId="1723735933" sldId="2147469485"/>
            <ac:spMk id="15" creationId="{B0A204BB-7ED1-E180-6B88-7E3C6F02D936}"/>
          </ac:spMkLst>
        </pc:spChg>
        <pc:spChg chg="add mod">
          <ac:chgData name="Jacobs, Laura (Div)" userId="99fa74c6-ede3-4954-a39a-d9db78cf29d5" providerId="ADAL" clId="{52D8CC9E-B5DF-4444-9B4B-7497A5B638E0}" dt="2024-06-26T12:05:39.685" v="120" actId="1076"/>
          <ac:spMkLst>
            <pc:docMk/>
            <pc:sldMk cId="1723735933" sldId="2147469485"/>
            <ac:spMk id="16" creationId="{283E5A9E-141D-7F63-4060-1E3A92E45E16}"/>
          </ac:spMkLst>
        </pc:spChg>
        <pc:spChg chg="add mod">
          <ac:chgData name="Jacobs, Laura (Div)" userId="99fa74c6-ede3-4954-a39a-d9db78cf29d5" providerId="ADAL" clId="{52D8CC9E-B5DF-4444-9B4B-7497A5B638E0}" dt="2024-06-26T12:23:52.663" v="404" actId="1076"/>
          <ac:spMkLst>
            <pc:docMk/>
            <pc:sldMk cId="1723735933" sldId="2147469485"/>
            <ac:spMk id="17" creationId="{3B2A8B46-F70B-03D7-A6E9-40F5FFAB7D65}"/>
          </ac:spMkLst>
        </pc:spChg>
        <pc:spChg chg="add del mod">
          <ac:chgData name="Jacobs, Laura (Div)" userId="99fa74c6-ede3-4954-a39a-d9db78cf29d5" providerId="ADAL" clId="{52D8CC9E-B5DF-4444-9B4B-7497A5B638E0}" dt="2024-06-26T12:14:29.278" v="229" actId="478"/>
          <ac:spMkLst>
            <pc:docMk/>
            <pc:sldMk cId="1723735933" sldId="2147469485"/>
            <ac:spMk id="18" creationId="{9B5C7654-B69A-B5B3-EA31-2E7AE78A2B61}"/>
          </ac:spMkLst>
        </pc:spChg>
        <pc:spChg chg="add mod">
          <ac:chgData name="Jacobs, Laura (Div)" userId="99fa74c6-ede3-4954-a39a-d9db78cf29d5" providerId="ADAL" clId="{52D8CC9E-B5DF-4444-9B4B-7497A5B638E0}" dt="2024-06-26T12:05:33.293" v="119" actId="14100"/>
          <ac:spMkLst>
            <pc:docMk/>
            <pc:sldMk cId="1723735933" sldId="2147469485"/>
            <ac:spMk id="19" creationId="{FAF97152-FCAC-F7FB-DD30-3056F96C5241}"/>
          </ac:spMkLst>
        </pc:spChg>
        <pc:spChg chg="mod">
          <ac:chgData name="Jacobs, Laura (Div)" userId="99fa74c6-ede3-4954-a39a-d9db78cf29d5" providerId="ADAL" clId="{52D8CC9E-B5DF-4444-9B4B-7497A5B638E0}" dt="2024-06-26T12:13:34.755" v="207" actId="207"/>
          <ac:spMkLst>
            <pc:docMk/>
            <pc:sldMk cId="1723735933" sldId="2147469485"/>
            <ac:spMk id="24" creationId="{AAE032CD-25E2-7880-8865-12FE299B19E1}"/>
          </ac:spMkLst>
        </pc:spChg>
        <pc:spChg chg="mod">
          <ac:chgData name="Jacobs, Laura (Div)" userId="99fa74c6-ede3-4954-a39a-d9db78cf29d5" providerId="ADAL" clId="{52D8CC9E-B5DF-4444-9B4B-7497A5B638E0}" dt="2024-06-26T12:13:34.755" v="207" actId="207"/>
          <ac:spMkLst>
            <pc:docMk/>
            <pc:sldMk cId="1723735933" sldId="2147469485"/>
            <ac:spMk id="26" creationId="{5F8336D0-8FF4-8145-E789-8592030A56AA}"/>
          </ac:spMkLst>
        </pc:spChg>
        <pc:spChg chg="mod">
          <ac:chgData name="Jacobs, Laura (Div)" userId="99fa74c6-ede3-4954-a39a-d9db78cf29d5" providerId="ADAL" clId="{52D8CC9E-B5DF-4444-9B4B-7497A5B638E0}" dt="2024-06-26T12:13:34.755" v="207" actId="207"/>
          <ac:spMkLst>
            <pc:docMk/>
            <pc:sldMk cId="1723735933" sldId="2147469485"/>
            <ac:spMk id="28" creationId="{3F67369D-BC05-A64E-3604-B2E155F0BB40}"/>
          </ac:spMkLst>
        </pc:spChg>
        <pc:spChg chg="add del mod">
          <ac:chgData name="Jacobs, Laura (Div)" userId="99fa74c6-ede3-4954-a39a-d9db78cf29d5" providerId="ADAL" clId="{52D8CC9E-B5DF-4444-9B4B-7497A5B638E0}" dt="2024-06-26T12:13:19.928" v="205" actId="478"/>
          <ac:spMkLst>
            <pc:docMk/>
            <pc:sldMk cId="1723735933" sldId="2147469485"/>
            <ac:spMk id="30" creationId="{90478083-5138-028E-430C-72F4A39744D3}"/>
          </ac:spMkLst>
        </pc:spChg>
        <pc:spChg chg="add del mod">
          <ac:chgData name="Jacobs, Laura (Div)" userId="99fa74c6-ede3-4954-a39a-d9db78cf29d5" providerId="ADAL" clId="{52D8CC9E-B5DF-4444-9B4B-7497A5B638E0}" dt="2024-06-26T12:16:16.823" v="245" actId="478"/>
          <ac:spMkLst>
            <pc:docMk/>
            <pc:sldMk cId="1723735933" sldId="2147469485"/>
            <ac:spMk id="31" creationId="{E0839083-45CE-D8FF-2631-9661D00541E3}"/>
          </ac:spMkLst>
        </pc:spChg>
        <pc:spChg chg="add del mod">
          <ac:chgData name="Jacobs, Laura (Div)" userId="99fa74c6-ede3-4954-a39a-d9db78cf29d5" providerId="ADAL" clId="{52D8CC9E-B5DF-4444-9B4B-7497A5B638E0}" dt="2024-06-26T12:21:48.228" v="391"/>
          <ac:spMkLst>
            <pc:docMk/>
            <pc:sldMk cId="1723735933" sldId="2147469485"/>
            <ac:spMk id="32" creationId="{B5240A35-C7FF-6003-656C-926C87F4D2EA}"/>
          </ac:spMkLst>
        </pc:spChg>
        <pc:spChg chg="add del mod">
          <ac:chgData name="Jacobs, Laura (Div)" userId="99fa74c6-ede3-4954-a39a-d9db78cf29d5" providerId="ADAL" clId="{52D8CC9E-B5DF-4444-9B4B-7497A5B638E0}" dt="2024-06-26T12:25:36.607" v="414" actId="478"/>
          <ac:spMkLst>
            <pc:docMk/>
            <pc:sldMk cId="1723735933" sldId="2147469485"/>
            <ac:spMk id="34" creationId="{369E922A-9497-97EA-7DA9-94B1C5BDAC95}"/>
          </ac:spMkLst>
        </pc:spChg>
        <pc:grpChg chg="add del mod">
          <ac:chgData name="Jacobs, Laura (Div)" userId="99fa74c6-ede3-4954-a39a-d9db78cf29d5" providerId="ADAL" clId="{52D8CC9E-B5DF-4444-9B4B-7497A5B638E0}" dt="2024-06-26T12:13:43.549" v="208" actId="478"/>
          <ac:grpSpMkLst>
            <pc:docMk/>
            <pc:sldMk cId="1723735933" sldId="2147469485"/>
            <ac:grpSpMk id="20" creationId="{14A500AA-A927-24FB-3251-D2D74910F73F}"/>
          </ac:grpSpMkLst>
        </pc:grpChg>
        <pc:grpChg chg="mod">
          <ac:chgData name="Jacobs, Laura (Div)" userId="99fa74c6-ede3-4954-a39a-d9db78cf29d5" providerId="ADAL" clId="{52D8CC9E-B5DF-4444-9B4B-7497A5B638E0}" dt="2024-06-26T12:12:19.944" v="152"/>
          <ac:grpSpMkLst>
            <pc:docMk/>
            <pc:sldMk cId="1723735933" sldId="2147469485"/>
            <ac:grpSpMk id="21" creationId="{AAB23ECA-149C-20C7-3D77-FDD30FE9CDE4}"/>
          </ac:grpSpMkLst>
        </pc:grpChg>
        <pc:grpChg chg="mod">
          <ac:chgData name="Jacobs, Laura (Div)" userId="99fa74c6-ede3-4954-a39a-d9db78cf29d5" providerId="ADAL" clId="{52D8CC9E-B5DF-4444-9B4B-7497A5B638E0}" dt="2024-06-26T12:12:19.944" v="152"/>
          <ac:grpSpMkLst>
            <pc:docMk/>
            <pc:sldMk cId="1723735933" sldId="2147469485"/>
            <ac:grpSpMk id="22" creationId="{A3257D5F-7530-88E5-314E-916BB6A3327C}"/>
          </ac:grpSpMkLst>
        </pc:grpChg>
        <pc:grpChg chg="mod">
          <ac:chgData name="Jacobs, Laura (Div)" userId="99fa74c6-ede3-4954-a39a-d9db78cf29d5" providerId="ADAL" clId="{52D8CC9E-B5DF-4444-9B4B-7497A5B638E0}" dt="2024-06-26T12:12:19.944" v="152"/>
          <ac:grpSpMkLst>
            <pc:docMk/>
            <pc:sldMk cId="1723735933" sldId="2147469485"/>
            <ac:grpSpMk id="23" creationId="{AA8746E4-F9AC-49A1-5C7C-4D5F54EB7BD3}"/>
          </ac:grpSpMkLst>
        </pc:grpChg>
        <pc:grpChg chg="del">
          <ac:chgData name="Jacobs, Laura (Div)" userId="99fa74c6-ede3-4954-a39a-d9db78cf29d5" providerId="ADAL" clId="{52D8CC9E-B5DF-4444-9B4B-7497A5B638E0}" dt="2024-06-26T12:01:40.154" v="85" actId="478"/>
          <ac:grpSpMkLst>
            <pc:docMk/>
            <pc:sldMk cId="1723735933" sldId="2147469485"/>
            <ac:grpSpMk id="48" creationId="{34BAC453-B23B-19DB-E789-1131150C462D}"/>
          </ac:grpSpMkLst>
        </pc:grpChg>
        <pc:graphicFrameChg chg="add mod modGraphic">
          <ac:chgData name="Jacobs, Laura (Div)" userId="99fa74c6-ede3-4954-a39a-d9db78cf29d5" providerId="ADAL" clId="{52D8CC9E-B5DF-4444-9B4B-7497A5B638E0}" dt="2024-07-31T14:06:32.948" v="5182" actId="404"/>
          <ac:graphicFrameMkLst>
            <pc:docMk/>
            <pc:sldMk cId="1723735933" sldId="2147469485"/>
            <ac:graphicFrameMk id="4" creationId="{B392CA16-BE1A-4A71-4C61-EA5505C61ACE}"/>
          </ac:graphicFrameMkLst>
        </pc:graphicFrameChg>
        <pc:graphicFrameChg chg="add mod modGraphic">
          <ac:chgData name="Jacobs, Laura (Div)" userId="99fa74c6-ede3-4954-a39a-d9db78cf29d5" providerId="ADAL" clId="{52D8CC9E-B5DF-4444-9B4B-7497A5B638E0}" dt="2024-07-31T14:06:24.615" v="5181" actId="20577"/>
          <ac:graphicFrameMkLst>
            <pc:docMk/>
            <pc:sldMk cId="1723735933" sldId="2147469485"/>
            <ac:graphicFrameMk id="6" creationId="{DEE8F305-ED61-D2AD-ABE8-D7AF2B661659}"/>
          </ac:graphicFrameMkLst>
        </pc:graphicFrameChg>
        <pc:picChg chg="mod">
          <ac:chgData name="Jacobs, Laura (Div)" userId="99fa74c6-ede3-4954-a39a-d9db78cf29d5" providerId="ADAL" clId="{52D8CC9E-B5DF-4444-9B4B-7497A5B638E0}" dt="2024-06-26T12:12:19.944" v="152"/>
          <ac:picMkLst>
            <pc:docMk/>
            <pc:sldMk cId="1723735933" sldId="2147469485"/>
            <ac:picMk id="25" creationId="{85EFFF73-7C76-BB5B-B41E-A96801170377}"/>
          </ac:picMkLst>
        </pc:picChg>
        <pc:picChg chg="mod">
          <ac:chgData name="Jacobs, Laura (Div)" userId="99fa74c6-ede3-4954-a39a-d9db78cf29d5" providerId="ADAL" clId="{52D8CC9E-B5DF-4444-9B4B-7497A5B638E0}" dt="2024-06-26T12:12:19.944" v="152"/>
          <ac:picMkLst>
            <pc:docMk/>
            <pc:sldMk cId="1723735933" sldId="2147469485"/>
            <ac:picMk id="27" creationId="{014CA52D-3ADC-FC22-0074-A242889427EF}"/>
          </ac:picMkLst>
        </pc:picChg>
        <pc:picChg chg="mod">
          <ac:chgData name="Jacobs, Laura (Div)" userId="99fa74c6-ede3-4954-a39a-d9db78cf29d5" providerId="ADAL" clId="{52D8CC9E-B5DF-4444-9B4B-7497A5B638E0}" dt="2024-06-26T12:12:19.944" v="152"/>
          <ac:picMkLst>
            <pc:docMk/>
            <pc:sldMk cId="1723735933" sldId="2147469485"/>
            <ac:picMk id="29" creationId="{7B7BF360-407A-23F8-640D-479541DC55EA}"/>
          </ac:picMkLst>
        </pc:picChg>
        <pc:picChg chg="add del mod">
          <ac:chgData name="Jacobs, Laura (Div)" userId="99fa74c6-ede3-4954-a39a-d9db78cf29d5" providerId="ADAL" clId="{52D8CC9E-B5DF-4444-9B4B-7497A5B638E0}" dt="2024-06-26T12:23:24.414" v="402" actId="478"/>
          <ac:picMkLst>
            <pc:docMk/>
            <pc:sldMk cId="1723735933" sldId="2147469485"/>
            <ac:picMk id="33" creationId="{71C5472E-58EF-86AD-F89D-690D91467359}"/>
          </ac:picMkLst>
        </pc:picChg>
        <pc:cxnChg chg="del">
          <ac:chgData name="Jacobs, Laura (Div)" userId="99fa74c6-ede3-4954-a39a-d9db78cf29d5" providerId="ADAL" clId="{52D8CC9E-B5DF-4444-9B4B-7497A5B638E0}" dt="2024-06-26T12:01:40.154" v="85" actId="478"/>
          <ac:cxnSpMkLst>
            <pc:docMk/>
            <pc:sldMk cId="1723735933" sldId="2147469485"/>
            <ac:cxnSpMk id="5" creationId="{7449A6B6-45C2-BD74-0B20-95114BDE9DB3}"/>
          </ac:cxnSpMkLst>
        </pc:cxnChg>
        <pc:cxnChg chg="del">
          <ac:chgData name="Jacobs, Laura (Div)" userId="99fa74c6-ede3-4954-a39a-d9db78cf29d5" providerId="ADAL" clId="{52D8CC9E-B5DF-4444-9B4B-7497A5B638E0}" dt="2024-06-26T12:01:40.154" v="85" actId="478"/>
          <ac:cxnSpMkLst>
            <pc:docMk/>
            <pc:sldMk cId="1723735933" sldId="2147469485"/>
            <ac:cxnSpMk id="8" creationId="{693438DE-F882-3445-B169-99BA79C16ABA}"/>
          </ac:cxnSpMkLst>
        </pc:cxnChg>
        <pc:extLst>
          <p:ext xmlns:p="http://schemas.openxmlformats.org/presentationml/2006/main" uri="{D6D511B9-2390-475A-947B-AFAB55BFBCF1}">
            <pc226:cmChg xmlns:pc226="http://schemas.microsoft.com/office/powerpoint/2022/06/main/command" chg="add del">
              <pc226:chgData name="Jacobs, Laura (Div)" userId="99fa74c6-ede3-4954-a39a-d9db78cf29d5" providerId="ADAL" clId="{52D8CC9E-B5DF-4444-9B4B-7497A5B638E0}" dt="2024-07-17T12:45:13.768" v="4864"/>
              <pc2:cmMkLst xmlns:pc2="http://schemas.microsoft.com/office/powerpoint/2019/9/main/command">
                <pc:docMk/>
                <pc:sldMk cId="1723735933" sldId="2147469485"/>
                <pc2:cmMk id="{7A7F3F97-05DB-4C7C-A63A-084CA20D4DD9}"/>
              </pc2:cmMkLst>
            </pc226:cmChg>
          </p:ext>
        </pc:extLst>
      </pc:sldChg>
      <pc:sldChg chg="addSp delSp modSp add del mod">
        <pc:chgData name="Jacobs, Laura (Div)" userId="99fa74c6-ede3-4954-a39a-d9db78cf29d5" providerId="ADAL" clId="{52D8CC9E-B5DF-4444-9B4B-7497A5B638E0}" dt="2024-06-26T12:22:08.100" v="392" actId="47"/>
        <pc:sldMkLst>
          <pc:docMk/>
          <pc:sldMk cId="280154140" sldId="2147469486"/>
        </pc:sldMkLst>
        <pc:spChg chg="mod">
          <ac:chgData name="Jacobs, Laura (Div)" userId="99fa74c6-ede3-4954-a39a-d9db78cf29d5" providerId="ADAL" clId="{52D8CC9E-B5DF-4444-9B4B-7497A5B638E0}" dt="2024-06-26T12:17:23.081" v="347" actId="20577"/>
          <ac:spMkLst>
            <pc:docMk/>
            <pc:sldMk cId="280154140" sldId="2147469486"/>
            <ac:spMk id="2" creationId="{CE0621FC-B1A8-926A-BAE2-5F5EAEBF07FC}"/>
          </ac:spMkLst>
        </pc:spChg>
        <pc:spChg chg="mod">
          <ac:chgData name="Jacobs, Laura (Div)" userId="99fa74c6-ede3-4954-a39a-d9db78cf29d5" providerId="ADAL" clId="{52D8CC9E-B5DF-4444-9B4B-7497A5B638E0}" dt="2024-06-26T12:17:40.829" v="353" actId="20577"/>
          <ac:spMkLst>
            <pc:docMk/>
            <pc:sldMk cId="280154140" sldId="2147469486"/>
            <ac:spMk id="9" creationId="{8D66EEE2-E092-F3D0-9DD4-C16582C4C438}"/>
          </ac:spMkLst>
        </pc:spChg>
        <pc:spChg chg="del">
          <ac:chgData name="Jacobs, Laura (Div)" userId="99fa74c6-ede3-4954-a39a-d9db78cf29d5" providerId="ADAL" clId="{52D8CC9E-B5DF-4444-9B4B-7497A5B638E0}" dt="2024-06-26T12:17:27.936" v="348" actId="478"/>
          <ac:spMkLst>
            <pc:docMk/>
            <pc:sldMk cId="280154140" sldId="2147469486"/>
            <ac:spMk id="10" creationId="{4538F502-DC50-E109-BE3D-BC2061C47329}"/>
          </ac:spMkLst>
        </pc:spChg>
        <pc:spChg chg="del">
          <ac:chgData name="Jacobs, Laura (Div)" userId="99fa74c6-ede3-4954-a39a-d9db78cf29d5" providerId="ADAL" clId="{52D8CC9E-B5DF-4444-9B4B-7497A5B638E0}" dt="2024-06-26T12:17:27.936" v="348" actId="478"/>
          <ac:spMkLst>
            <pc:docMk/>
            <pc:sldMk cId="280154140" sldId="2147469486"/>
            <ac:spMk id="11" creationId="{1C0E04DC-22E4-9CD4-5963-53F58F10E45E}"/>
          </ac:spMkLst>
        </pc:spChg>
        <pc:spChg chg="del">
          <ac:chgData name="Jacobs, Laura (Div)" userId="99fa74c6-ede3-4954-a39a-d9db78cf29d5" providerId="ADAL" clId="{52D8CC9E-B5DF-4444-9B4B-7497A5B638E0}" dt="2024-06-26T12:17:27.936" v="348" actId="478"/>
          <ac:spMkLst>
            <pc:docMk/>
            <pc:sldMk cId="280154140" sldId="2147469486"/>
            <ac:spMk id="12" creationId="{22D6BB9A-2124-3732-1743-BFC017546738}"/>
          </ac:spMkLst>
        </pc:spChg>
        <pc:spChg chg="del">
          <ac:chgData name="Jacobs, Laura (Div)" userId="99fa74c6-ede3-4954-a39a-d9db78cf29d5" providerId="ADAL" clId="{52D8CC9E-B5DF-4444-9B4B-7497A5B638E0}" dt="2024-06-26T12:17:27.936" v="348" actId="478"/>
          <ac:spMkLst>
            <pc:docMk/>
            <pc:sldMk cId="280154140" sldId="2147469486"/>
            <ac:spMk id="13" creationId="{242A7844-63FD-EB7E-DB69-BA728B10AC53}"/>
          </ac:spMkLst>
        </pc:spChg>
        <pc:spChg chg="del">
          <ac:chgData name="Jacobs, Laura (Div)" userId="99fa74c6-ede3-4954-a39a-d9db78cf29d5" providerId="ADAL" clId="{52D8CC9E-B5DF-4444-9B4B-7497A5B638E0}" dt="2024-06-26T12:17:30.606" v="349" actId="478"/>
          <ac:spMkLst>
            <pc:docMk/>
            <pc:sldMk cId="280154140" sldId="2147469486"/>
            <ac:spMk id="14" creationId="{1D51FD0A-F6B8-A27A-E265-3A7C765FB41D}"/>
          </ac:spMkLst>
        </pc:spChg>
        <pc:spChg chg="del">
          <ac:chgData name="Jacobs, Laura (Div)" userId="99fa74c6-ede3-4954-a39a-d9db78cf29d5" providerId="ADAL" clId="{52D8CC9E-B5DF-4444-9B4B-7497A5B638E0}" dt="2024-06-26T12:17:27.936" v="348" actId="478"/>
          <ac:spMkLst>
            <pc:docMk/>
            <pc:sldMk cId="280154140" sldId="2147469486"/>
            <ac:spMk id="16" creationId="{283E5A9E-141D-7F63-4060-1E3A92E45E16}"/>
          </ac:spMkLst>
        </pc:spChg>
        <pc:spChg chg="del">
          <ac:chgData name="Jacobs, Laura (Div)" userId="99fa74c6-ede3-4954-a39a-d9db78cf29d5" providerId="ADAL" clId="{52D8CC9E-B5DF-4444-9B4B-7497A5B638E0}" dt="2024-06-26T12:17:27.936" v="348" actId="478"/>
          <ac:spMkLst>
            <pc:docMk/>
            <pc:sldMk cId="280154140" sldId="2147469486"/>
            <ac:spMk id="17" creationId="{3B2A8B46-F70B-03D7-A6E9-40F5FFAB7D65}"/>
          </ac:spMkLst>
        </pc:spChg>
        <pc:spChg chg="mod">
          <ac:chgData name="Jacobs, Laura (Div)" userId="99fa74c6-ede3-4954-a39a-d9db78cf29d5" providerId="ADAL" clId="{52D8CC9E-B5DF-4444-9B4B-7497A5B638E0}" dt="2024-06-26T12:19:12.299" v="370" actId="1076"/>
          <ac:spMkLst>
            <pc:docMk/>
            <pc:sldMk cId="280154140" sldId="2147469486"/>
            <ac:spMk id="18" creationId="{9E3CE017-7E97-A99B-5624-ABD17DFDB21F}"/>
          </ac:spMkLst>
        </pc:spChg>
        <pc:spChg chg="del">
          <ac:chgData name="Jacobs, Laura (Div)" userId="99fa74c6-ede3-4954-a39a-d9db78cf29d5" providerId="ADAL" clId="{52D8CC9E-B5DF-4444-9B4B-7497A5B638E0}" dt="2024-06-26T12:17:27.936" v="348" actId="478"/>
          <ac:spMkLst>
            <pc:docMk/>
            <pc:sldMk cId="280154140" sldId="2147469486"/>
            <ac:spMk id="19" creationId="{FAF97152-FCAC-F7FB-DD30-3056F96C5241}"/>
          </ac:spMkLst>
        </pc:spChg>
        <pc:spChg chg="mod">
          <ac:chgData name="Jacobs, Laura (Div)" userId="99fa74c6-ede3-4954-a39a-d9db78cf29d5" providerId="ADAL" clId="{52D8CC9E-B5DF-4444-9B4B-7497A5B638E0}" dt="2024-06-26T12:19:22.466" v="372" actId="1076"/>
          <ac:spMkLst>
            <pc:docMk/>
            <pc:sldMk cId="280154140" sldId="2147469486"/>
            <ac:spMk id="21" creationId="{B4AA4482-C264-A3A0-3592-2AEDEF9BA644}"/>
          </ac:spMkLst>
        </pc:spChg>
        <pc:spChg chg="mod">
          <ac:chgData name="Jacobs, Laura (Div)" userId="99fa74c6-ede3-4954-a39a-d9db78cf29d5" providerId="ADAL" clId="{52D8CC9E-B5DF-4444-9B4B-7497A5B638E0}" dt="2024-06-26T12:19:15.591" v="371" actId="1076"/>
          <ac:spMkLst>
            <pc:docMk/>
            <pc:sldMk cId="280154140" sldId="2147469486"/>
            <ac:spMk id="23" creationId="{B150C9C5-248C-CE82-DBE7-A2377BE04DA4}"/>
          </ac:spMkLst>
        </pc:spChg>
        <pc:grpChg chg="add mod">
          <ac:chgData name="Jacobs, Laura (Div)" userId="99fa74c6-ede3-4954-a39a-d9db78cf29d5" providerId="ADAL" clId="{52D8CC9E-B5DF-4444-9B4B-7497A5B638E0}" dt="2024-06-26T12:18:23.966" v="362" actId="1076"/>
          <ac:grpSpMkLst>
            <pc:docMk/>
            <pc:sldMk cId="280154140" sldId="2147469486"/>
            <ac:grpSpMk id="3" creationId="{DBB2540B-0594-A120-19D2-913B4DDDC6C4}"/>
          </ac:grpSpMkLst>
        </pc:grpChg>
        <pc:grpChg chg="mod">
          <ac:chgData name="Jacobs, Laura (Div)" userId="99fa74c6-ede3-4954-a39a-d9db78cf29d5" providerId="ADAL" clId="{52D8CC9E-B5DF-4444-9B4B-7497A5B638E0}" dt="2024-06-26T12:17:54.622" v="354"/>
          <ac:grpSpMkLst>
            <pc:docMk/>
            <pc:sldMk cId="280154140" sldId="2147469486"/>
            <ac:grpSpMk id="5" creationId="{EFB8E7AA-3E76-35A6-516A-ED7B59FF837E}"/>
          </ac:grpSpMkLst>
        </pc:grpChg>
        <pc:grpChg chg="mod">
          <ac:chgData name="Jacobs, Laura (Div)" userId="99fa74c6-ede3-4954-a39a-d9db78cf29d5" providerId="ADAL" clId="{52D8CC9E-B5DF-4444-9B4B-7497A5B638E0}" dt="2024-06-26T12:17:54.622" v="354"/>
          <ac:grpSpMkLst>
            <pc:docMk/>
            <pc:sldMk cId="280154140" sldId="2147469486"/>
            <ac:grpSpMk id="8" creationId="{14303BAC-8621-260E-BA9B-EA5093DA99AD}"/>
          </ac:grpSpMkLst>
        </pc:grpChg>
        <pc:grpChg chg="mod">
          <ac:chgData name="Jacobs, Laura (Div)" userId="99fa74c6-ede3-4954-a39a-d9db78cf29d5" providerId="ADAL" clId="{52D8CC9E-B5DF-4444-9B4B-7497A5B638E0}" dt="2024-06-26T12:17:54.622" v="354"/>
          <ac:grpSpMkLst>
            <pc:docMk/>
            <pc:sldMk cId="280154140" sldId="2147469486"/>
            <ac:grpSpMk id="15" creationId="{8C7EAE80-C4CD-19EB-C81F-C328D264E63B}"/>
          </ac:grpSpMkLst>
        </pc:grpChg>
        <pc:graphicFrameChg chg="del">
          <ac:chgData name="Jacobs, Laura (Div)" userId="99fa74c6-ede3-4954-a39a-d9db78cf29d5" providerId="ADAL" clId="{52D8CC9E-B5DF-4444-9B4B-7497A5B638E0}" dt="2024-06-26T12:17:27.936" v="348" actId="478"/>
          <ac:graphicFrameMkLst>
            <pc:docMk/>
            <pc:sldMk cId="280154140" sldId="2147469486"/>
            <ac:graphicFrameMk id="4" creationId="{B392CA16-BE1A-4A71-4C61-EA5505C61ACE}"/>
          </ac:graphicFrameMkLst>
        </pc:graphicFrameChg>
        <pc:graphicFrameChg chg="del">
          <ac:chgData name="Jacobs, Laura (Div)" userId="99fa74c6-ede3-4954-a39a-d9db78cf29d5" providerId="ADAL" clId="{52D8CC9E-B5DF-4444-9B4B-7497A5B638E0}" dt="2024-06-26T12:17:27.936" v="348" actId="478"/>
          <ac:graphicFrameMkLst>
            <pc:docMk/>
            <pc:sldMk cId="280154140" sldId="2147469486"/>
            <ac:graphicFrameMk id="6" creationId="{DEE8F305-ED61-D2AD-ABE8-D7AF2B661659}"/>
          </ac:graphicFrameMkLst>
        </pc:graphicFrameChg>
        <pc:picChg chg="mod">
          <ac:chgData name="Jacobs, Laura (Div)" userId="99fa74c6-ede3-4954-a39a-d9db78cf29d5" providerId="ADAL" clId="{52D8CC9E-B5DF-4444-9B4B-7497A5B638E0}" dt="2024-06-26T12:18:35.925" v="364" actId="1076"/>
          <ac:picMkLst>
            <pc:docMk/>
            <pc:sldMk cId="280154140" sldId="2147469486"/>
            <ac:picMk id="20" creationId="{A43F5326-876E-EC48-B468-7616A0BBEB13}"/>
          </ac:picMkLst>
        </pc:picChg>
        <pc:picChg chg="mod">
          <ac:chgData name="Jacobs, Laura (Div)" userId="99fa74c6-ede3-4954-a39a-d9db78cf29d5" providerId="ADAL" clId="{52D8CC9E-B5DF-4444-9B4B-7497A5B638E0}" dt="2024-06-26T12:17:54.622" v="354"/>
          <ac:picMkLst>
            <pc:docMk/>
            <pc:sldMk cId="280154140" sldId="2147469486"/>
            <ac:picMk id="22" creationId="{25E504D3-D3A8-E419-62FD-68015905A207}"/>
          </ac:picMkLst>
        </pc:picChg>
        <pc:picChg chg="mod">
          <ac:chgData name="Jacobs, Laura (Div)" userId="99fa74c6-ede3-4954-a39a-d9db78cf29d5" providerId="ADAL" clId="{52D8CC9E-B5DF-4444-9B4B-7497A5B638E0}" dt="2024-06-26T12:18:30.334" v="363" actId="1076"/>
          <ac:picMkLst>
            <pc:docMk/>
            <pc:sldMk cId="280154140" sldId="2147469486"/>
            <ac:picMk id="24" creationId="{87A8C587-D092-3720-B38B-E4D3481751C8}"/>
          </ac:picMkLst>
        </pc:picChg>
      </pc:sldChg>
      <pc:sldChg chg="addSp delSp modSp add del mod">
        <pc:chgData name="Jacobs, Laura (Div)" userId="99fa74c6-ede3-4954-a39a-d9db78cf29d5" providerId="ADAL" clId="{52D8CC9E-B5DF-4444-9B4B-7497A5B638E0}" dt="2024-08-20T15:04:25.380" v="6897" actId="47"/>
        <pc:sldMkLst>
          <pc:docMk/>
          <pc:sldMk cId="2988520547" sldId="2147469486"/>
        </pc:sldMkLst>
        <pc:spChg chg="del">
          <ac:chgData name="Jacobs, Laura (Div)" userId="99fa74c6-ede3-4954-a39a-d9db78cf29d5" providerId="ADAL" clId="{52D8CC9E-B5DF-4444-9B4B-7497A5B638E0}" dt="2024-08-20T14:59:45.276" v="6832" actId="478"/>
          <ac:spMkLst>
            <pc:docMk/>
            <pc:sldMk cId="2988520547" sldId="2147469486"/>
            <ac:spMk id="3" creationId="{95C466A8-18E9-45F0-A398-DE72C33C587B}"/>
          </ac:spMkLst>
        </pc:spChg>
        <pc:spChg chg="del mod">
          <ac:chgData name="Jacobs, Laura (Div)" userId="99fa74c6-ede3-4954-a39a-d9db78cf29d5" providerId="ADAL" clId="{52D8CC9E-B5DF-4444-9B4B-7497A5B638E0}" dt="2024-08-20T15:00:26.589" v="6838" actId="478"/>
          <ac:spMkLst>
            <pc:docMk/>
            <pc:sldMk cId="2988520547" sldId="2147469486"/>
            <ac:spMk id="7" creationId="{AE325D78-F222-3133-D3C0-EEA4BADD4B32}"/>
          </ac:spMkLst>
        </pc:spChg>
        <pc:spChg chg="add mod">
          <ac:chgData name="Jacobs, Laura (Div)" userId="99fa74c6-ede3-4954-a39a-d9db78cf29d5" providerId="ADAL" clId="{52D8CC9E-B5DF-4444-9B4B-7497A5B638E0}" dt="2024-08-20T15:01:22.720" v="6846"/>
          <ac:spMkLst>
            <pc:docMk/>
            <pc:sldMk cId="2988520547" sldId="2147469486"/>
            <ac:spMk id="9" creationId="{6B76DF7D-4A48-8EBA-902E-CEFCF8F2305F}"/>
          </ac:spMkLst>
        </pc:spChg>
        <pc:spChg chg="mod">
          <ac:chgData name="Jacobs, Laura (Div)" userId="99fa74c6-ede3-4954-a39a-d9db78cf29d5" providerId="ADAL" clId="{52D8CC9E-B5DF-4444-9B4B-7497A5B638E0}" dt="2024-08-20T15:03:34.670" v="6896" actId="1076"/>
          <ac:spMkLst>
            <pc:docMk/>
            <pc:sldMk cId="2988520547" sldId="2147469486"/>
            <ac:spMk id="15" creationId="{013DD074-0EFB-2710-7C62-380CAB89EEEB}"/>
          </ac:spMkLst>
        </pc:spChg>
        <pc:spChg chg="add del mod">
          <ac:chgData name="Jacobs, Laura (Div)" userId="99fa74c6-ede3-4954-a39a-d9db78cf29d5" providerId="ADAL" clId="{52D8CC9E-B5DF-4444-9B4B-7497A5B638E0}" dt="2024-08-20T15:03:33.714" v="6894" actId="478"/>
          <ac:spMkLst>
            <pc:docMk/>
            <pc:sldMk cId="2988520547" sldId="2147469486"/>
            <ac:spMk id="16" creationId="{EA48AF0B-E515-BC28-DA5C-D0D9431DFD2B}"/>
          </ac:spMkLst>
        </pc:spChg>
        <pc:spChg chg="add mod">
          <ac:chgData name="Jacobs, Laura (Div)" userId="99fa74c6-ede3-4954-a39a-d9db78cf29d5" providerId="ADAL" clId="{52D8CC9E-B5DF-4444-9B4B-7497A5B638E0}" dt="2024-08-20T15:03:30.343" v="6888"/>
          <ac:spMkLst>
            <pc:docMk/>
            <pc:sldMk cId="2988520547" sldId="2147469486"/>
            <ac:spMk id="19" creationId="{58E82600-D3C8-5161-690E-FD4332AF92C2}"/>
          </ac:spMkLst>
        </pc:spChg>
        <pc:spChg chg="add mod">
          <ac:chgData name="Jacobs, Laura (Div)" userId="99fa74c6-ede3-4954-a39a-d9db78cf29d5" providerId="ADAL" clId="{52D8CC9E-B5DF-4444-9B4B-7497A5B638E0}" dt="2024-08-20T15:02:10.819" v="6859"/>
          <ac:spMkLst>
            <pc:docMk/>
            <pc:sldMk cId="2988520547" sldId="2147469486"/>
            <ac:spMk id="23" creationId="{E2ABB432-BA12-23D9-95F5-73119396775F}"/>
          </ac:spMkLst>
        </pc:spChg>
        <pc:picChg chg="add del mod">
          <ac:chgData name="Jacobs, Laura (Div)" userId="99fa74c6-ede3-4954-a39a-d9db78cf29d5" providerId="ADAL" clId="{52D8CC9E-B5DF-4444-9B4B-7497A5B638E0}" dt="2024-08-20T15:03:34.194" v="6895" actId="478"/>
          <ac:picMkLst>
            <pc:docMk/>
            <pc:sldMk cId="2988520547" sldId="2147469486"/>
            <ac:picMk id="4" creationId="{84FB06FD-DA35-F82E-98EF-D0AD514CFCA8}"/>
          </ac:picMkLst>
        </pc:picChg>
        <pc:picChg chg="add mod">
          <ac:chgData name="Jacobs, Laura (Div)" userId="99fa74c6-ede3-4954-a39a-d9db78cf29d5" providerId="ADAL" clId="{52D8CC9E-B5DF-4444-9B4B-7497A5B638E0}" dt="2024-08-20T15:01:22.720" v="6846"/>
          <ac:picMkLst>
            <pc:docMk/>
            <pc:sldMk cId="2988520547" sldId="2147469486"/>
            <ac:picMk id="12" creationId="{34CD3F47-AC62-8286-57BB-9B50BBF7E08D}"/>
          </ac:picMkLst>
        </pc:picChg>
        <pc:picChg chg="add del mod">
          <ac:chgData name="Jacobs, Laura (Div)" userId="99fa74c6-ede3-4954-a39a-d9db78cf29d5" providerId="ADAL" clId="{52D8CC9E-B5DF-4444-9B4B-7497A5B638E0}" dt="2024-08-20T15:03:32.934" v="6893" actId="478"/>
          <ac:picMkLst>
            <pc:docMk/>
            <pc:sldMk cId="2988520547" sldId="2147469486"/>
            <ac:picMk id="20" creationId="{F62D646A-F1AB-1034-A2E6-BD63E3BC768C}"/>
          </ac:picMkLst>
        </pc:picChg>
        <pc:picChg chg="add del mod">
          <ac:chgData name="Jacobs, Laura (Div)" userId="99fa74c6-ede3-4954-a39a-d9db78cf29d5" providerId="ADAL" clId="{52D8CC9E-B5DF-4444-9B4B-7497A5B638E0}" dt="2024-08-20T15:03:31.947" v="6891" actId="478"/>
          <ac:picMkLst>
            <pc:docMk/>
            <pc:sldMk cId="2988520547" sldId="2147469486"/>
            <ac:picMk id="21" creationId="{F710EE1A-4C02-3505-6C57-6C4B1F9B3EC5}"/>
          </ac:picMkLst>
        </pc:picChg>
        <pc:picChg chg="add del mod">
          <ac:chgData name="Jacobs, Laura (Div)" userId="99fa74c6-ede3-4954-a39a-d9db78cf29d5" providerId="ADAL" clId="{52D8CC9E-B5DF-4444-9B4B-7497A5B638E0}" dt="2024-08-20T15:03:32.317" v="6892" actId="478"/>
          <ac:picMkLst>
            <pc:docMk/>
            <pc:sldMk cId="2988520547" sldId="2147469486"/>
            <ac:picMk id="22" creationId="{191C8A5C-F8BF-3BC9-AFEA-17840B852030}"/>
          </ac:picMkLst>
        </pc:picChg>
        <pc:picChg chg="add mod">
          <ac:chgData name="Jacobs, Laura (Div)" userId="99fa74c6-ede3-4954-a39a-d9db78cf29d5" providerId="ADAL" clId="{52D8CC9E-B5DF-4444-9B4B-7497A5B638E0}" dt="2024-08-20T15:02:10.819" v="6859"/>
          <ac:picMkLst>
            <pc:docMk/>
            <pc:sldMk cId="2988520547" sldId="2147469486"/>
            <ac:picMk id="26" creationId="{7ECB0BD6-D522-4651-456B-695D6011613C}"/>
          </ac:picMkLst>
        </pc:picChg>
        <pc:cxnChg chg="add mod">
          <ac:chgData name="Jacobs, Laura (Div)" userId="99fa74c6-ede3-4954-a39a-d9db78cf29d5" providerId="ADAL" clId="{52D8CC9E-B5DF-4444-9B4B-7497A5B638E0}" dt="2024-08-20T15:01:22.720" v="6846"/>
          <ac:cxnSpMkLst>
            <pc:docMk/>
            <pc:sldMk cId="2988520547" sldId="2147469486"/>
            <ac:cxnSpMk id="6" creationId="{C53725D3-26AF-2069-D177-87C1893803D4}"/>
          </ac:cxnSpMkLst>
        </pc:cxnChg>
        <pc:cxnChg chg="add mod">
          <ac:chgData name="Jacobs, Laura (Div)" userId="99fa74c6-ede3-4954-a39a-d9db78cf29d5" providerId="ADAL" clId="{52D8CC9E-B5DF-4444-9B4B-7497A5B638E0}" dt="2024-08-20T15:01:22.720" v="6846"/>
          <ac:cxnSpMkLst>
            <pc:docMk/>
            <pc:sldMk cId="2988520547" sldId="2147469486"/>
            <ac:cxnSpMk id="8" creationId="{2A8C4D35-46AB-C7C4-A5CC-1A4CEF7EF1FF}"/>
          </ac:cxnSpMkLst>
        </pc:cxnChg>
        <pc:cxnChg chg="add del mod">
          <ac:chgData name="Jacobs, Laura (Div)" userId="99fa74c6-ede3-4954-a39a-d9db78cf29d5" providerId="ADAL" clId="{52D8CC9E-B5DF-4444-9B4B-7497A5B638E0}" dt="2024-08-20T15:03:31.505" v="6890" actId="478"/>
          <ac:cxnSpMkLst>
            <pc:docMk/>
            <pc:sldMk cId="2988520547" sldId="2147469486"/>
            <ac:cxnSpMk id="13" creationId="{DA1E6C1E-BB82-D67E-D698-43301F0EBE8D}"/>
          </ac:cxnSpMkLst>
        </pc:cxnChg>
        <pc:cxnChg chg="add del mod">
          <ac:chgData name="Jacobs, Laura (Div)" userId="99fa74c6-ede3-4954-a39a-d9db78cf29d5" providerId="ADAL" clId="{52D8CC9E-B5DF-4444-9B4B-7497A5B638E0}" dt="2024-08-20T15:03:31.505" v="6890" actId="478"/>
          <ac:cxnSpMkLst>
            <pc:docMk/>
            <pc:sldMk cId="2988520547" sldId="2147469486"/>
            <ac:cxnSpMk id="14" creationId="{B67E75F8-D406-E5DA-70A4-3F5AF3D19F3F}"/>
          </ac:cxnSpMkLst>
        </pc:cxnChg>
        <pc:cxnChg chg="add del mod">
          <ac:chgData name="Jacobs, Laura (Div)" userId="99fa74c6-ede3-4954-a39a-d9db78cf29d5" providerId="ADAL" clId="{52D8CC9E-B5DF-4444-9B4B-7497A5B638E0}" dt="2024-08-20T15:03:31.505" v="6890" actId="478"/>
          <ac:cxnSpMkLst>
            <pc:docMk/>
            <pc:sldMk cId="2988520547" sldId="2147469486"/>
            <ac:cxnSpMk id="17" creationId="{D440D7D4-E3F5-25B9-6EA6-0BB664430E3D}"/>
          </ac:cxnSpMkLst>
        </pc:cxnChg>
        <pc:cxnChg chg="add del mod">
          <ac:chgData name="Jacobs, Laura (Div)" userId="99fa74c6-ede3-4954-a39a-d9db78cf29d5" providerId="ADAL" clId="{52D8CC9E-B5DF-4444-9B4B-7497A5B638E0}" dt="2024-08-20T15:03:31.505" v="6890" actId="478"/>
          <ac:cxnSpMkLst>
            <pc:docMk/>
            <pc:sldMk cId="2988520547" sldId="2147469486"/>
            <ac:cxnSpMk id="18" creationId="{0D3B6FDF-30F6-0534-81A8-E5107F7B5F0A}"/>
          </ac:cxnSpMkLst>
        </pc:cxnChg>
        <pc:cxnChg chg="add mod">
          <ac:chgData name="Jacobs, Laura (Div)" userId="99fa74c6-ede3-4954-a39a-d9db78cf29d5" providerId="ADAL" clId="{52D8CC9E-B5DF-4444-9B4B-7497A5B638E0}" dt="2024-08-20T15:02:10.819" v="6859"/>
          <ac:cxnSpMkLst>
            <pc:docMk/>
            <pc:sldMk cId="2988520547" sldId="2147469486"/>
            <ac:cxnSpMk id="24" creationId="{3F4EAC6F-74CF-D048-D1FA-7A941B924B19}"/>
          </ac:cxnSpMkLst>
        </pc:cxnChg>
        <pc:cxnChg chg="add mod">
          <ac:chgData name="Jacobs, Laura (Div)" userId="99fa74c6-ede3-4954-a39a-d9db78cf29d5" providerId="ADAL" clId="{52D8CC9E-B5DF-4444-9B4B-7497A5B638E0}" dt="2024-08-20T15:02:10.819" v="6859"/>
          <ac:cxnSpMkLst>
            <pc:docMk/>
            <pc:sldMk cId="2988520547" sldId="2147469486"/>
            <ac:cxnSpMk id="25" creationId="{13793FF8-69AE-3B39-4BD4-34B3FA99657A}"/>
          </ac:cxnSpMkLst>
        </pc:cxnChg>
      </pc:sldChg>
    </pc:docChg>
  </pc:docChgLst>
  <pc:docChgLst>
    <pc:chgData name="Sandhu, Mandy" userId="98143d38-fabb-4836-a94d-776f5c44adcc" providerId="ADAL" clId="{C0852130-926E-485C-A54C-47F81616D65F}"/>
    <pc:docChg chg="modSld">
      <pc:chgData name="Sandhu, Mandy" userId="98143d38-fabb-4836-a94d-776f5c44adcc" providerId="ADAL" clId="{C0852130-926E-485C-A54C-47F81616D65F}" dt="2024-09-23T11:33:27.594" v="8" actId="1076"/>
      <pc:docMkLst>
        <pc:docMk/>
      </pc:docMkLst>
      <pc:sldChg chg="addSp delSp modSp">
        <pc:chgData name="Sandhu, Mandy" userId="98143d38-fabb-4836-a94d-776f5c44adcc" providerId="ADAL" clId="{C0852130-926E-485C-A54C-47F81616D65F}" dt="2024-09-23T11:33:27.594" v="8" actId="1076"/>
        <pc:sldMkLst>
          <pc:docMk/>
          <pc:sldMk cId="3535469502" sldId="2147469323"/>
        </pc:sldMkLst>
        <pc:picChg chg="add mod">
          <ac:chgData name="Sandhu, Mandy" userId="98143d38-fabb-4836-a94d-776f5c44adcc" providerId="ADAL" clId="{C0852130-926E-485C-A54C-47F81616D65F}" dt="2024-09-23T11:33:27.594" v="8" actId="1076"/>
          <ac:picMkLst>
            <pc:docMk/>
            <pc:sldMk cId="3535469502" sldId="2147469323"/>
            <ac:picMk id="3" creationId="{0C69E6AC-E571-20A3-777C-86C31D5DF920}"/>
          </ac:picMkLst>
        </pc:picChg>
        <pc:picChg chg="add del mod">
          <ac:chgData name="Sandhu, Mandy" userId="98143d38-fabb-4836-a94d-776f5c44adcc" providerId="ADAL" clId="{C0852130-926E-485C-A54C-47F81616D65F}" dt="2024-09-23T11:33:23.624" v="7" actId="478"/>
          <ac:picMkLst>
            <pc:docMk/>
            <pc:sldMk cId="3535469502" sldId="2147469323"/>
            <ac:picMk id="1026" creationId="{F4997EE0-A01F-7B29-143C-E310283EA112}"/>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467102-24AE-49B6-9123-3C00347421DA}" type="doc">
      <dgm:prSet loTypeId="urn:microsoft.com/office/officeart/2005/8/layout/pyramid3" loCatId="pyramid" qsTypeId="urn:microsoft.com/office/officeart/2005/8/quickstyle/simple1" qsCatId="simple" csTypeId="urn:microsoft.com/office/officeart/2005/8/colors/accent1_3" csCatId="accent1" phldr="1"/>
      <dgm:spPr/>
    </dgm:pt>
    <dgm:pt modelId="{31FDF5EA-E052-443E-A72A-ECD2BBF0A997}">
      <dgm:prSet phldrT="[Text]" custT="1"/>
      <dgm:spPr>
        <a:solidFill>
          <a:schemeClr val="accent4"/>
        </a:solidFill>
        <a:ln w="25400">
          <a:solidFill>
            <a:schemeClr val="bg2"/>
          </a:solidFill>
        </a:ln>
      </dgm:spPr>
      <dgm:t>
        <a:bodyPr/>
        <a:lstStyle/>
        <a:p>
          <a:r>
            <a:rPr lang="en-US" sz="1200" b="0" dirty="0">
              <a:solidFill>
                <a:schemeClr val="accent1"/>
              </a:solidFill>
            </a:rPr>
            <a:t>Clinical</a:t>
          </a:r>
          <a:r>
            <a:rPr lang="en-US" sz="1200" b="0" dirty="0">
              <a:solidFill>
                <a:schemeClr val="bg1"/>
              </a:solidFill>
            </a:rPr>
            <a:t> </a:t>
          </a:r>
          <a:r>
            <a:rPr lang="en-US" sz="1200" b="0" dirty="0">
              <a:solidFill>
                <a:schemeClr val="accent1"/>
              </a:solidFill>
            </a:rPr>
            <a:t>studies</a:t>
          </a:r>
        </a:p>
      </dgm:t>
    </dgm:pt>
    <dgm:pt modelId="{DE190A3A-0224-4FF2-A463-441FF86F401F}" type="parTrans" cxnId="{F77D35C5-2C2D-4865-81E8-E3994FA0EEEB}">
      <dgm:prSet/>
      <dgm:spPr/>
      <dgm:t>
        <a:bodyPr/>
        <a:lstStyle/>
        <a:p>
          <a:endParaRPr lang="en-US" b="1">
            <a:solidFill>
              <a:schemeClr val="bg1"/>
            </a:solidFill>
          </a:endParaRPr>
        </a:p>
      </dgm:t>
    </dgm:pt>
    <dgm:pt modelId="{157C8438-A379-4158-959F-8058577E1427}" type="sibTrans" cxnId="{F77D35C5-2C2D-4865-81E8-E3994FA0EEEB}">
      <dgm:prSet/>
      <dgm:spPr/>
      <dgm:t>
        <a:bodyPr/>
        <a:lstStyle/>
        <a:p>
          <a:endParaRPr lang="en-US" b="1">
            <a:solidFill>
              <a:schemeClr val="bg1"/>
            </a:solidFill>
          </a:endParaRPr>
        </a:p>
      </dgm:t>
    </dgm:pt>
    <dgm:pt modelId="{FCDD0FD2-BF41-4766-B9DA-3A70B2339B59}">
      <dgm:prSet phldrT="[Text]" custT="1"/>
      <dgm:spPr>
        <a:solidFill>
          <a:schemeClr val="accent3"/>
        </a:solidFill>
        <a:ln w="25400">
          <a:solidFill>
            <a:schemeClr val="bg2"/>
          </a:solidFill>
        </a:ln>
      </dgm:spPr>
      <dgm:t>
        <a:bodyPr/>
        <a:lstStyle/>
        <a:p>
          <a:r>
            <a:rPr lang="en-US" sz="1200" b="0" dirty="0">
              <a:solidFill>
                <a:schemeClr val="bg1"/>
              </a:solidFill>
            </a:rPr>
            <a:t>PK/PD</a:t>
          </a:r>
        </a:p>
      </dgm:t>
    </dgm:pt>
    <dgm:pt modelId="{871770BD-A4E4-419D-80DB-F18DE2BE1335}" type="parTrans" cxnId="{C1FC623A-2BF0-4AFF-A370-F8289108BFB9}">
      <dgm:prSet/>
      <dgm:spPr/>
      <dgm:t>
        <a:bodyPr/>
        <a:lstStyle/>
        <a:p>
          <a:endParaRPr lang="en-US" b="1">
            <a:solidFill>
              <a:schemeClr val="bg1"/>
            </a:solidFill>
          </a:endParaRPr>
        </a:p>
      </dgm:t>
    </dgm:pt>
    <dgm:pt modelId="{A13F3988-6873-4FAD-80F4-0A5E1496CB73}" type="sibTrans" cxnId="{C1FC623A-2BF0-4AFF-A370-F8289108BFB9}">
      <dgm:prSet/>
      <dgm:spPr/>
      <dgm:t>
        <a:bodyPr/>
        <a:lstStyle/>
        <a:p>
          <a:endParaRPr lang="en-US" b="1">
            <a:solidFill>
              <a:schemeClr val="bg1"/>
            </a:solidFill>
          </a:endParaRPr>
        </a:p>
      </dgm:t>
    </dgm:pt>
    <dgm:pt modelId="{D3D4A11F-7F89-458B-8337-6F2CB8D27F60}">
      <dgm:prSet phldrT="[Text]" custT="1"/>
      <dgm:spPr>
        <a:solidFill>
          <a:schemeClr val="accent2"/>
        </a:solidFill>
        <a:ln w="25400">
          <a:solidFill>
            <a:schemeClr val="bg2"/>
          </a:solidFill>
        </a:ln>
      </dgm:spPr>
      <dgm:t>
        <a:bodyPr/>
        <a:lstStyle/>
        <a:p>
          <a:r>
            <a:rPr lang="de-DE" sz="1000" b="0" dirty="0" err="1">
              <a:solidFill>
                <a:schemeClr val="bg1"/>
              </a:solidFill>
            </a:rPr>
            <a:t>Preclinical</a:t>
          </a:r>
          <a:r>
            <a:rPr lang="de-DE" sz="1000" b="0" dirty="0">
              <a:solidFill>
                <a:schemeClr val="bg1"/>
              </a:solidFill>
            </a:rPr>
            <a:t> / </a:t>
          </a:r>
          <a:r>
            <a:rPr lang="de-DE" sz="1000" b="0" dirty="0" err="1">
              <a:solidFill>
                <a:schemeClr val="bg1"/>
              </a:solidFill>
            </a:rPr>
            <a:t>toxicity</a:t>
          </a:r>
          <a:r>
            <a:rPr lang="de-DE" sz="1000" b="0" dirty="0">
              <a:solidFill>
                <a:schemeClr val="bg1"/>
              </a:solidFill>
            </a:rPr>
            <a:t> </a:t>
          </a:r>
          <a:r>
            <a:rPr lang="de-DE" sz="1000" b="0" dirty="0" err="1">
              <a:solidFill>
                <a:schemeClr val="bg1"/>
              </a:solidFill>
            </a:rPr>
            <a:t>assessment</a:t>
          </a:r>
          <a:endParaRPr lang="en-US" sz="1600" b="0" dirty="0">
            <a:solidFill>
              <a:schemeClr val="bg1"/>
            </a:solidFill>
          </a:endParaRPr>
        </a:p>
      </dgm:t>
    </dgm:pt>
    <dgm:pt modelId="{B8287488-7447-43F9-B13C-CFBDF97F7588}" type="parTrans" cxnId="{615D1887-6C88-4F47-BE83-2277D55050E0}">
      <dgm:prSet/>
      <dgm:spPr/>
      <dgm:t>
        <a:bodyPr/>
        <a:lstStyle/>
        <a:p>
          <a:endParaRPr lang="en-US" b="1">
            <a:solidFill>
              <a:schemeClr val="bg1"/>
            </a:solidFill>
          </a:endParaRPr>
        </a:p>
      </dgm:t>
    </dgm:pt>
    <dgm:pt modelId="{1D55A87B-ABF5-4CDC-AFC2-CD680409750B}" type="sibTrans" cxnId="{615D1887-6C88-4F47-BE83-2277D55050E0}">
      <dgm:prSet/>
      <dgm:spPr/>
      <dgm:t>
        <a:bodyPr/>
        <a:lstStyle/>
        <a:p>
          <a:endParaRPr lang="en-US" b="1">
            <a:solidFill>
              <a:schemeClr val="bg1"/>
            </a:solidFill>
          </a:endParaRPr>
        </a:p>
      </dgm:t>
    </dgm:pt>
    <dgm:pt modelId="{A677A5C7-3ED4-426F-A72D-61CAE924DFC8}">
      <dgm:prSet custT="1"/>
      <dgm:spPr>
        <a:solidFill>
          <a:schemeClr val="accent1"/>
        </a:solidFill>
        <a:ln w="25400">
          <a:solidFill>
            <a:schemeClr val="bg2"/>
          </a:solidFill>
        </a:ln>
      </dgm:spPr>
      <dgm:t>
        <a:bodyPr/>
        <a:lstStyle/>
        <a:p>
          <a:endParaRPr lang="en-US" sz="2000" b="1" dirty="0">
            <a:solidFill>
              <a:schemeClr val="bg1"/>
            </a:solidFill>
          </a:endParaRPr>
        </a:p>
      </dgm:t>
    </dgm:pt>
    <dgm:pt modelId="{FAFC5F02-3AF7-4F84-8BE5-009B0986ABE6}" type="parTrans" cxnId="{0B826F01-6334-4A53-BCD5-183360552304}">
      <dgm:prSet/>
      <dgm:spPr/>
      <dgm:t>
        <a:bodyPr/>
        <a:lstStyle/>
        <a:p>
          <a:endParaRPr lang="en-US" b="1">
            <a:solidFill>
              <a:schemeClr val="bg1"/>
            </a:solidFill>
          </a:endParaRPr>
        </a:p>
      </dgm:t>
    </dgm:pt>
    <dgm:pt modelId="{E1FAE674-6B2B-4688-A33E-1E3AAA5B6B42}" type="sibTrans" cxnId="{0B826F01-6334-4A53-BCD5-183360552304}">
      <dgm:prSet/>
      <dgm:spPr/>
      <dgm:t>
        <a:bodyPr/>
        <a:lstStyle/>
        <a:p>
          <a:endParaRPr lang="en-US" b="1">
            <a:solidFill>
              <a:schemeClr val="bg1"/>
            </a:solidFill>
          </a:endParaRPr>
        </a:p>
      </dgm:t>
    </dgm:pt>
    <dgm:pt modelId="{C7301407-384B-4D11-B357-2E35D779450C}" type="pres">
      <dgm:prSet presAssocID="{F9467102-24AE-49B6-9123-3C00347421DA}" presName="Name0" presStyleCnt="0">
        <dgm:presLayoutVars>
          <dgm:dir/>
          <dgm:animLvl val="lvl"/>
          <dgm:resizeHandles val="exact"/>
        </dgm:presLayoutVars>
      </dgm:prSet>
      <dgm:spPr/>
    </dgm:pt>
    <dgm:pt modelId="{46746345-0424-498C-9421-34C6612A4C09}" type="pres">
      <dgm:prSet presAssocID="{31FDF5EA-E052-443E-A72A-ECD2BBF0A997}" presName="Name8" presStyleCnt="0"/>
      <dgm:spPr/>
    </dgm:pt>
    <dgm:pt modelId="{2270AEAF-FD5A-4CC2-9BD1-F971204C5449}" type="pres">
      <dgm:prSet presAssocID="{31FDF5EA-E052-443E-A72A-ECD2BBF0A997}" presName="level" presStyleLbl="node1" presStyleIdx="0" presStyleCnt="4" custLinFactNeighborX="194" custLinFactNeighborY="-598">
        <dgm:presLayoutVars>
          <dgm:chMax val="1"/>
          <dgm:bulletEnabled val="1"/>
        </dgm:presLayoutVars>
      </dgm:prSet>
      <dgm:spPr/>
    </dgm:pt>
    <dgm:pt modelId="{748E15B9-EE5A-44C0-943F-75B72E20337E}" type="pres">
      <dgm:prSet presAssocID="{31FDF5EA-E052-443E-A72A-ECD2BBF0A997}" presName="levelTx" presStyleLbl="revTx" presStyleIdx="0" presStyleCnt="0">
        <dgm:presLayoutVars>
          <dgm:chMax val="1"/>
          <dgm:bulletEnabled val="1"/>
        </dgm:presLayoutVars>
      </dgm:prSet>
      <dgm:spPr/>
    </dgm:pt>
    <dgm:pt modelId="{9E1E8439-A86E-4590-BF77-91048501C95E}" type="pres">
      <dgm:prSet presAssocID="{FCDD0FD2-BF41-4766-B9DA-3A70B2339B59}" presName="Name8" presStyleCnt="0"/>
      <dgm:spPr/>
    </dgm:pt>
    <dgm:pt modelId="{D2D84698-F298-48B9-BEE3-DA731546C61A}" type="pres">
      <dgm:prSet presAssocID="{FCDD0FD2-BF41-4766-B9DA-3A70B2339B59}" presName="level" presStyleLbl="node1" presStyleIdx="1" presStyleCnt="4" custScaleY="48693">
        <dgm:presLayoutVars>
          <dgm:chMax val="1"/>
          <dgm:bulletEnabled val="1"/>
        </dgm:presLayoutVars>
      </dgm:prSet>
      <dgm:spPr/>
    </dgm:pt>
    <dgm:pt modelId="{3F64AD48-E5AF-4AA7-9B9C-5D185E526B64}" type="pres">
      <dgm:prSet presAssocID="{FCDD0FD2-BF41-4766-B9DA-3A70B2339B59}" presName="levelTx" presStyleLbl="revTx" presStyleIdx="0" presStyleCnt="0">
        <dgm:presLayoutVars>
          <dgm:chMax val="1"/>
          <dgm:bulletEnabled val="1"/>
        </dgm:presLayoutVars>
      </dgm:prSet>
      <dgm:spPr/>
    </dgm:pt>
    <dgm:pt modelId="{FAF4641C-C2EA-4DBA-9A4D-AFAF9AC802AD}" type="pres">
      <dgm:prSet presAssocID="{D3D4A11F-7F89-458B-8337-6F2CB8D27F60}" presName="Name8" presStyleCnt="0"/>
      <dgm:spPr/>
    </dgm:pt>
    <dgm:pt modelId="{0DB2B820-DB04-489E-BCAC-49A40330A07C}" type="pres">
      <dgm:prSet presAssocID="{D3D4A11F-7F89-458B-8337-6F2CB8D27F60}" presName="level" presStyleLbl="node1" presStyleIdx="2" presStyleCnt="4" custScaleY="42523">
        <dgm:presLayoutVars>
          <dgm:chMax val="1"/>
          <dgm:bulletEnabled val="1"/>
        </dgm:presLayoutVars>
      </dgm:prSet>
      <dgm:spPr/>
    </dgm:pt>
    <dgm:pt modelId="{6E69704C-9E74-4EF3-B24F-C05793CD1765}" type="pres">
      <dgm:prSet presAssocID="{D3D4A11F-7F89-458B-8337-6F2CB8D27F60}" presName="levelTx" presStyleLbl="revTx" presStyleIdx="0" presStyleCnt="0">
        <dgm:presLayoutVars>
          <dgm:chMax val="1"/>
          <dgm:bulletEnabled val="1"/>
        </dgm:presLayoutVars>
      </dgm:prSet>
      <dgm:spPr/>
    </dgm:pt>
    <dgm:pt modelId="{9C38D076-ADD6-4E09-A413-A8D0F0C6AF95}" type="pres">
      <dgm:prSet presAssocID="{A677A5C7-3ED4-426F-A72D-61CAE924DFC8}" presName="Name8" presStyleCnt="0"/>
      <dgm:spPr/>
    </dgm:pt>
    <dgm:pt modelId="{4179D814-B39A-48A6-8733-B8A6AE900282}" type="pres">
      <dgm:prSet presAssocID="{A677A5C7-3ED4-426F-A72D-61CAE924DFC8}" presName="level" presStyleLbl="node1" presStyleIdx="3" presStyleCnt="4" custScaleY="40737">
        <dgm:presLayoutVars>
          <dgm:chMax val="1"/>
          <dgm:bulletEnabled val="1"/>
        </dgm:presLayoutVars>
      </dgm:prSet>
      <dgm:spPr/>
    </dgm:pt>
    <dgm:pt modelId="{63794A5E-A35B-49CD-BEC9-64FF8ADCAB74}" type="pres">
      <dgm:prSet presAssocID="{A677A5C7-3ED4-426F-A72D-61CAE924DFC8}" presName="levelTx" presStyleLbl="revTx" presStyleIdx="0" presStyleCnt="0">
        <dgm:presLayoutVars>
          <dgm:chMax val="1"/>
          <dgm:bulletEnabled val="1"/>
        </dgm:presLayoutVars>
      </dgm:prSet>
      <dgm:spPr/>
    </dgm:pt>
  </dgm:ptLst>
  <dgm:cxnLst>
    <dgm:cxn modelId="{0B826F01-6334-4A53-BCD5-183360552304}" srcId="{F9467102-24AE-49B6-9123-3C00347421DA}" destId="{A677A5C7-3ED4-426F-A72D-61CAE924DFC8}" srcOrd="3" destOrd="0" parTransId="{FAFC5F02-3AF7-4F84-8BE5-009B0986ABE6}" sibTransId="{E1FAE674-6B2B-4688-A33E-1E3AAA5B6B42}"/>
    <dgm:cxn modelId="{751AB60F-0DE8-49CF-9C4F-D12A7BCC8968}" type="presOf" srcId="{31FDF5EA-E052-443E-A72A-ECD2BBF0A997}" destId="{2270AEAF-FD5A-4CC2-9BD1-F971204C5449}" srcOrd="0" destOrd="0" presId="urn:microsoft.com/office/officeart/2005/8/layout/pyramid3"/>
    <dgm:cxn modelId="{14059A14-BEF6-4D76-84A9-22002A19779E}" type="presOf" srcId="{F9467102-24AE-49B6-9123-3C00347421DA}" destId="{C7301407-384B-4D11-B357-2E35D779450C}" srcOrd="0" destOrd="0" presId="urn:microsoft.com/office/officeart/2005/8/layout/pyramid3"/>
    <dgm:cxn modelId="{6BD3ED35-4D7C-4D7C-8573-CEA6526ADDFC}" type="presOf" srcId="{31FDF5EA-E052-443E-A72A-ECD2BBF0A997}" destId="{748E15B9-EE5A-44C0-943F-75B72E20337E}" srcOrd="1" destOrd="0" presId="urn:microsoft.com/office/officeart/2005/8/layout/pyramid3"/>
    <dgm:cxn modelId="{C1FC623A-2BF0-4AFF-A370-F8289108BFB9}" srcId="{F9467102-24AE-49B6-9123-3C00347421DA}" destId="{FCDD0FD2-BF41-4766-B9DA-3A70B2339B59}" srcOrd="1" destOrd="0" parTransId="{871770BD-A4E4-419D-80DB-F18DE2BE1335}" sibTransId="{A13F3988-6873-4FAD-80F4-0A5E1496CB73}"/>
    <dgm:cxn modelId="{DE3D0457-28B6-4E57-9351-66AFC5D9D0E5}" type="presOf" srcId="{FCDD0FD2-BF41-4766-B9DA-3A70B2339B59}" destId="{3F64AD48-E5AF-4AA7-9B9C-5D185E526B64}" srcOrd="1" destOrd="0" presId="urn:microsoft.com/office/officeart/2005/8/layout/pyramid3"/>
    <dgm:cxn modelId="{35152386-5E46-48ED-A813-0821911997F2}" type="presOf" srcId="{D3D4A11F-7F89-458B-8337-6F2CB8D27F60}" destId="{0DB2B820-DB04-489E-BCAC-49A40330A07C}" srcOrd="0" destOrd="0" presId="urn:microsoft.com/office/officeart/2005/8/layout/pyramid3"/>
    <dgm:cxn modelId="{615D1887-6C88-4F47-BE83-2277D55050E0}" srcId="{F9467102-24AE-49B6-9123-3C00347421DA}" destId="{D3D4A11F-7F89-458B-8337-6F2CB8D27F60}" srcOrd="2" destOrd="0" parTransId="{B8287488-7447-43F9-B13C-CFBDF97F7588}" sibTransId="{1D55A87B-ABF5-4CDC-AFC2-CD680409750B}"/>
    <dgm:cxn modelId="{2FE51DBF-698C-4A02-BF67-FA2F620A05A0}" type="presOf" srcId="{A677A5C7-3ED4-426F-A72D-61CAE924DFC8}" destId="{63794A5E-A35B-49CD-BEC9-64FF8ADCAB74}" srcOrd="1" destOrd="0" presId="urn:microsoft.com/office/officeart/2005/8/layout/pyramid3"/>
    <dgm:cxn modelId="{A5E9DEC1-26DC-4A65-AFE2-C1DFE1871CF0}" type="presOf" srcId="{A677A5C7-3ED4-426F-A72D-61CAE924DFC8}" destId="{4179D814-B39A-48A6-8733-B8A6AE900282}" srcOrd="0" destOrd="0" presId="urn:microsoft.com/office/officeart/2005/8/layout/pyramid3"/>
    <dgm:cxn modelId="{F77D35C5-2C2D-4865-81E8-E3994FA0EEEB}" srcId="{F9467102-24AE-49B6-9123-3C00347421DA}" destId="{31FDF5EA-E052-443E-A72A-ECD2BBF0A997}" srcOrd="0" destOrd="0" parTransId="{DE190A3A-0224-4FF2-A463-441FF86F401F}" sibTransId="{157C8438-A379-4158-959F-8058577E1427}"/>
    <dgm:cxn modelId="{7B7B26F2-F244-496E-B88A-26C61D3BDDFE}" type="presOf" srcId="{FCDD0FD2-BF41-4766-B9DA-3A70B2339B59}" destId="{D2D84698-F298-48B9-BEE3-DA731546C61A}" srcOrd="0" destOrd="0" presId="urn:microsoft.com/office/officeart/2005/8/layout/pyramid3"/>
    <dgm:cxn modelId="{9D0D44F6-5B4A-4C2F-897E-308CF7B26FAF}" type="presOf" srcId="{D3D4A11F-7F89-458B-8337-6F2CB8D27F60}" destId="{6E69704C-9E74-4EF3-B24F-C05793CD1765}" srcOrd="1" destOrd="0" presId="urn:microsoft.com/office/officeart/2005/8/layout/pyramid3"/>
    <dgm:cxn modelId="{9FCD36D5-F16B-47F0-8BDD-9168A61E5123}" type="presParOf" srcId="{C7301407-384B-4D11-B357-2E35D779450C}" destId="{46746345-0424-498C-9421-34C6612A4C09}" srcOrd="0" destOrd="0" presId="urn:microsoft.com/office/officeart/2005/8/layout/pyramid3"/>
    <dgm:cxn modelId="{8CA11378-5D8C-47D6-A30A-FE0B9BC2D7B1}" type="presParOf" srcId="{46746345-0424-498C-9421-34C6612A4C09}" destId="{2270AEAF-FD5A-4CC2-9BD1-F971204C5449}" srcOrd="0" destOrd="0" presId="urn:microsoft.com/office/officeart/2005/8/layout/pyramid3"/>
    <dgm:cxn modelId="{29C4BE5E-87C3-4629-80C0-03525898ADE5}" type="presParOf" srcId="{46746345-0424-498C-9421-34C6612A4C09}" destId="{748E15B9-EE5A-44C0-943F-75B72E20337E}" srcOrd="1" destOrd="0" presId="urn:microsoft.com/office/officeart/2005/8/layout/pyramid3"/>
    <dgm:cxn modelId="{4C35B09E-94F8-449A-87DA-B58F8AAAC2FB}" type="presParOf" srcId="{C7301407-384B-4D11-B357-2E35D779450C}" destId="{9E1E8439-A86E-4590-BF77-91048501C95E}" srcOrd="1" destOrd="0" presId="urn:microsoft.com/office/officeart/2005/8/layout/pyramid3"/>
    <dgm:cxn modelId="{10F49353-EA92-4577-9C67-8325FBBD1D06}" type="presParOf" srcId="{9E1E8439-A86E-4590-BF77-91048501C95E}" destId="{D2D84698-F298-48B9-BEE3-DA731546C61A}" srcOrd="0" destOrd="0" presId="urn:microsoft.com/office/officeart/2005/8/layout/pyramid3"/>
    <dgm:cxn modelId="{3F808E21-07A4-4D0A-995B-03F5D3FAA8A2}" type="presParOf" srcId="{9E1E8439-A86E-4590-BF77-91048501C95E}" destId="{3F64AD48-E5AF-4AA7-9B9C-5D185E526B64}" srcOrd="1" destOrd="0" presId="urn:microsoft.com/office/officeart/2005/8/layout/pyramid3"/>
    <dgm:cxn modelId="{ED347E2A-CDE3-47E9-96EB-C5121D7D0E39}" type="presParOf" srcId="{C7301407-384B-4D11-B357-2E35D779450C}" destId="{FAF4641C-C2EA-4DBA-9A4D-AFAF9AC802AD}" srcOrd="2" destOrd="0" presId="urn:microsoft.com/office/officeart/2005/8/layout/pyramid3"/>
    <dgm:cxn modelId="{0F41D805-251B-4856-80A9-212E7AD60238}" type="presParOf" srcId="{FAF4641C-C2EA-4DBA-9A4D-AFAF9AC802AD}" destId="{0DB2B820-DB04-489E-BCAC-49A40330A07C}" srcOrd="0" destOrd="0" presId="urn:microsoft.com/office/officeart/2005/8/layout/pyramid3"/>
    <dgm:cxn modelId="{D7D2BEA9-4056-48AE-A73C-8D734903985D}" type="presParOf" srcId="{FAF4641C-C2EA-4DBA-9A4D-AFAF9AC802AD}" destId="{6E69704C-9E74-4EF3-B24F-C05793CD1765}" srcOrd="1" destOrd="0" presId="urn:microsoft.com/office/officeart/2005/8/layout/pyramid3"/>
    <dgm:cxn modelId="{F00C8BAA-A0B0-4D71-9944-D203B004AA0A}" type="presParOf" srcId="{C7301407-384B-4D11-B357-2E35D779450C}" destId="{9C38D076-ADD6-4E09-A413-A8D0F0C6AF95}" srcOrd="3" destOrd="0" presId="urn:microsoft.com/office/officeart/2005/8/layout/pyramid3"/>
    <dgm:cxn modelId="{CDA18694-F4DD-41D9-BB46-96A9C060C02B}" type="presParOf" srcId="{9C38D076-ADD6-4E09-A413-A8D0F0C6AF95}" destId="{4179D814-B39A-48A6-8733-B8A6AE900282}" srcOrd="0" destOrd="0" presId="urn:microsoft.com/office/officeart/2005/8/layout/pyramid3"/>
    <dgm:cxn modelId="{9EF09EB2-B32B-41C6-984C-617F0103738C}" type="presParOf" srcId="{9C38D076-ADD6-4E09-A413-A8D0F0C6AF95}" destId="{63794A5E-A35B-49CD-BEC9-64FF8ADCAB74}"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76FD1F-AFCD-46FE-9095-911E5CF6FDD1}" type="doc">
      <dgm:prSet loTypeId="urn:microsoft.com/office/officeart/2005/8/layout/pyramid1" loCatId="pyramid" qsTypeId="urn:microsoft.com/office/officeart/2005/8/quickstyle/simple1" qsCatId="simple" csTypeId="urn:microsoft.com/office/officeart/2005/8/colors/accent1_3" csCatId="accent1" phldr="1"/>
      <dgm:spPr/>
    </dgm:pt>
    <dgm:pt modelId="{1EA8F435-D89B-49E2-9E19-8A7E65820F49}">
      <dgm:prSet phldrT="[Text]"/>
      <dgm:spPr>
        <a:solidFill>
          <a:schemeClr val="accent4"/>
        </a:solidFill>
        <a:ln w="25400">
          <a:solidFill>
            <a:schemeClr val="bg2"/>
          </a:solidFill>
        </a:ln>
      </dgm:spPr>
      <dgm:t>
        <a:bodyPr/>
        <a:lstStyle/>
        <a:p>
          <a:endParaRPr lang="en-US" dirty="0"/>
        </a:p>
      </dgm:t>
    </dgm:pt>
    <dgm:pt modelId="{74C032C2-F153-48A9-93AD-CADF0038F01D}" type="parTrans" cxnId="{5437B22D-3E79-4793-9D5B-B028787BF23A}">
      <dgm:prSet/>
      <dgm:spPr/>
      <dgm:t>
        <a:bodyPr/>
        <a:lstStyle/>
        <a:p>
          <a:endParaRPr lang="en-US"/>
        </a:p>
      </dgm:t>
    </dgm:pt>
    <dgm:pt modelId="{B1F32F98-5C14-492A-9F2D-B9C634C24C8E}" type="sibTrans" cxnId="{5437B22D-3E79-4793-9D5B-B028787BF23A}">
      <dgm:prSet/>
      <dgm:spPr/>
      <dgm:t>
        <a:bodyPr/>
        <a:lstStyle/>
        <a:p>
          <a:endParaRPr lang="en-US"/>
        </a:p>
      </dgm:t>
    </dgm:pt>
    <dgm:pt modelId="{BC6D150E-93AB-4FD5-90F9-4F6C9AE99006}">
      <dgm:prSet phldrT="[Text]" custT="1"/>
      <dgm:spPr>
        <a:solidFill>
          <a:schemeClr val="accent2"/>
        </a:solidFill>
        <a:ln w="25400">
          <a:solidFill>
            <a:schemeClr val="bg2"/>
          </a:solidFill>
        </a:ln>
      </dgm:spPr>
      <dgm:t>
        <a:bodyPr lIns="0" rIns="0"/>
        <a:lstStyle/>
        <a:p>
          <a:r>
            <a:rPr lang="en-US" sz="1200" b="0" dirty="0">
              <a:solidFill>
                <a:schemeClr val="bg1"/>
              </a:solidFill>
            </a:rPr>
            <a:t>Preclinical / Toxicity Assessment*</a:t>
          </a:r>
        </a:p>
      </dgm:t>
    </dgm:pt>
    <dgm:pt modelId="{84985E05-D4E7-4BF1-9F66-7D37D6DFB4D9}" type="parTrans" cxnId="{7E2FEA27-EF66-4A32-A69E-0ECFBB5D8068}">
      <dgm:prSet/>
      <dgm:spPr/>
      <dgm:t>
        <a:bodyPr/>
        <a:lstStyle/>
        <a:p>
          <a:endParaRPr lang="en-US"/>
        </a:p>
      </dgm:t>
    </dgm:pt>
    <dgm:pt modelId="{FD4C08DF-83EE-4BA6-9091-2083A7641F05}" type="sibTrans" cxnId="{7E2FEA27-EF66-4A32-A69E-0ECFBB5D8068}">
      <dgm:prSet/>
      <dgm:spPr/>
      <dgm:t>
        <a:bodyPr/>
        <a:lstStyle/>
        <a:p>
          <a:endParaRPr lang="en-US"/>
        </a:p>
      </dgm:t>
    </dgm:pt>
    <dgm:pt modelId="{BFB63765-9B43-4482-9CD1-8C57189A2442}">
      <dgm:prSet phldrT="[Text]" custT="1"/>
      <dgm:spPr>
        <a:solidFill>
          <a:schemeClr val="accent1"/>
        </a:solidFill>
        <a:ln w="25400">
          <a:solidFill>
            <a:schemeClr val="bg2"/>
          </a:solidFill>
        </a:ln>
      </dgm:spPr>
      <dgm:t>
        <a:bodyPr/>
        <a:lstStyle/>
        <a:p>
          <a:r>
            <a:rPr lang="en-US" sz="1200" b="0" dirty="0">
              <a:solidFill>
                <a:schemeClr val="bg1"/>
              </a:solidFill>
            </a:rPr>
            <a:t>Analytical characterization</a:t>
          </a:r>
        </a:p>
      </dgm:t>
    </dgm:pt>
    <dgm:pt modelId="{B038CB75-7D01-44F9-A486-DF70F29E9B28}" type="parTrans" cxnId="{FEAA2D72-B472-4368-A2AF-A23C9F499FB4}">
      <dgm:prSet/>
      <dgm:spPr/>
      <dgm:t>
        <a:bodyPr/>
        <a:lstStyle/>
        <a:p>
          <a:endParaRPr lang="en-US"/>
        </a:p>
      </dgm:t>
    </dgm:pt>
    <dgm:pt modelId="{15B71E0F-BB83-4FD0-8B19-D9C7A0C9AC9B}" type="sibTrans" cxnId="{FEAA2D72-B472-4368-A2AF-A23C9F499FB4}">
      <dgm:prSet/>
      <dgm:spPr/>
      <dgm:t>
        <a:bodyPr/>
        <a:lstStyle/>
        <a:p>
          <a:endParaRPr lang="en-US"/>
        </a:p>
      </dgm:t>
    </dgm:pt>
    <dgm:pt modelId="{E4FA8ED3-9482-49A8-97B9-710963160DC2}">
      <dgm:prSet custT="1"/>
      <dgm:spPr>
        <a:solidFill>
          <a:schemeClr val="accent3"/>
        </a:solidFill>
        <a:ln w="25400">
          <a:solidFill>
            <a:schemeClr val="bg2"/>
          </a:solidFill>
        </a:ln>
      </dgm:spPr>
      <dgm:t>
        <a:bodyPr/>
        <a:lstStyle/>
        <a:p>
          <a:r>
            <a:rPr lang="en-US" sz="1200" b="0" dirty="0">
              <a:solidFill>
                <a:schemeClr val="bg1"/>
              </a:solidFill>
            </a:rPr>
            <a:t>PK/PD</a:t>
          </a:r>
        </a:p>
      </dgm:t>
    </dgm:pt>
    <dgm:pt modelId="{3F7A2A8A-1637-47A9-B69A-CE0232925330}" type="parTrans" cxnId="{36994D0D-D182-4FB6-B2B1-5C15722B55A2}">
      <dgm:prSet/>
      <dgm:spPr/>
      <dgm:t>
        <a:bodyPr/>
        <a:lstStyle/>
        <a:p>
          <a:endParaRPr lang="en-US"/>
        </a:p>
      </dgm:t>
    </dgm:pt>
    <dgm:pt modelId="{CC30ECDC-1F94-4F9D-BD71-9F7FE696942E}" type="sibTrans" cxnId="{36994D0D-D182-4FB6-B2B1-5C15722B55A2}">
      <dgm:prSet/>
      <dgm:spPr/>
      <dgm:t>
        <a:bodyPr/>
        <a:lstStyle/>
        <a:p>
          <a:endParaRPr lang="en-US"/>
        </a:p>
      </dgm:t>
    </dgm:pt>
    <dgm:pt modelId="{476D205A-B0CB-4077-AB5B-22D151164A4C}" type="pres">
      <dgm:prSet presAssocID="{4F76FD1F-AFCD-46FE-9095-911E5CF6FDD1}" presName="Name0" presStyleCnt="0">
        <dgm:presLayoutVars>
          <dgm:dir/>
          <dgm:animLvl val="lvl"/>
          <dgm:resizeHandles val="exact"/>
        </dgm:presLayoutVars>
      </dgm:prSet>
      <dgm:spPr/>
    </dgm:pt>
    <dgm:pt modelId="{27FBC0C5-CF30-427C-AE89-0DEF68F9944D}" type="pres">
      <dgm:prSet presAssocID="{1EA8F435-D89B-49E2-9E19-8A7E65820F49}" presName="Name8" presStyleCnt="0"/>
      <dgm:spPr/>
    </dgm:pt>
    <dgm:pt modelId="{5BB7E882-B4B4-4374-B8CA-91E042EE87FB}" type="pres">
      <dgm:prSet presAssocID="{1EA8F435-D89B-49E2-9E19-8A7E65820F49}" presName="level" presStyleLbl="node1" presStyleIdx="0" presStyleCnt="4" custScaleY="105282">
        <dgm:presLayoutVars>
          <dgm:chMax val="1"/>
          <dgm:bulletEnabled val="1"/>
        </dgm:presLayoutVars>
      </dgm:prSet>
      <dgm:spPr/>
    </dgm:pt>
    <dgm:pt modelId="{3F5BB18C-AE63-4658-A333-FB429335F5BC}" type="pres">
      <dgm:prSet presAssocID="{1EA8F435-D89B-49E2-9E19-8A7E65820F49}" presName="levelTx" presStyleLbl="revTx" presStyleIdx="0" presStyleCnt="0">
        <dgm:presLayoutVars>
          <dgm:chMax val="1"/>
          <dgm:bulletEnabled val="1"/>
        </dgm:presLayoutVars>
      </dgm:prSet>
      <dgm:spPr/>
    </dgm:pt>
    <dgm:pt modelId="{830C1060-991F-4E1A-A853-9C77F7C9752E}" type="pres">
      <dgm:prSet presAssocID="{E4FA8ED3-9482-49A8-97B9-710963160DC2}" presName="Name8" presStyleCnt="0"/>
      <dgm:spPr/>
    </dgm:pt>
    <dgm:pt modelId="{2CE6D27D-5337-45D4-9422-0750A523AC1D}" type="pres">
      <dgm:prSet presAssocID="{E4FA8ED3-9482-49A8-97B9-710963160DC2}" presName="level" presStyleLbl="node1" presStyleIdx="1" presStyleCnt="4" custScaleY="110403">
        <dgm:presLayoutVars>
          <dgm:chMax val="1"/>
          <dgm:bulletEnabled val="1"/>
        </dgm:presLayoutVars>
      </dgm:prSet>
      <dgm:spPr/>
    </dgm:pt>
    <dgm:pt modelId="{29DC16E9-F874-48C5-AE17-3B1E229B56DB}" type="pres">
      <dgm:prSet presAssocID="{E4FA8ED3-9482-49A8-97B9-710963160DC2}" presName="levelTx" presStyleLbl="revTx" presStyleIdx="0" presStyleCnt="0">
        <dgm:presLayoutVars>
          <dgm:chMax val="1"/>
          <dgm:bulletEnabled val="1"/>
        </dgm:presLayoutVars>
      </dgm:prSet>
      <dgm:spPr/>
    </dgm:pt>
    <dgm:pt modelId="{DA4C3F6D-D702-4ED6-AC2F-C6B280EE04BE}" type="pres">
      <dgm:prSet presAssocID="{BC6D150E-93AB-4FD5-90F9-4F6C9AE99006}" presName="Name8" presStyleCnt="0"/>
      <dgm:spPr/>
    </dgm:pt>
    <dgm:pt modelId="{FA208351-450B-4CB8-B4D9-65140E6CFE69}" type="pres">
      <dgm:prSet presAssocID="{BC6D150E-93AB-4FD5-90F9-4F6C9AE99006}" presName="level" presStyleLbl="node1" presStyleIdx="2" presStyleCnt="4" custScaleX="99651" custScaleY="120113">
        <dgm:presLayoutVars>
          <dgm:chMax val="1"/>
          <dgm:bulletEnabled val="1"/>
        </dgm:presLayoutVars>
      </dgm:prSet>
      <dgm:spPr/>
    </dgm:pt>
    <dgm:pt modelId="{EAD52B1F-2521-41C6-94E6-8D851C1A51D2}" type="pres">
      <dgm:prSet presAssocID="{BC6D150E-93AB-4FD5-90F9-4F6C9AE99006}" presName="levelTx" presStyleLbl="revTx" presStyleIdx="0" presStyleCnt="0">
        <dgm:presLayoutVars>
          <dgm:chMax val="1"/>
          <dgm:bulletEnabled val="1"/>
        </dgm:presLayoutVars>
      </dgm:prSet>
      <dgm:spPr/>
    </dgm:pt>
    <dgm:pt modelId="{01C0ADE4-ADFF-430D-AE8E-A05983233268}" type="pres">
      <dgm:prSet presAssocID="{BFB63765-9B43-4482-9CD1-8C57189A2442}" presName="Name8" presStyleCnt="0"/>
      <dgm:spPr/>
    </dgm:pt>
    <dgm:pt modelId="{93713468-3405-42B8-B988-A6257CF42129}" type="pres">
      <dgm:prSet presAssocID="{BFB63765-9B43-4482-9CD1-8C57189A2442}" presName="level" presStyleLbl="node1" presStyleIdx="3" presStyleCnt="4" custScaleX="100000" custScaleY="256744" custLinFactNeighborX="-1225" custLinFactNeighborY="3257">
        <dgm:presLayoutVars>
          <dgm:chMax val="1"/>
          <dgm:bulletEnabled val="1"/>
        </dgm:presLayoutVars>
      </dgm:prSet>
      <dgm:spPr/>
    </dgm:pt>
    <dgm:pt modelId="{5C3AD4A8-2213-4979-88B8-8669A9BD8B94}" type="pres">
      <dgm:prSet presAssocID="{BFB63765-9B43-4482-9CD1-8C57189A2442}" presName="levelTx" presStyleLbl="revTx" presStyleIdx="0" presStyleCnt="0">
        <dgm:presLayoutVars>
          <dgm:chMax val="1"/>
          <dgm:bulletEnabled val="1"/>
        </dgm:presLayoutVars>
      </dgm:prSet>
      <dgm:spPr/>
    </dgm:pt>
  </dgm:ptLst>
  <dgm:cxnLst>
    <dgm:cxn modelId="{101B6606-382A-4259-9EBA-2ED2B9BDF0E6}" type="presOf" srcId="{1EA8F435-D89B-49E2-9E19-8A7E65820F49}" destId="{5BB7E882-B4B4-4374-B8CA-91E042EE87FB}" srcOrd="0" destOrd="0" presId="urn:microsoft.com/office/officeart/2005/8/layout/pyramid1"/>
    <dgm:cxn modelId="{36994D0D-D182-4FB6-B2B1-5C15722B55A2}" srcId="{4F76FD1F-AFCD-46FE-9095-911E5CF6FDD1}" destId="{E4FA8ED3-9482-49A8-97B9-710963160DC2}" srcOrd="1" destOrd="0" parTransId="{3F7A2A8A-1637-47A9-B69A-CE0232925330}" sibTransId="{CC30ECDC-1F94-4F9D-BD71-9F7FE696942E}"/>
    <dgm:cxn modelId="{29ABEC1A-3E59-4B1E-9EA7-122CDD1B9659}" type="presOf" srcId="{BFB63765-9B43-4482-9CD1-8C57189A2442}" destId="{93713468-3405-42B8-B988-A6257CF42129}" srcOrd="0" destOrd="0" presId="urn:microsoft.com/office/officeart/2005/8/layout/pyramid1"/>
    <dgm:cxn modelId="{7E2FEA27-EF66-4A32-A69E-0ECFBB5D8068}" srcId="{4F76FD1F-AFCD-46FE-9095-911E5CF6FDD1}" destId="{BC6D150E-93AB-4FD5-90F9-4F6C9AE99006}" srcOrd="2" destOrd="0" parTransId="{84985E05-D4E7-4BF1-9F66-7D37D6DFB4D9}" sibTransId="{FD4C08DF-83EE-4BA6-9091-2083A7641F05}"/>
    <dgm:cxn modelId="{5437B22D-3E79-4793-9D5B-B028787BF23A}" srcId="{4F76FD1F-AFCD-46FE-9095-911E5CF6FDD1}" destId="{1EA8F435-D89B-49E2-9E19-8A7E65820F49}" srcOrd="0" destOrd="0" parTransId="{74C032C2-F153-48A9-93AD-CADF0038F01D}" sibTransId="{B1F32F98-5C14-492A-9F2D-B9C634C24C8E}"/>
    <dgm:cxn modelId="{171E2C2E-DF07-4BEC-A157-48549A05A555}" type="presOf" srcId="{E4FA8ED3-9482-49A8-97B9-710963160DC2}" destId="{2CE6D27D-5337-45D4-9422-0750A523AC1D}" srcOrd="0" destOrd="0" presId="urn:microsoft.com/office/officeart/2005/8/layout/pyramid1"/>
    <dgm:cxn modelId="{B484A840-413B-448E-BD39-3E9AA0F567B2}" type="presOf" srcId="{1EA8F435-D89B-49E2-9E19-8A7E65820F49}" destId="{3F5BB18C-AE63-4658-A333-FB429335F5BC}" srcOrd="1" destOrd="0" presId="urn:microsoft.com/office/officeart/2005/8/layout/pyramid1"/>
    <dgm:cxn modelId="{40F93E4E-BC73-4485-BDEB-301E16926665}" type="presOf" srcId="{4F76FD1F-AFCD-46FE-9095-911E5CF6FDD1}" destId="{476D205A-B0CB-4077-AB5B-22D151164A4C}" srcOrd="0" destOrd="0" presId="urn:microsoft.com/office/officeart/2005/8/layout/pyramid1"/>
    <dgm:cxn modelId="{FEAA2D72-B472-4368-A2AF-A23C9F499FB4}" srcId="{4F76FD1F-AFCD-46FE-9095-911E5CF6FDD1}" destId="{BFB63765-9B43-4482-9CD1-8C57189A2442}" srcOrd="3" destOrd="0" parTransId="{B038CB75-7D01-44F9-A486-DF70F29E9B28}" sibTransId="{15B71E0F-BB83-4FD0-8B19-D9C7A0C9AC9B}"/>
    <dgm:cxn modelId="{39D6028F-3A12-40D9-B3DB-3E993E0C8FA8}" type="presOf" srcId="{E4FA8ED3-9482-49A8-97B9-710963160DC2}" destId="{29DC16E9-F874-48C5-AE17-3B1E229B56DB}" srcOrd="1" destOrd="0" presId="urn:microsoft.com/office/officeart/2005/8/layout/pyramid1"/>
    <dgm:cxn modelId="{119F46AA-D694-4998-8D06-66D63646743A}" type="presOf" srcId="{BC6D150E-93AB-4FD5-90F9-4F6C9AE99006}" destId="{FA208351-450B-4CB8-B4D9-65140E6CFE69}" srcOrd="0" destOrd="0" presId="urn:microsoft.com/office/officeart/2005/8/layout/pyramid1"/>
    <dgm:cxn modelId="{851BC1C5-8877-4FCE-83BE-EEE080366C27}" type="presOf" srcId="{BC6D150E-93AB-4FD5-90F9-4F6C9AE99006}" destId="{EAD52B1F-2521-41C6-94E6-8D851C1A51D2}" srcOrd="1" destOrd="0" presId="urn:microsoft.com/office/officeart/2005/8/layout/pyramid1"/>
    <dgm:cxn modelId="{7B734AEB-1739-4059-976F-7BA3E3E79A64}" type="presOf" srcId="{BFB63765-9B43-4482-9CD1-8C57189A2442}" destId="{5C3AD4A8-2213-4979-88B8-8669A9BD8B94}" srcOrd="1" destOrd="0" presId="urn:microsoft.com/office/officeart/2005/8/layout/pyramid1"/>
    <dgm:cxn modelId="{9D6D6FDF-6A2E-4916-A2AD-EB723748D77A}" type="presParOf" srcId="{476D205A-B0CB-4077-AB5B-22D151164A4C}" destId="{27FBC0C5-CF30-427C-AE89-0DEF68F9944D}" srcOrd="0" destOrd="0" presId="urn:microsoft.com/office/officeart/2005/8/layout/pyramid1"/>
    <dgm:cxn modelId="{FEA9422B-CDC9-448C-9852-25D39AEB083D}" type="presParOf" srcId="{27FBC0C5-CF30-427C-AE89-0DEF68F9944D}" destId="{5BB7E882-B4B4-4374-B8CA-91E042EE87FB}" srcOrd="0" destOrd="0" presId="urn:microsoft.com/office/officeart/2005/8/layout/pyramid1"/>
    <dgm:cxn modelId="{7E19B468-19F1-41A8-932A-696A5F703552}" type="presParOf" srcId="{27FBC0C5-CF30-427C-AE89-0DEF68F9944D}" destId="{3F5BB18C-AE63-4658-A333-FB429335F5BC}" srcOrd="1" destOrd="0" presId="urn:microsoft.com/office/officeart/2005/8/layout/pyramid1"/>
    <dgm:cxn modelId="{DE6809C3-3369-4F7B-B3DA-7A0C30CF9C01}" type="presParOf" srcId="{476D205A-B0CB-4077-AB5B-22D151164A4C}" destId="{830C1060-991F-4E1A-A853-9C77F7C9752E}" srcOrd="1" destOrd="0" presId="urn:microsoft.com/office/officeart/2005/8/layout/pyramid1"/>
    <dgm:cxn modelId="{BFEB1C95-37F3-4A83-9BED-2179CBCFFE45}" type="presParOf" srcId="{830C1060-991F-4E1A-A853-9C77F7C9752E}" destId="{2CE6D27D-5337-45D4-9422-0750A523AC1D}" srcOrd="0" destOrd="0" presId="urn:microsoft.com/office/officeart/2005/8/layout/pyramid1"/>
    <dgm:cxn modelId="{97C4AC7C-518E-49EE-B38E-4AD1C0A28A43}" type="presParOf" srcId="{830C1060-991F-4E1A-A853-9C77F7C9752E}" destId="{29DC16E9-F874-48C5-AE17-3B1E229B56DB}" srcOrd="1" destOrd="0" presId="urn:microsoft.com/office/officeart/2005/8/layout/pyramid1"/>
    <dgm:cxn modelId="{C0040FF1-72C4-496E-AB33-31B8012BB75E}" type="presParOf" srcId="{476D205A-B0CB-4077-AB5B-22D151164A4C}" destId="{DA4C3F6D-D702-4ED6-AC2F-C6B280EE04BE}" srcOrd="2" destOrd="0" presId="urn:microsoft.com/office/officeart/2005/8/layout/pyramid1"/>
    <dgm:cxn modelId="{A3EB650E-E119-4210-9593-DF9B3C13812C}" type="presParOf" srcId="{DA4C3F6D-D702-4ED6-AC2F-C6B280EE04BE}" destId="{FA208351-450B-4CB8-B4D9-65140E6CFE69}" srcOrd="0" destOrd="0" presId="urn:microsoft.com/office/officeart/2005/8/layout/pyramid1"/>
    <dgm:cxn modelId="{5285B85A-7AEC-47BA-8286-8D0F91EB24DA}" type="presParOf" srcId="{DA4C3F6D-D702-4ED6-AC2F-C6B280EE04BE}" destId="{EAD52B1F-2521-41C6-94E6-8D851C1A51D2}" srcOrd="1" destOrd="0" presId="urn:microsoft.com/office/officeart/2005/8/layout/pyramid1"/>
    <dgm:cxn modelId="{4425E8D7-DEEF-4D5B-8605-8DEF8875B349}" type="presParOf" srcId="{476D205A-B0CB-4077-AB5B-22D151164A4C}" destId="{01C0ADE4-ADFF-430D-AE8E-A05983233268}" srcOrd="3" destOrd="0" presId="urn:microsoft.com/office/officeart/2005/8/layout/pyramid1"/>
    <dgm:cxn modelId="{CCE2E967-FD61-4B9C-83F1-50EDAF4F6BB0}" type="presParOf" srcId="{01C0ADE4-ADFF-430D-AE8E-A05983233268}" destId="{93713468-3405-42B8-B988-A6257CF42129}" srcOrd="0" destOrd="0" presId="urn:microsoft.com/office/officeart/2005/8/layout/pyramid1"/>
    <dgm:cxn modelId="{A7B96923-4A97-4303-9CFB-0D204BA023CA}" type="presParOf" srcId="{01C0ADE4-ADFF-430D-AE8E-A05983233268}" destId="{5C3AD4A8-2213-4979-88B8-8669A9BD8B94}" srcOrd="1" destOrd="0" presId="urn:microsoft.com/office/officeart/2005/8/layout/pyramid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0AEAF-FD5A-4CC2-9BD1-F971204C5449}">
      <dsp:nvSpPr>
        <dsp:cNvPr id="0" name=""/>
        <dsp:cNvSpPr/>
      </dsp:nvSpPr>
      <dsp:spPr>
        <a:xfrm rot="10800000">
          <a:off x="0" y="0"/>
          <a:ext cx="3432175" cy="1051544"/>
        </a:xfrm>
        <a:prstGeom prst="trapezoid">
          <a:avLst>
            <a:gd name="adj" fmla="val 70358"/>
          </a:avLst>
        </a:prstGeom>
        <a:solidFill>
          <a:schemeClr val="accent4"/>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solidFill>
            </a:rPr>
            <a:t>Clinical</a:t>
          </a:r>
          <a:r>
            <a:rPr lang="en-US" sz="1200" b="0" kern="1200" dirty="0">
              <a:solidFill>
                <a:schemeClr val="bg1"/>
              </a:solidFill>
            </a:rPr>
            <a:t> </a:t>
          </a:r>
          <a:r>
            <a:rPr lang="en-US" sz="1200" b="0" kern="1200" dirty="0">
              <a:solidFill>
                <a:schemeClr val="accent1"/>
              </a:solidFill>
            </a:rPr>
            <a:t>studies</a:t>
          </a:r>
        </a:p>
      </dsp:txBody>
      <dsp:txXfrm rot="-10800000">
        <a:off x="600630" y="0"/>
        <a:ext cx="2230913" cy="1051544"/>
      </dsp:txXfrm>
    </dsp:sp>
    <dsp:sp modelId="{D2D84698-F298-48B9-BEE3-DA731546C61A}">
      <dsp:nvSpPr>
        <dsp:cNvPr id="0" name=""/>
        <dsp:cNvSpPr/>
      </dsp:nvSpPr>
      <dsp:spPr>
        <a:xfrm rot="10800000">
          <a:off x="739842" y="1051544"/>
          <a:ext cx="1952489" cy="512028"/>
        </a:xfrm>
        <a:prstGeom prst="trapezoid">
          <a:avLst>
            <a:gd name="adj" fmla="val 70358"/>
          </a:avLst>
        </a:prstGeom>
        <a:solidFill>
          <a:schemeClr val="accent3"/>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rPr>
            <a:t>PK/PD</a:t>
          </a:r>
        </a:p>
      </dsp:txBody>
      <dsp:txXfrm rot="-10800000">
        <a:off x="1081528" y="1051544"/>
        <a:ext cx="1269118" cy="512028"/>
      </dsp:txXfrm>
    </dsp:sp>
    <dsp:sp modelId="{0DB2B820-DB04-489E-BCAC-49A40330A07C}">
      <dsp:nvSpPr>
        <dsp:cNvPr id="0" name=""/>
        <dsp:cNvSpPr/>
      </dsp:nvSpPr>
      <dsp:spPr>
        <a:xfrm rot="10800000">
          <a:off x="1100094" y="1563572"/>
          <a:ext cx="1231986" cy="447148"/>
        </a:xfrm>
        <a:prstGeom prst="trapezoid">
          <a:avLst>
            <a:gd name="adj" fmla="val 70358"/>
          </a:avLst>
        </a:prstGeom>
        <a:solidFill>
          <a:schemeClr val="accent2"/>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de-DE" sz="1000" b="0" kern="1200" dirty="0" err="1">
              <a:solidFill>
                <a:schemeClr val="bg1"/>
              </a:solidFill>
            </a:rPr>
            <a:t>Preclinical</a:t>
          </a:r>
          <a:r>
            <a:rPr lang="de-DE" sz="1000" b="0" kern="1200" dirty="0">
              <a:solidFill>
                <a:schemeClr val="bg1"/>
              </a:solidFill>
            </a:rPr>
            <a:t> / </a:t>
          </a:r>
          <a:r>
            <a:rPr lang="de-DE" sz="1000" b="0" kern="1200" dirty="0" err="1">
              <a:solidFill>
                <a:schemeClr val="bg1"/>
              </a:solidFill>
            </a:rPr>
            <a:t>toxicity</a:t>
          </a:r>
          <a:r>
            <a:rPr lang="de-DE" sz="1000" b="0" kern="1200" dirty="0">
              <a:solidFill>
                <a:schemeClr val="bg1"/>
              </a:solidFill>
            </a:rPr>
            <a:t> </a:t>
          </a:r>
          <a:r>
            <a:rPr lang="de-DE" sz="1000" b="0" kern="1200" dirty="0" err="1">
              <a:solidFill>
                <a:schemeClr val="bg1"/>
              </a:solidFill>
            </a:rPr>
            <a:t>assessment</a:t>
          </a:r>
          <a:endParaRPr lang="en-US" sz="1600" b="0" kern="1200" dirty="0">
            <a:solidFill>
              <a:schemeClr val="bg1"/>
            </a:solidFill>
          </a:endParaRPr>
        </a:p>
      </dsp:txBody>
      <dsp:txXfrm rot="-10800000">
        <a:off x="1315691" y="1563572"/>
        <a:ext cx="800791" cy="447148"/>
      </dsp:txXfrm>
    </dsp:sp>
    <dsp:sp modelId="{4179D814-B39A-48A6-8733-B8A6AE900282}">
      <dsp:nvSpPr>
        <dsp:cNvPr id="0" name=""/>
        <dsp:cNvSpPr/>
      </dsp:nvSpPr>
      <dsp:spPr>
        <a:xfrm rot="10800000">
          <a:off x="1414697" y="2010720"/>
          <a:ext cx="602779" cy="428367"/>
        </a:xfrm>
        <a:prstGeom prst="trapezoid">
          <a:avLst>
            <a:gd name="adj" fmla="val 70358"/>
          </a:avLst>
        </a:prstGeom>
        <a:solidFill>
          <a:schemeClr val="accent1"/>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endParaRPr lang="en-US" sz="2000" b="1" kern="1200" dirty="0">
            <a:solidFill>
              <a:schemeClr val="bg1"/>
            </a:solidFill>
          </a:endParaRPr>
        </a:p>
      </dsp:txBody>
      <dsp:txXfrm rot="-10800000">
        <a:off x="1414697" y="2010720"/>
        <a:ext cx="602779" cy="4283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B7E882-B4B4-4374-B8CA-91E042EE87FB}">
      <dsp:nvSpPr>
        <dsp:cNvPr id="0" name=""/>
        <dsp:cNvSpPr/>
      </dsp:nvSpPr>
      <dsp:spPr>
        <a:xfrm>
          <a:off x="1297107" y="0"/>
          <a:ext cx="560530" cy="444621"/>
        </a:xfrm>
        <a:prstGeom prst="trapezoid">
          <a:avLst>
            <a:gd name="adj" fmla="val 63035"/>
          </a:avLst>
        </a:prstGeom>
        <a:solidFill>
          <a:schemeClr val="accent4"/>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en-US" sz="2800" kern="1200" dirty="0"/>
        </a:p>
      </dsp:txBody>
      <dsp:txXfrm>
        <a:off x="1297107" y="0"/>
        <a:ext cx="560530" cy="444621"/>
      </dsp:txXfrm>
    </dsp:sp>
    <dsp:sp modelId="{2CE6D27D-5337-45D4-9422-0750A523AC1D}">
      <dsp:nvSpPr>
        <dsp:cNvPr id="0" name=""/>
        <dsp:cNvSpPr/>
      </dsp:nvSpPr>
      <dsp:spPr>
        <a:xfrm>
          <a:off x="1003209" y="444621"/>
          <a:ext cx="1148325" cy="466248"/>
        </a:xfrm>
        <a:prstGeom prst="trapezoid">
          <a:avLst>
            <a:gd name="adj" fmla="val 63035"/>
          </a:avLst>
        </a:prstGeom>
        <a:solidFill>
          <a:schemeClr val="accent3"/>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rPr>
            <a:t>PK/PD</a:t>
          </a:r>
        </a:p>
      </dsp:txBody>
      <dsp:txXfrm>
        <a:off x="1204166" y="444621"/>
        <a:ext cx="746411" cy="466248"/>
      </dsp:txXfrm>
    </dsp:sp>
    <dsp:sp modelId="{FA208351-450B-4CB8-B4D9-65140E6CFE69}">
      <dsp:nvSpPr>
        <dsp:cNvPr id="0" name=""/>
        <dsp:cNvSpPr/>
      </dsp:nvSpPr>
      <dsp:spPr>
        <a:xfrm>
          <a:off x="686583" y="910870"/>
          <a:ext cx="1781578" cy="507255"/>
        </a:xfrm>
        <a:prstGeom prst="trapezoid">
          <a:avLst>
            <a:gd name="adj" fmla="val 63035"/>
          </a:avLst>
        </a:prstGeom>
        <a:solidFill>
          <a:schemeClr val="accent2"/>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240" rIns="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rPr>
            <a:t>Preclinical / Toxicity Assessment*</a:t>
          </a:r>
        </a:p>
      </dsp:txBody>
      <dsp:txXfrm>
        <a:off x="998359" y="910870"/>
        <a:ext cx="1158025" cy="507255"/>
      </dsp:txXfrm>
    </dsp:sp>
    <dsp:sp modelId="{93713468-3405-42B8-B988-A6257CF42129}">
      <dsp:nvSpPr>
        <dsp:cNvPr id="0" name=""/>
        <dsp:cNvSpPr/>
      </dsp:nvSpPr>
      <dsp:spPr>
        <a:xfrm>
          <a:off x="0" y="1418125"/>
          <a:ext cx="3154745" cy="1084268"/>
        </a:xfrm>
        <a:prstGeom prst="trapezoid">
          <a:avLst>
            <a:gd name="adj" fmla="val 63035"/>
          </a:avLst>
        </a:prstGeom>
        <a:solidFill>
          <a:schemeClr val="accent1"/>
        </a:solidFill>
        <a:ln w="254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rPr>
            <a:t>Analytical characterization</a:t>
          </a:r>
        </a:p>
      </dsp:txBody>
      <dsp:txXfrm>
        <a:off x="552080" y="1418125"/>
        <a:ext cx="2050584" cy="1084268"/>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n-US">
              <a:latin typeface="Arial"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1440" tIns="45720" rIns="91440" bIns="45720" rtlCol="0"/>
          <a:lstStyle>
            <a:lvl1pPr algn="r">
              <a:defRPr sz="1200"/>
            </a:lvl1pPr>
          </a:lstStyle>
          <a:p>
            <a:fld id="{61BB60FF-ACF0-5A4A-9C79-4881E6B16567}" type="datetimeFigureOut">
              <a:rPr lang="en-US" smtClean="0">
                <a:latin typeface="Arial" charset="0"/>
              </a:rPr>
              <a:pPr/>
              <a:t>9/23/2024</a:t>
            </a:fld>
            <a:endParaRPr lang="en-US">
              <a:latin typeface="Arial" charset="0"/>
            </a:endParaRPr>
          </a:p>
        </p:txBody>
      </p:sp>
      <p:sp>
        <p:nvSpPr>
          <p:cNvPr id="4" name="Footer Placeholder 3"/>
          <p:cNvSpPr>
            <a:spLocks noGrp="1"/>
          </p:cNvSpPr>
          <p:nvPr>
            <p:ph type="ftr" sz="quarter" idx="2"/>
          </p:nvPr>
        </p:nvSpPr>
        <p:spPr>
          <a:xfrm>
            <a:off x="0" y="9408981"/>
            <a:ext cx="2944283" cy="495300"/>
          </a:xfrm>
          <a:prstGeom prst="rect">
            <a:avLst/>
          </a:prstGeom>
        </p:spPr>
        <p:txBody>
          <a:bodyPr vert="horz" lIns="91440" tIns="45720" rIns="91440" bIns="45720" rtlCol="0" anchor="b"/>
          <a:lstStyle>
            <a:lvl1pPr algn="l">
              <a:defRPr sz="1200"/>
            </a:lvl1pPr>
          </a:lstStyle>
          <a:p>
            <a:endParaRPr lang="en-US">
              <a:latin typeface="Arial"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1440" tIns="45720" rIns="91440" bIns="45720" rtlCol="0" anchor="b"/>
          <a:lstStyle>
            <a:lvl1pPr algn="r">
              <a:defRPr sz="1200"/>
            </a:lvl1pPr>
          </a:lstStyle>
          <a:p>
            <a:fld id="{56ABA786-EB35-BA4C-A7F7-24740D3067F1}" type="slidenum">
              <a:rPr lang="en-US" smtClean="0">
                <a:latin typeface="Arial" charset="0"/>
              </a:rPr>
              <a:pPr/>
              <a:t>‹#›</a:t>
            </a:fld>
            <a:endParaRPr lang="en-US">
              <a:latin typeface="Arial" charset="0"/>
            </a:endParaRPr>
          </a:p>
        </p:txBody>
      </p:sp>
    </p:spTree>
    <p:extLst>
      <p:ext uri="{BB962C8B-B14F-4D97-AF65-F5344CB8AC3E}">
        <p14:creationId xmlns:p14="http://schemas.microsoft.com/office/powerpoint/2010/main" val="23799472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b="0" i="0">
                <a:latin typeface="Arial" charset="0"/>
              </a:defRPr>
            </a:lvl1pPr>
          </a:lstStyle>
          <a:p>
            <a:endParaRPr lang="en-US"/>
          </a:p>
        </p:txBody>
      </p:sp>
      <p:sp>
        <p:nvSpPr>
          <p:cNvPr id="3" name="Date Placeholder 2"/>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b="0" i="0">
                <a:latin typeface="Arial" charset="0"/>
              </a:defRPr>
            </a:lvl1pPr>
          </a:lstStyle>
          <a:p>
            <a:fld id="{0C4595FF-6E7F-4C41-B8DF-4AE76FC1F075}" type="datetimeFigureOut">
              <a:rPr lang="en-US" smtClean="0"/>
              <a:pPr/>
              <a:t>9/23/2024</a:t>
            </a:fld>
            <a:endParaRPr lang="en-US"/>
          </a:p>
        </p:txBody>
      </p:sp>
      <p:sp>
        <p:nvSpPr>
          <p:cNvPr id="4" name="Slide Image Placeholder 3"/>
          <p:cNvSpPr>
            <a:spLocks noGrp="1" noRot="1" noChangeAspect="1"/>
          </p:cNvSpPr>
          <p:nvPr>
            <p:ph type="sldImg" idx="2"/>
          </p:nvPr>
        </p:nvSpPr>
        <p:spPr>
          <a:xfrm>
            <a:off x="95250" y="742950"/>
            <a:ext cx="6604000" cy="3714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05350"/>
            <a:ext cx="5435600" cy="4457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b="0" i="0">
                <a:latin typeface="Arial" charset="0"/>
              </a:defRPr>
            </a:lvl1pPr>
          </a:lstStyle>
          <a:p>
            <a:endParaRPr lang="en-US"/>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b="0" i="0">
                <a:latin typeface="Arial" charset="0"/>
              </a:defRPr>
            </a:lvl1pPr>
          </a:lstStyle>
          <a:p>
            <a:fld id="{5A6330BE-D91A-D240-B266-E5D5F99B4CCE}" type="slidenum">
              <a:rPr lang="en-US" smtClean="0"/>
              <a:pPr/>
              <a:t>‹#›</a:t>
            </a:fld>
            <a:endParaRPr lang="en-US"/>
          </a:p>
        </p:txBody>
      </p:sp>
    </p:spTree>
    <p:extLst>
      <p:ext uri="{BB962C8B-B14F-4D97-AF65-F5344CB8AC3E}">
        <p14:creationId xmlns:p14="http://schemas.microsoft.com/office/powerpoint/2010/main" val="312631671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b="0" i="0" kern="1200">
        <a:solidFill>
          <a:schemeClr val="tx1"/>
        </a:solidFill>
        <a:latin typeface="Arial" charset="0"/>
        <a:ea typeface="+mn-ea"/>
        <a:cs typeface="+mn-cs"/>
      </a:defRPr>
    </a:lvl1pPr>
    <a:lvl2pPr marL="457200" algn="l" defTabSz="457200" rtl="0" eaLnBrk="1" latinLnBrk="0" hangingPunct="1">
      <a:defRPr sz="1200" b="0" i="0" kern="1200">
        <a:solidFill>
          <a:schemeClr val="tx1"/>
        </a:solidFill>
        <a:latin typeface="Arial" charset="0"/>
        <a:ea typeface="+mn-ea"/>
        <a:cs typeface="+mn-cs"/>
      </a:defRPr>
    </a:lvl2pPr>
    <a:lvl3pPr marL="914400" algn="l" defTabSz="457200" rtl="0" eaLnBrk="1" latinLnBrk="0" hangingPunct="1">
      <a:defRPr sz="1200" b="0" i="0" kern="1200">
        <a:solidFill>
          <a:schemeClr val="tx1"/>
        </a:solidFill>
        <a:latin typeface="Arial" charset="0"/>
        <a:ea typeface="+mn-ea"/>
        <a:cs typeface="+mn-cs"/>
      </a:defRPr>
    </a:lvl3pPr>
    <a:lvl4pPr marL="1371600" algn="l" defTabSz="457200" rtl="0" eaLnBrk="1" latinLnBrk="0" hangingPunct="1">
      <a:defRPr sz="1200" b="0" i="0" kern="1200">
        <a:solidFill>
          <a:schemeClr val="tx1"/>
        </a:solidFill>
        <a:latin typeface="Arial" charset="0"/>
        <a:ea typeface="+mn-ea"/>
        <a:cs typeface="+mn-cs"/>
      </a:defRPr>
    </a:lvl4pPr>
    <a:lvl5pPr marL="1828800" algn="l" defTabSz="457200" rtl="0" eaLnBrk="1" latinLnBrk="0" hangingPunct="1">
      <a:defRPr sz="1200" b="0" i="0" kern="1200">
        <a:solidFill>
          <a:schemeClr val="tx1"/>
        </a:solidFill>
        <a:latin typeface="Arial"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R"/>
          </a:p>
        </p:txBody>
      </p:sp>
      <p:sp>
        <p:nvSpPr>
          <p:cNvPr id="4" name="Slide Number Placeholder 3"/>
          <p:cNvSpPr>
            <a:spLocks noGrp="1"/>
          </p:cNvSpPr>
          <p:nvPr>
            <p:ph type="sldNum" sz="quarter" idx="5"/>
          </p:nvPr>
        </p:nvSpPr>
        <p:spPr/>
        <p:txBody>
          <a:bodyPr/>
          <a:lstStyle/>
          <a:p>
            <a:fld id="{5A6330BE-D91A-D240-B266-E5D5F99B4CCE}" type="slidenum">
              <a:rPr lang="en-US" smtClean="0"/>
              <a:pPr/>
              <a:t>1</a:t>
            </a:fld>
            <a:endParaRPr lang="en-US"/>
          </a:p>
        </p:txBody>
      </p:sp>
    </p:spTree>
    <p:extLst>
      <p:ext uri="{BB962C8B-B14F-4D97-AF65-F5344CB8AC3E}">
        <p14:creationId xmlns:p14="http://schemas.microsoft.com/office/powerpoint/2010/main" val="2460568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54006B-1EBC-4153-BE35-9B3AC6705E9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195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15</a:t>
            </a:fld>
            <a:endParaRPr lang="en-US"/>
          </a:p>
        </p:txBody>
      </p:sp>
    </p:spTree>
    <p:extLst>
      <p:ext uri="{BB962C8B-B14F-4D97-AF65-F5344CB8AC3E}">
        <p14:creationId xmlns:p14="http://schemas.microsoft.com/office/powerpoint/2010/main" val="1633187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An approved biosimilar medicine is expected to provide the same treatment benefits and clinical outcomes as its reference biologic. ‘No clinically meaningful differences’ is a regulatory phrase used to indicate that slight differences between a biosimilar medicine and its reference biologic might exist due to inherent variability; however, these slight differences do not have an impact on the clinical efficacy and safety of the biosimilar medicine. </a:t>
            </a:r>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16</a:t>
            </a:fld>
            <a:endParaRPr lang="en-US"/>
          </a:p>
        </p:txBody>
      </p:sp>
    </p:spTree>
    <p:extLst>
      <p:ext uri="{BB962C8B-B14F-4D97-AF65-F5344CB8AC3E}">
        <p14:creationId xmlns:p14="http://schemas.microsoft.com/office/powerpoint/2010/main" val="16694311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7725"/>
            <a:ext cx="6400800" cy="3602038"/>
          </a:xfrm>
        </p:spPr>
      </p:sp>
      <p:sp>
        <p:nvSpPr>
          <p:cNvPr id="3" name="Notes Placeholder 2"/>
          <p:cNvSpPr>
            <a:spLocks noGrp="1"/>
          </p:cNvSpPr>
          <p:nvPr>
            <p:ph type="body" idx="1"/>
          </p:nvPr>
        </p:nvSpPr>
        <p:spPr/>
        <p:txBody>
          <a:bodyPr/>
          <a:lstStyle/>
          <a:p>
            <a:endParaRPr lang="en-GB" sz="1200"/>
          </a:p>
        </p:txBody>
      </p:sp>
      <p:sp>
        <p:nvSpPr>
          <p:cNvPr id="4" name="Slide Number Placeholder 3"/>
          <p:cNvSpPr>
            <a:spLocks noGrp="1"/>
          </p:cNvSpPr>
          <p:nvPr>
            <p:ph type="sldNum" sz="quarter" idx="10"/>
          </p:nvPr>
        </p:nvSpPr>
        <p:spPr/>
        <p:txBody>
          <a:bodyPr/>
          <a:lstStyle/>
          <a:p>
            <a:fld id="{5A6330BE-D91A-D240-B266-E5D5F99B4CCE}" type="slidenum">
              <a:rPr lang="en-US" smtClean="0"/>
              <a:pPr/>
              <a:t>17</a:t>
            </a:fld>
            <a:endParaRPr lang="en-US"/>
          </a:p>
        </p:txBody>
      </p:sp>
    </p:spTree>
    <p:extLst>
      <p:ext uri="{BB962C8B-B14F-4D97-AF65-F5344CB8AC3E}">
        <p14:creationId xmlns:p14="http://schemas.microsoft.com/office/powerpoint/2010/main" val="4192824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A6330BE-D91A-D240-B266-E5D5F99B4CCE}" type="slidenum">
              <a:rPr lang="en-US" smtClean="0"/>
              <a:pPr/>
              <a:t>18</a:t>
            </a:fld>
            <a:endParaRPr lang="en-US"/>
          </a:p>
        </p:txBody>
      </p:sp>
    </p:spTree>
    <p:extLst>
      <p:ext uri="{BB962C8B-B14F-4D97-AF65-F5344CB8AC3E}">
        <p14:creationId xmlns:p14="http://schemas.microsoft.com/office/powerpoint/2010/main" val="39570195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accent1"/>
                </a:solidFill>
              </a:rPr>
              <a:t>The development of reference medicines and biosimilar medicines is based on a strict and robust manufacturing process and provides the same level of confidence with regard to the safety and efficacy of the biologi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data package, known as the Totality of Evidence, is reviewed by European and US regulatory agencies to approve a biosimilar medicin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accent1"/>
                </a:solidFill>
              </a:rPr>
              <a:t>Once </a:t>
            </a:r>
            <a:r>
              <a:rPr lang="en-US" sz="1200" b="0" dirty="0" err="1">
                <a:solidFill>
                  <a:schemeClr val="accent1"/>
                </a:solidFill>
              </a:rPr>
              <a:t>biosimilarity</a:t>
            </a:r>
            <a:r>
              <a:rPr lang="en-US" sz="1200" b="0" dirty="0">
                <a:solidFill>
                  <a:schemeClr val="accent1"/>
                </a:solidFill>
              </a:rPr>
              <a:t> has been demonstrated, the </a:t>
            </a:r>
            <a:r>
              <a:rPr lang="en-US" sz="1200" dirty="0">
                <a:solidFill>
                  <a:schemeClr val="accent1"/>
                </a:solidFill>
              </a:rPr>
              <a:t>proposed biosimilar medicine is considered to have the same clinical effect as the reference medicin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accent1"/>
                </a:solidFill>
              </a:rPr>
              <a:t>The analytical assessments are crucial for biosimilar approval. They use sensitive and state-of-the-art methods to confirm that the biosimilar medicine's molecule is an identical amino acid sequence and indistinguishable higher-order structures to the reference medicine</a:t>
            </a:r>
          </a:p>
          <a:p>
            <a:pPr marL="628650" marR="0" lvl="1" indent="-17145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b="0" dirty="0"/>
              <a:t>Analytical characterization serves to demonstrate that a biosimilar medicine is structurally and functionally similar to the reference medicine and so can be expected to behave in the same way in the body</a:t>
            </a:r>
          </a:p>
          <a:p>
            <a:pPr marL="628650" marR="0" lvl="1" indent="-171450" algn="l" defTabSz="4572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en-US" b="0" dirty="0"/>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b="1" dirty="0">
                <a:solidFill>
                  <a:srgbClr val="FF0000"/>
                </a:solidFill>
              </a:rPr>
              <a:t>For further information of the individual aspects/studies that make up the Totality of Evidence, please refer to the Glossary Infographi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dirty="0">
              <a:solidFill>
                <a:schemeClr val="accent1"/>
              </a:solidFill>
            </a:endParaRPr>
          </a:p>
          <a:p>
            <a:endParaRPr lang="en-GB" dirty="0"/>
          </a:p>
        </p:txBody>
      </p:sp>
      <p:sp>
        <p:nvSpPr>
          <p:cNvPr id="4" name="Slide Number Placeholder 3"/>
          <p:cNvSpPr>
            <a:spLocks noGrp="1"/>
          </p:cNvSpPr>
          <p:nvPr>
            <p:ph type="sldNum" sz="quarter" idx="5"/>
          </p:nvPr>
        </p:nvSpPr>
        <p:spPr/>
        <p:txBody>
          <a:bodyPr/>
          <a:lstStyle/>
          <a:p>
            <a:fld id="{5A6330BE-D91A-D240-B266-E5D5F99B4CCE}" type="slidenum">
              <a:rPr lang="en-US" smtClean="0"/>
              <a:pPr/>
              <a:t>19</a:t>
            </a:fld>
            <a:endParaRPr lang="en-US"/>
          </a:p>
        </p:txBody>
      </p:sp>
    </p:spTree>
    <p:extLst>
      <p:ext uri="{BB962C8B-B14F-4D97-AF65-F5344CB8AC3E}">
        <p14:creationId xmlns:p14="http://schemas.microsoft.com/office/powerpoint/2010/main" val="3098257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xtrapolation is the process of granting clinical use to medicine without new clinical trials, relying on quality assessments and laboratory studies for one indication</a:t>
            </a:r>
          </a:p>
          <a:p>
            <a:pPr marL="171450" indent="-171450">
              <a:buFont typeface="Arial" panose="020B0604020202020204" pitchFamily="34" charset="0"/>
              <a:buChar char="•"/>
            </a:pPr>
            <a:r>
              <a:rPr lang="en-US" dirty="0"/>
              <a:t>The biosimilar molecule matches the reference molecule, confirmed through the Totality of Evidence. Thus, the biosimilar is expected to behave similarly to the reference molecule in all approved indications and patient populations</a:t>
            </a:r>
            <a:endParaRPr lang="en-GB" dirty="0"/>
          </a:p>
        </p:txBody>
      </p:sp>
      <p:sp>
        <p:nvSpPr>
          <p:cNvPr id="4" name="Slide Number Placeholder 3"/>
          <p:cNvSpPr>
            <a:spLocks noGrp="1"/>
          </p:cNvSpPr>
          <p:nvPr>
            <p:ph type="sldNum" sz="quarter" idx="5"/>
          </p:nvPr>
        </p:nvSpPr>
        <p:spPr/>
        <p:txBody>
          <a:bodyPr/>
          <a:lstStyle/>
          <a:p>
            <a:fld id="{5A6330BE-D91A-D240-B266-E5D5F99B4CCE}" type="slidenum">
              <a:rPr lang="en-US" smtClean="0"/>
              <a:pPr/>
              <a:t>20</a:t>
            </a:fld>
            <a:endParaRPr lang="en-US"/>
          </a:p>
        </p:txBody>
      </p:sp>
    </p:spTree>
    <p:extLst>
      <p:ext uri="{BB962C8B-B14F-4D97-AF65-F5344CB8AC3E}">
        <p14:creationId xmlns:p14="http://schemas.microsoft.com/office/powerpoint/2010/main" val="3613466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1</a:t>
            </a:fld>
            <a:endParaRPr lang="en-US"/>
          </a:p>
        </p:txBody>
      </p:sp>
    </p:spTree>
    <p:extLst>
      <p:ext uri="{BB962C8B-B14F-4D97-AF65-F5344CB8AC3E}">
        <p14:creationId xmlns:p14="http://schemas.microsoft.com/office/powerpoint/2010/main" val="2129110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3</a:t>
            </a:fld>
            <a:endParaRPr lang="en-US"/>
          </a:p>
        </p:txBody>
      </p:sp>
    </p:spTree>
    <p:extLst>
      <p:ext uri="{BB962C8B-B14F-4D97-AF65-F5344CB8AC3E}">
        <p14:creationId xmlns:p14="http://schemas.microsoft.com/office/powerpoint/2010/main" val="2758614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24</a:t>
            </a:fld>
            <a:endParaRPr lang="en-US"/>
          </a:p>
        </p:txBody>
      </p:sp>
    </p:spTree>
    <p:extLst>
      <p:ext uri="{BB962C8B-B14F-4D97-AF65-F5344CB8AC3E}">
        <p14:creationId xmlns:p14="http://schemas.microsoft.com/office/powerpoint/2010/main" val="4026501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2</a:t>
            </a:fld>
            <a:endParaRPr lang="en-US"/>
          </a:p>
        </p:txBody>
      </p:sp>
    </p:spTree>
    <p:extLst>
      <p:ext uri="{BB962C8B-B14F-4D97-AF65-F5344CB8AC3E}">
        <p14:creationId xmlns:p14="http://schemas.microsoft.com/office/powerpoint/2010/main" val="18038006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R"/>
          </a:p>
        </p:txBody>
      </p:sp>
      <p:sp>
        <p:nvSpPr>
          <p:cNvPr id="4" name="Slide Number Placeholder 3"/>
          <p:cNvSpPr>
            <a:spLocks noGrp="1"/>
          </p:cNvSpPr>
          <p:nvPr>
            <p:ph type="sldNum" sz="quarter" idx="5"/>
          </p:nvPr>
        </p:nvSpPr>
        <p:spPr/>
        <p:txBody>
          <a:bodyPr/>
          <a:lstStyle/>
          <a:p>
            <a:fld id="{5A6330BE-D91A-D240-B266-E5D5F99B4CCE}" type="slidenum">
              <a:rPr lang="en-US" smtClean="0"/>
              <a:pPr/>
              <a:t>27</a:t>
            </a:fld>
            <a:endParaRPr lang="en-US"/>
          </a:p>
        </p:txBody>
      </p:sp>
    </p:spTree>
    <p:extLst>
      <p:ext uri="{BB962C8B-B14F-4D97-AF65-F5344CB8AC3E}">
        <p14:creationId xmlns:p14="http://schemas.microsoft.com/office/powerpoint/2010/main" val="14241513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40</a:t>
            </a:fld>
            <a:endParaRPr lang="en-US"/>
          </a:p>
        </p:txBody>
      </p:sp>
    </p:spTree>
    <p:extLst>
      <p:ext uri="{BB962C8B-B14F-4D97-AF65-F5344CB8AC3E}">
        <p14:creationId xmlns:p14="http://schemas.microsoft.com/office/powerpoint/2010/main" val="3170491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47</a:t>
            </a:fld>
            <a:endParaRPr lang="en-US"/>
          </a:p>
        </p:txBody>
      </p:sp>
    </p:spTree>
    <p:extLst>
      <p:ext uri="{BB962C8B-B14F-4D97-AF65-F5344CB8AC3E}">
        <p14:creationId xmlns:p14="http://schemas.microsoft.com/office/powerpoint/2010/main" val="3220742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6330BE-D91A-D240-B266-E5D5F99B4CCE}" type="slidenum">
              <a:rPr lang="en-US" smtClean="0"/>
              <a:pPr/>
              <a:t>4</a:t>
            </a:fld>
            <a:endParaRPr lang="en-US"/>
          </a:p>
        </p:txBody>
      </p:sp>
    </p:spTree>
    <p:extLst>
      <p:ext uri="{BB962C8B-B14F-4D97-AF65-F5344CB8AC3E}">
        <p14:creationId xmlns:p14="http://schemas.microsoft.com/office/powerpoint/2010/main" val="37614034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p:spPr>
        <p:txBody>
          <a:bodyPr/>
          <a:lstStyle/>
          <a:p>
            <a:pPr marL="171450" marR="0" lvl="0" indent="-171450" algn="l" defTabSz="87349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74151"/>
                </a:solidFill>
                <a:effectLst/>
                <a:latin typeface="Söhne"/>
              </a:rPr>
              <a:t>Small molecule medicines are low-weight compounds created through chemical synthesis, which </a:t>
            </a:r>
            <a:r>
              <a:rPr lang="en-US" altLang="en-US">
                <a:cs typeface="Arial" pitchFamily="34" charset="0"/>
              </a:rPr>
              <a:t>is the process of making new chemicals by combining simpler substances through chemical reactions. Small molecule medicines consist</a:t>
            </a:r>
            <a:r>
              <a:rPr lang="en-US" b="0" i="0">
                <a:solidFill>
                  <a:srgbClr val="374151"/>
                </a:solidFill>
                <a:effectLst/>
                <a:latin typeface="Söhne"/>
              </a:rPr>
              <a:t> of a single, well-defined molecule that can be precisely replicated synthetically. Examples of small molecules include cladribine, siponimod, ozanimod and ponesimod </a:t>
            </a:r>
          </a:p>
          <a:p>
            <a:pPr marL="171450" marR="0" lvl="0" indent="-171450" algn="l" defTabSz="87349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ltLang="en-US"/>
          </a:p>
          <a:p>
            <a:pPr marL="171450" indent="-171450" defTabSz="873495">
              <a:buFont typeface="Arial" panose="020B0604020202020204" pitchFamily="34" charset="0"/>
              <a:buChar char="•"/>
              <a:defRPr/>
            </a:pPr>
            <a:r>
              <a:rPr lang="en-US" b="0" i="0">
                <a:solidFill>
                  <a:srgbClr val="374151"/>
                </a:solidFill>
                <a:effectLst/>
                <a:latin typeface="Söhne"/>
              </a:rPr>
              <a:t>NBCDs are made synthetically, like small molecule medicines, but have a complexity similar to biologics, requiring strict manufacturing processes for consistent quality, safety, and effectiveness</a:t>
            </a:r>
            <a:r>
              <a:rPr lang="en-GB" b="0" i="0">
                <a:solidFill>
                  <a:srgbClr val="374151"/>
                </a:solidFill>
                <a:effectLst/>
                <a:latin typeface="Söhne"/>
                <a:cs typeface="+mn-cs"/>
              </a:rPr>
              <a:t>. </a:t>
            </a:r>
            <a:r>
              <a:rPr lang="en-GB" altLang="en-US">
                <a:cs typeface="Arial" pitchFamily="34" charset="0"/>
              </a:rPr>
              <a:t>Glatiramer acetate is an example of NBCD, although it is often mis-classified as a biologic medicine. </a:t>
            </a:r>
          </a:p>
          <a:p>
            <a:pPr marL="171450" indent="-171450" defTabSz="873495">
              <a:buFont typeface="Arial" panose="020B0604020202020204" pitchFamily="34" charset="0"/>
              <a:buChar char="•"/>
              <a:defRPr/>
            </a:pPr>
            <a:endParaRPr lang="en-GB" altLang="en-US">
              <a:cs typeface="Arial" pitchFamily="34" charset="0"/>
            </a:endParaRPr>
          </a:p>
          <a:p>
            <a:pPr marL="171450" indent="-171450" defTabSz="873495">
              <a:buFont typeface="Arial" panose="020B0604020202020204" pitchFamily="34" charset="0"/>
              <a:buChar char="•"/>
              <a:defRPr/>
            </a:pPr>
            <a:r>
              <a:rPr lang="en-GB" altLang="en-US">
                <a:cs typeface="Arial" pitchFamily="34" charset="0"/>
              </a:rPr>
              <a:t>When the patent and exclusive rights for a branded medicine expire, other medicines that contain the same chemical substance or active ingredient as the ‘original’ medicine can be created. For small molecules and NBCDs, these ‘successors’ are known as generic medicines. For biologic medicines, successors are called biosimilar medicines.</a:t>
            </a:r>
          </a:p>
          <a:p>
            <a:pPr marL="0" indent="0" defTabSz="873495">
              <a:buFont typeface="Arial" panose="020B0604020202020204" pitchFamily="34" charset="0"/>
              <a:buNone/>
              <a:defRPr/>
            </a:pPr>
            <a:endParaRPr lang="de-DE" sz="1200"/>
          </a:p>
        </p:txBody>
      </p:sp>
      <p:sp>
        <p:nvSpPr>
          <p:cNvPr id="57348" name="Slide Number Placeholder 3"/>
          <p:cNvSpPr>
            <a:spLocks noGrp="1"/>
          </p:cNvSpPr>
          <p:nvPr>
            <p:ph type="sldNum" sz="quarter" idx="5"/>
          </p:nvPr>
        </p:nvSpPr>
        <p:spPr>
          <a:noFill/>
        </p:spPr>
        <p:txBody>
          <a:bodyPr/>
          <a:lstStyle>
            <a:lvl1pPr defTabSz="927204" eaLnBrk="0" hangingPunct="0">
              <a:spcBef>
                <a:spcPct val="30000"/>
              </a:spcBef>
              <a:defRPr sz="1200">
                <a:solidFill>
                  <a:schemeClr val="tx1"/>
                </a:solidFill>
                <a:latin typeface="Arial" pitchFamily="34" charset="0"/>
                <a:cs typeface="Arial" pitchFamily="34" charset="0"/>
              </a:defRPr>
            </a:lvl1pPr>
            <a:lvl2pPr marL="741763" indent="-285293" defTabSz="927204" eaLnBrk="0" hangingPunct="0">
              <a:spcBef>
                <a:spcPct val="30000"/>
              </a:spcBef>
              <a:defRPr sz="1200">
                <a:solidFill>
                  <a:schemeClr val="tx1"/>
                </a:solidFill>
                <a:latin typeface="Arial" pitchFamily="34" charset="0"/>
                <a:cs typeface="Arial" pitchFamily="34" charset="0"/>
              </a:defRPr>
            </a:lvl2pPr>
            <a:lvl3pPr marL="1141174" indent="-228235" defTabSz="927204" eaLnBrk="0" hangingPunct="0">
              <a:spcBef>
                <a:spcPct val="30000"/>
              </a:spcBef>
              <a:defRPr sz="1200">
                <a:solidFill>
                  <a:schemeClr val="tx1"/>
                </a:solidFill>
                <a:latin typeface="Arial" pitchFamily="34" charset="0"/>
                <a:cs typeface="Arial" pitchFamily="34" charset="0"/>
              </a:defRPr>
            </a:lvl3pPr>
            <a:lvl4pPr marL="1597643" indent="-228235" defTabSz="927204" eaLnBrk="0" hangingPunct="0">
              <a:spcBef>
                <a:spcPct val="30000"/>
              </a:spcBef>
              <a:defRPr sz="1200">
                <a:solidFill>
                  <a:schemeClr val="tx1"/>
                </a:solidFill>
                <a:latin typeface="Arial" pitchFamily="34" charset="0"/>
                <a:cs typeface="Arial" pitchFamily="34" charset="0"/>
              </a:defRPr>
            </a:lvl4pPr>
            <a:lvl5pPr marL="2054113" indent="-228235" defTabSz="927204" eaLnBrk="0" hangingPunct="0">
              <a:spcBef>
                <a:spcPct val="30000"/>
              </a:spcBef>
              <a:defRPr sz="1200">
                <a:solidFill>
                  <a:schemeClr val="tx1"/>
                </a:solidFill>
                <a:latin typeface="Arial" pitchFamily="34" charset="0"/>
                <a:cs typeface="Arial" pitchFamily="34" charset="0"/>
              </a:defRPr>
            </a:lvl5pPr>
            <a:lvl6pPr marL="2510582" indent="-228235" defTabSz="927204" eaLnBrk="0" fontAlgn="base" hangingPunct="0">
              <a:spcBef>
                <a:spcPct val="30000"/>
              </a:spcBef>
              <a:spcAft>
                <a:spcPct val="0"/>
              </a:spcAft>
              <a:defRPr sz="1200">
                <a:solidFill>
                  <a:schemeClr val="tx1"/>
                </a:solidFill>
                <a:latin typeface="Arial" pitchFamily="34" charset="0"/>
                <a:cs typeface="Arial" pitchFamily="34" charset="0"/>
              </a:defRPr>
            </a:lvl6pPr>
            <a:lvl7pPr marL="2967052" indent="-228235" defTabSz="927204" eaLnBrk="0" fontAlgn="base" hangingPunct="0">
              <a:spcBef>
                <a:spcPct val="30000"/>
              </a:spcBef>
              <a:spcAft>
                <a:spcPct val="0"/>
              </a:spcAft>
              <a:defRPr sz="1200">
                <a:solidFill>
                  <a:schemeClr val="tx1"/>
                </a:solidFill>
                <a:latin typeface="Arial" pitchFamily="34" charset="0"/>
                <a:cs typeface="Arial" pitchFamily="34" charset="0"/>
              </a:defRPr>
            </a:lvl7pPr>
            <a:lvl8pPr marL="3423521" indent="-228235" defTabSz="927204" eaLnBrk="0" fontAlgn="base" hangingPunct="0">
              <a:spcBef>
                <a:spcPct val="30000"/>
              </a:spcBef>
              <a:spcAft>
                <a:spcPct val="0"/>
              </a:spcAft>
              <a:defRPr sz="1200">
                <a:solidFill>
                  <a:schemeClr val="tx1"/>
                </a:solidFill>
                <a:latin typeface="Arial" pitchFamily="34" charset="0"/>
                <a:cs typeface="Arial" pitchFamily="34" charset="0"/>
              </a:defRPr>
            </a:lvl8pPr>
            <a:lvl9pPr marL="3879990" indent="-228235" defTabSz="927204" eaLnBrk="0" fontAlgn="base" hangingPunct="0">
              <a:spcBef>
                <a:spcPct val="30000"/>
              </a:spcBef>
              <a:spcAft>
                <a:spcPct val="0"/>
              </a:spcAft>
              <a:defRPr sz="1200">
                <a:solidFill>
                  <a:schemeClr val="tx1"/>
                </a:solidFill>
                <a:latin typeface="Arial" pitchFamily="34" charset="0"/>
                <a:cs typeface="Arial" pitchFamily="34" charset="0"/>
              </a:defRPr>
            </a:lvl9pPr>
          </a:lstStyle>
          <a:p>
            <a:pPr marL="0" marR="0" lvl="0" indent="0" algn="r" defTabSz="927204" rtl="0" eaLnBrk="0" fontAlgn="auto" latinLnBrk="0" hangingPunct="0">
              <a:lnSpc>
                <a:spcPct val="100000"/>
              </a:lnSpc>
              <a:spcBef>
                <a:spcPct val="0"/>
              </a:spcBef>
              <a:spcAft>
                <a:spcPts val="0"/>
              </a:spcAft>
              <a:buClrTx/>
              <a:buSzTx/>
              <a:buFontTx/>
              <a:buNone/>
              <a:tabLst/>
              <a:defRPr/>
            </a:pPr>
            <a:fld id="{0B60DB9D-4C97-488E-8C40-9A8B5ABE13DA}" type="slidenum">
              <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Arial" pitchFamily="34" charset="0"/>
              </a:rPr>
              <a:pPr marL="0" marR="0" lvl="0" indent="0" algn="r" defTabSz="927204" rtl="0" eaLnBrk="0" fontAlgn="auto" latinLnBrk="0" hangingPunct="0">
                <a:lnSpc>
                  <a:spcPct val="100000"/>
                </a:lnSpc>
                <a:spcBef>
                  <a:spcPct val="0"/>
                </a:spcBef>
                <a:spcAft>
                  <a:spcPts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Arial" pitchFamily="34" charset="0"/>
            </a:endParaRPr>
          </a:p>
        </p:txBody>
      </p:sp>
      <p:sp>
        <p:nvSpPr>
          <p:cNvPr id="2" name="Date Placeholder 1"/>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7AA0FE-65CF-479C-85CA-C1B4D69F61A5}" type="datetime1">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9/202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Sandoz Pharmaceuticals</a:t>
            </a:r>
          </a:p>
        </p:txBody>
      </p:sp>
      <p:sp>
        <p:nvSpPr>
          <p:cNvPr id="4" name="Header Placeholder 3"/>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Biosimilars slide repository</a:t>
            </a:r>
          </a:p>
        </p:txBody>
      </p:sp>
    </p:spTree>
    <p:extLst>
      <p:ext uri="{BB962C8B-B14F-4D97-AF65-F5344CB8AC3E}">
        <p14:creationId xmlns:p14="http://schemas.microsoft.com/office/powerpoint/2010/main" val="3944446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bg1"/>
                </a:solidFill>
              </a:rPr>
              <a:t>Natalizumab, ocrelizumab and alemtuzumab are examples of biologic medicines used for the treatment of relapsing forms of multiple sclerosis</a:t>
            </a:r>
            <a:endParaRPr lang="en-US" sz="1200" baseline="30000">
              <a:solidFill>
                <a:schemeClr val="bg1"/>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A29B-BDA8-4038-B8FD-8FD0628A3476}"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45397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2B719C-D458-0039-BD9F-A67C240242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230B83-7FD0-3CD4-EC52-9CB01F434F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9E0D42-5D63-A5A5-6A23-5987FC18B0DC}"/>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All biologic and biosimilar medicines are produced from living cells, which naturally vary. As a result, the active substance in the medicine may have slight variations, known as ‘inherent variability’</a:t>
            </a:r>
            <a:endParaRPr lang="en-US" sz="1200" b="0" baseline="30000" dirty="0">
              <a:solidFill>
                <a:schemeClr val="bg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This variability means that there can be structural differences between batches of the same biologic medicine, between a biosimilar medicine and its reference, and between different batches of the same biosimilar medicine</a:t>
            </a:r>
            <a:endParaRPr lang="en-US" sz="1200" b="0" baseline="30000" dirty="0">
              <a:solidFill>
                <a:schemeClr val="bg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These minor differences are not clinically meaningful as they are monitored during production of the medic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rPr>
              <a:t>The manufacturing process is controlled to ensure that the resulting active substance falls within an acceptable range of the reference medic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noProof="1">
              <a:solidFill>
                <a:srgbClr val="FFFFFF">
                  <a:lumMod val="50000"/>
                </a:srgbClr>
              </a:solidFill>
            </a:endParaRPr>
          </a:p>
          <a:p>
            <a:endParaRPr lang="en-GB" dirty="0"/>
          </a:p>
        </p:txBody>
      </p:sp>
      <p:sp>
        <p:nvSpPr>
          <p:cNvPr id="4" name="Slide Number Placeholder 3">
            <a:extLst>
              <a:ext uri="{FF2B5EF4-FFF2-40B4-BE49-F238E27FC236}">
                <a16:creationId xmlns:a16="http://schemas.microsoft.com/office/drawing/2014/main" id="{B334252B-4141-2DF0-CB89-288E7945178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9A29B-BDA8-4038-B8FD-8FD0628A3476}"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504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847725"/>
            <a:ext cx="6400800" cy="36020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A6330BE-D91A-D240-B266-E5D5F99B4CCE}" type="slidenum">
              <a:rPr lang="en-US" smtClean="0"/>
              <a:pPr/>
              <a:t>9</a:t>
            </a:fld>
            <a:endParaRPr lang="en-US"/>
          </a:p>
        </p:txBody>
      </p:sp>
    </p:spTree>
    <p:extLst>
      <p:ext uri="{BB962C8B-B14F-4D97-AF65-F5344CB8AC3E}">
        <p14:creationId xmlns:p14="http://schemas.microsoft.com/office/powerpoint/2010/main" val="2338136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10</a:t>
            </a:fld>
            <a:endParaRPr lang="en-US"/>
          </a:p>
        </p:txBody>
      </p:sp>
    </p:spTree>
    <p:extLst>
      <p:ext uri="{BB962C8B-B14F-4D97-AF65-F5344CB8AC3E}">
        <p14:creationId xmlns:p14="http://schemas.microsoft.com/office/powerpoint/2010/main" val="3610743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GB"/>
          </a:p>
        </p:txBody>
      </p:sp>
      <p:sp>
        <p:nvSpPr>
          <p:cNvPr id="4" name="Slide Number Placeholder 3"/>
          <p:cNvSpPr>
            <a:spLocks noGrp="1"/>
          </p:cNvSpPr>
          <p:nvPr>
            <p:ph type="sldNum" sz="quarter" idx="5"/>
          </p:nvPr>
        </p:nvSpPr>
        <p:spPr/>
        <p:txBody>
          <a:bodyPr/>
          <a:lstStyle/>
          <a:p>
            <a:fld id="{5A6330BE-D91A-D240-B266-E5D5F99B4CCE}" type="slidenum">
              <a:rPr lang="en-US" smtClean="0"/>
              <a:pPr/>
              <a:t>12</a:t>
            </a:fld>
            <a:endParaRPr lang="en-US"/>
          </a:p>
        </p:txBody>
      </p:sp>
    </p:spTree>
    <p:extLst>
      <p:ext uri="{BB962C8B-B14F-4D97-AF65-F5344CB8AC3E}">
        <p14:creationId xmlns:p14="http://schemas.microsoft.com/office/powerpoint/2010/main" val="2405618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23.emf"/><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25.emf"/><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28.emf"/><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S' crop 1">
    <p:bg>
      <p:bgPr>
        <a:solidFill>
          <a:srgbClr val="5DA6F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89C696-E6B5-E13F-B136-A087D8C56F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43001" y="2159918"/>
            <a:ext cx="2813334" cy="1939405"/>
          </a:xfrm>
        </p:spPr>
        <p:txBody>
          <a:bodyPr anchor="t" anchorCtr="0">
            <a:noAutofit/>
          </a:bodyPr>
          <a:lstStyle>
            <a:lvl1pPr algn="l">
              <a:lnSpc>
                <a:spcPct val="95000"/>
              </a:lnSpc>
              <a:defRPr sz="3150">
                <a:solidFill>
                  <a:schemeClr val="accent4"/>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208568"/>
            <a:ext cx="3175284" cy="712976"/>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6" name="Picture 5">
            <a:extLst>
              <a:ext uri="{FF2B5EF4-FFF2-40B4-BE49-F238E27FC236}">
                <a16:creationId xmlns:a16="http://schemas.microsoft.com/office/drawing/2014/main" id="{39AFF9BF-4C3E-0321-AED5-E291086FF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2323242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O'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7C71F3A-8DB9-ED5B-32E2-789E53E2C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0" y="173219"/>
            <a:ext cx="2807494"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91731"/>
            <a:ext cx="2808685" cy="1509922"/>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291C3FE6-B4B1-BACD-4B07-7925548C59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356281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Z' crop 1">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9A4B7D-FD22-C56A-0CE6-D8BA9EFFF5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885021" y="641747"/>
            <a:ext cx="3555195" cy="1472803"/>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908823" y="2538364"/>
            <a:ext cx="2802731" cy="84313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FFCE1A02-CB3E-470E-BE96-DA4E83E674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1858138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Z' crop 2">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C78D7B1-E7FF-30BF-9EF1-BD8464E58E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885021" y="641747"/>
            <a:ext cx="3555195" cy="1472803"/>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908823" y="2538364"/>
            <a:ext cx="2802731" cy="84313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FFCE1A02-CB3E-470E-BE96-DA4E83E674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18396143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Contents '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6" name="Picture 5">
            <a:extLst>
              <a:ext uri="{FF2B5EF4-FFF2-40B4-BE49-F238E27FC236}">
                <a16:creationId xmlns:a16="http://schemas.microsoft.com/office/drawing/2014/main" id="{087D5913-68C0-B4AC-02C1-57AB57CF0F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00" y="0"/>
            <a:ext cx="4577197"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381278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Contents '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7" name="Picture 6">
            <a:extLst>
              <a:ext uri="{FF2B5EF4-FFF2-40B4-BE49-F238E27FC236}">
                <a16:creationId xmlns:a16="http://schemas.microsoft.com/office/drawing/2014/main" id="{05840DEF-44F6-4455-A530-771B2B2336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4271589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Contents '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6" name="Picture 5">
            <a:extLst>
              <a:ext uri="{FF2B5EF4-FFF2-40B4-BE49-F238E27FC236}">
                <a16:creationId xmlns:a16="http://schemas.microsoft.com/office/drawing/2014/main" id="{77C794D2-F6FF-47E1-1F0F-F957CA9AB9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4200794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s '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6" name="Picture 5">
            <a:extLst>
              <a:ext uri="{FF2B5EF4-FFF2-40B4-BE49-F238E27FC236}">
                <a16:creationId xmlns:a16="http://schemas.microsoft.com/office/drawing/2014/main" id="{FFB8B84E-915A-F85B-2F5E-BC3D8D9C37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2613601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s '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pic>
        <p:nvPicPr>
          <p:cNvPr id="7" name="Picture 6">
            <a:extLst>
              <a:ext uri="{FF2B5EF4-FFF2-40B4-BE49-F238E27FC236}">
                <a16:creationId xmlns:a16="http://schemas.microsoft.com/office/drawing/2014/main" id="{88EA5E2D-26CE-F08F-C6BC-88BF369FB87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Tree>
    <p:extLst>
      <p:ext uri="{BB962C8B-B14F-4D97-AF65-F5344CB8AC3E}">
        <p14:creationId xmlns:p14="http://schemas.microsoft.com/office/powerpoint/2010/main" val="2481669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Contents 'Z'">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6" name="Picture 5">
            <a:extLst>
              <a:ext uri="{FF2B5EF4-FFF2-40B4-BE49-F238E27FC236}">
                <a16:creationId xmlns:a16="http://schemas.microsoft.com/office/drawing/2014/main" id="{77234823-F66C-787B-B1A9-93A277154F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5000625" y="181146"/>
            <a:ext cx="3901275" cy="346302"/>
          </a:xfrm>
        </p:spPr>
        <p:txBody>
          <a:bodyPr>
            <a:noAutofit/>
          </a:bodyPr>
          <a:lstStyle>
            <a:lvl1pPr>
              <a:defRPr sz="21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0625" y="527448"/>
            <a:ext cx="3901275" cy="3971925"/>
          </a:xfrm>
        </p:spPr>
        <p:txBody>
          <a:bodyPr>
            <a:noAutofit/>
          </a:bodyPr>
          <a:lstStyle>
            <a:lvl1pPr marL="269081" indent="-269081">
              <a:spcBef>
                <a:spcPts val="0"/>
              </a:spcBef>
              <a:tabLst/>
              <a:defRPr sz="2100">
                <a:solidFill>
                  <a:schemeClr val="accent1"/>
                </a:solidFill>
              </a:defRPr>
            </a:lvl1pPr>
            <a:lvl2pPr marL="0" indent="0">
              <a:spcBef>
                <a:spcPts val="0"/>
              </a:spcBef>
              <a:buNone/>
              <a:tabLst>
                <a:tab pos="335756" algn="l"/>
              </a:tabLst>
              <a:defRPr sz="2100">
                <a:solidFill>
                  <a:schemeClr val="accent1"/>
                </a:solidFill>
              </a:defRPr>
            </a:lvl2pPr>
            <a:lvl3pPr marL="0" indent="0">
              <a:spcBef>
                <a:spcPts val="0"/>
              </a:spcBef>
              <a:buNone/>
              <a:tabLst>
                <a:tab pos="335756" algn="l"/>
              </a:tabLst>
              <a:defRPr sz="2100">
                <a:solidFill>
                  <a:schemeClr val="accent1"/>
                </a:solidFill>
              </a:defRPr>
            </a:lvl3pPr>
            <a:lvl4pPr marL="0" indent="0">
              <a:spcBef>
                <a:spcPts val="0"/>
              </a:spcBef>
              <a:buNone/>
              <a:tabLst>
                <a:tab pos="335756" algn="l"/>
              </a:tabLst>
              <a:defRPr sz="2100">
                <a:solidFill>
                  <a:schemeClr val="accent1"/>
                </a:solidFill>
              </a:defRPr>
            </a:lvl4pPr>
            <a:lvl5pPr marL="0" indent="0">
              <a:spcBef>
                <a:spcPts val="0"/>
              </a:spcBef>
              <a:buNone/>
              <a:tabLst>
                <a:tab pos="335756" algn="l"/>
              </a:tabLst>
              <a:defRPr sz="21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2552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5"/>
            <a:ext cx="3543188" cy="2331074"/>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4635103" y="201499"/>
            <a:ext cx="4266797" cy="3897824"/>
          </a:xfrm>
        </p:spPr>
        <p:txBody>
          <a:bodyPr/>
          <a:lstStyle>
            <a:lvl1pPr>
              <a:spcBef>
                <a:spcPts val="0"/>
              </a:spcBef>
              <a:defRPr sz="2400" spc="-8" baseline="0">
                <a:solidFill>
                  <a:schemeClr val="accent2"/>
                </a:solidFill>
              </a:defRPr>
            </a:lvl1pPr>
            <a:lvl2pPr marL="163116" indent="-163116">
              <a:defRPr sz="2400" spc="-8" baseline="0">
                <a:solidFill>
                  <a:schemeClr val="accent2"/>
                </a:solidFill>
              </a:defRPr>
            </a:lvl2pPr>
            <a:lvl3pPr marL="375047" indent="-195263">
              <a:defRPr sz="2100">
                <a:solidFill>
                  <a:schemeClr val="accent2"/>
                </a:solidFill>
              </a:defRPr>
            </a:lvl3pPr>
            <a:lvl4pPr marL="586979" indent="-211931">
              <a:defRPr sz="2100">
                <a:solidFill>
                  <a:schemeClr val="accent2"/>
                </a:solidFill>
              </a:defRPr>
            </a:lvl4pPr>
            <a:lvl5pPr marL="816769" indent="-204788">
              <a:defRPr sz="2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1EC6571B-319C-A04B-ACD4-55D92BDDF6F3}"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0939CB68-973C-6DEF-54EE-3CCE1C33E3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9617433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S'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A19A9F-989C-53C3-BE73-E4AAF8C632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43001" y="2159918"/>
            <a:ext cx="2813334" cy="1939405"/>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208568"/>
            <a:ext cx="3175284" cy="712976"/>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6" name="Picture 5">
            <a:extLst>
              <a:ext uri="{FF2B5EF4-FFF2-40B4-BE49-F238E27FC236}">
                <a16:creationId xmlns:a16="http://schemas.microsoft.com/office/drawing/2014/main" id="{39AFF9BF-4C3E-0321-AED5-E291086FF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0819603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7316279"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1831181"/>
            <a:ext cx="8660494" cy="27824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F9C48A26-1223-1349-AF05-4C8CF88C68B5}"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a:xfrm>
            <a:off x="420573" y="4827355"/>
            <a:ext cx="7406640" cy="134999"/>
          </a:xfrm>
        </p:spPr>
        <p:txBody>
          <a:bodyPr/>
          <a:lstStyle>
            <a:lvl1pPr>
              <a:defRPr>
                <a:solidFill>
                  <a:srgbClr val="4D4D57"/>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57E6D95F-CD66-E15E-5BAF-22B04ACB26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02940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Lowe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5733938"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9C372800-6495-A74B-BA8A-6404663C5747}"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BAD8835A-3281-6B5C-E81D-9828468E42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4763560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Lef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2999" y="181146"/>
            <a:ext cx="2813336"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B436A9C2-572A-BF46-B2E0-FBA686F69071}"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CF0B838F-B8BA-C4DD-DB16-EE066221B9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949356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Content (Lef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7317000"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6F4E5E96-EDF0-9B4E-BB0C-4053462B3635}"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63D77E68-8691-CDE5-1758-0FFE48D9AD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731809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Large Title, 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35930" y="113123"/>
            <a:ext cx="7317000" cy="1597917"/>
          </a:xfrm>
        </p:spPr>
        <p:txBody>
          <a:bodyPr/>
          <a:lstStyle>
            <a:lvl1pPr>
              <a:lnSpc>
                <a:spcPct val="95000"/>
              </a:lnSpc>
              <a:defRPr sz="5700" spc="-113"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188198"/>
            <a:ext cx="2813335" cy="2425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2950DBA8-FFF2-3C41-BC41-1721658C362D}"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CBD56389-D18A-4CC9-548C-18EDAAECBB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1872748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Left) + Quote '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65288292-E81C-36A8-BF4A-38F8FD4B7A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7"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294B8637-ED5B-C84D-9808-8E2F0C4E8A23}"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440477" y="1665010"/>
            <a:ext cx="3216558" cy="1366322"/>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5814409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Left) + Quote '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A6927CCB-3DC4-BDE1-4090-DE2C01E955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3826A095-898E-7645-8BF0-D0F276A152AE}"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203597" y="2502820"/>
            <a:ext cx="3087917" cy="1590675"/>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3981715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Left) + Quote '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C2A687C7-D8FC-2814-0276-C1198ED8C3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E51395BA-34E9-A149-A391-784A681F7601}"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440477" y="2155529"/>
            <a:ext cx="3098061" cy="1590675"/>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6816415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Left) + Quote '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009BE57E-4185-A07F-D475-2A07D27DA7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2594255-F5BC-704E-8792-02952BA838AB}"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6095999" y="1040607"/>
            <a:ext cx="2808686" cy="1531144"/>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2990027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Left) + Quote '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9" name="Picture 8">
            <a:extLst>
              <a:ext uri="{FF2B5EF4-FFF2-40B4-BE49-F238E27FC236}">
                <a16:creationId xmlns:a16="http://schemas.microsoft.com/office/drawing/2014/main" id="{8FBDBB08-EBCB-3CEC-8EAF-BC484917D3C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4C8805C8-7D5F-414A-B875-C568B77B771C}"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924747" y="975411"/>
            <a:ext cx="2976253" cy="1653489"/>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4273820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A' crop 1">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2EDA2D-56F5-00A2-BA7B-4E0173FAA4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175397" y="958000"/>
            <a:ext cx="4019550" cy="1950698"/>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1003955"/>
            <a:ext cx="2198972" cy="1904743"/>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7F9D0656-1615-ECFB-CFB9-A18641D085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1890041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Left) + Quote 'Z'">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4577303"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ABD307FA-73DA-0129-EBCC-4C8616F895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65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EA68E110-F141-CC41-8E9B-62CC45EF7A2D}"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5440477" y="575361"/>
            <a:ext cx="3098061" cy="1653489"/>
          </a:xfrm>
        </p:spPr>
        <p:txBody>
          <a:bodyPr/>
          <a:lstStyle>
            <a:lvl1pPr marL="159300" indent="-159300">
              <a:lnSpc>
                <a:spcPct val="100000"/>
              </a:lnSpc>
              <a:defRPr sz="240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0469426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 Source 'S'">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E6BADC-A43F-E5BA-93FD-A0E80B8ADF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19" y="-405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260BFEC3-637B-3644-BFAE-A25A7AE80A0F}"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364111" y="1364463"/>
            <a:ext cx="4882974"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618846" y="2524905"/>
            <a:ext cx="2799439"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5628617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 Source 'A'">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5A52A9-A81F-F010-BB48-070B1610A9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E486446-7B82-0940-9025-F9FF6D14C2F7}"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2587939" y="447896"/>
            <a:ext cx="5145909"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2811066" y="1618942"/>
            <a:ext cx="3900488"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1613327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 Source 'N'">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0639A4-03A8-239C-CB02-08FECCF70A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8D1C58DE-2C4F-2A4A-8CE3-6AEFD314A271}"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1127682" y="447896"/>
            <a:ext cx="4483735"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2076450" y="1618942"/>
            <a:ext cx="3534966"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0282936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 Source 'D'">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45DB3D-F50C-8A1C-77F6-B557A993F3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3F32ABA5-0664-024A-86C4-1C064CE7DAF4}"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2959562" y="447896"/>
            <a:ext cx="5145909"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182689" y="1618942"/>
            <a:ext cx="3900488"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7911256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 Source 'O'">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BCA869-BC2E-A64A-23F0-E948A8EB72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E76E658E-6790-9842-A629-D80630D06503}"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3305997" y="447896"/>
            <a:ext cx="5145909"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529124" y="1618942"/>
            <a:ext cx="3900488"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30137516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 Source 'Z'">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D257AB-8286-372E-B9BC-977E434ECA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DCA21778-BA2E-FB43-8D26-5203F71A63F8}"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1846021" y="447896"/>
            <a:ext cx="5594195" cy="1159349"/>
          </a:xfrm>
        </p:spPr>
        <p:txBody>
          <a:bodyPr/>
          <a:lstStyle>
            <a:lvl1pPr marL="211931" indent="-211931">
              <a:lnSpc>
                <a:spcPct val="95000"/>
              </a:lnSpc>
              <a:defRPr sz="3150" b="1">
                <a:solidFill>
                  <a:schemeClr val="bg1"/>
                </a:solidFill>
              </a:defRPr>
            </a:lvl1pPr>
            <a:lvl2pPr marL="159300" indent="-159300">
              <a:lnSpc>
                <a:spcPct val="100000"/>
              </a:lnSpc>
              <a:defRPr sz="2400" b="1"/>
            </a:lvl2pPr>
            <a:lvl3pPr marL="159300" indent="-159300">
              <a:lnSpc>
                <a:spcPct val="100000"/>
              </a:lnSpc>
              <a:defRPr sz="2400" b="1"/>
            </a:lvl3pPr>
            <a:lvl4pPr marL="159300" indent="-159300">
              <a:lnSpc>
                <a:spcPct val="100000"/>
              </a:lnSpc>
              <a:defRPr sz="2400" b="1"/>
            </a:lvl4pPr>
            <a:lvl5pPr marL="159300" indent="-159300">
              <a:lnSpc>
                <a:spcPct val="100000"/>
              </a:lnSpc>
              <a:defRPr sz="24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905250" y="1618942"/>
            <a:ext cx="3289697" cy="1296800"/>
          </a:xfrm>
        </p:spPr>
        <p:txBody>
          <a:bodyPr/>
          <a:lstStyle>
            <a:lvl1pPr>
              <a:spcBef>
                <a:spcPts val="3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73958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Content (Right) '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84FDC48C-3B92-D86E-872D-97B3BCCD74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00" y="0"/>
            <a:ext cx="4577197"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AEAD355E-BAB6-9349-A69D-5F111BC28950}"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8510815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Content (Right) '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0" name="Picture 9">
            <a:extLst>
              <a:ext uri="{FF2B5EF4-FFF2-40B4-BE49-F238E27FC236}">
                <a16:creationId xmlns:a16="http://schemas.microsoft.com/office/drawing/2014/main" id="{B15F7C95-8738-CD9E-D1E2-A794F113F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C028F439-135E-E14F-A136-3ACABC66E616}"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5122451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Content (Right) '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228A0A95-011F-E165-251B-B3E80DF3D5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2C0C880C-4228-6E48-A501-9870B115673E}"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995822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A' crop 2">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C78E79B-B460-F3A6-C747-2D23C7CF9F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175397" y="958000"/>
            <a:ext cx="4019550" cy="1950698"/>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43001" y="1003955"/>
            <a:ext cx="2198972" cy="1904743"/>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8" name="Picture 7">
            <a:extLst>
              <a:ext uri="{FF2B5EF4-FFF2-40B4-BE49-F238E27FC236}">
                <a16:creationId xmlns:a16="http://schemas.microsoft.com/office/drawing/2014/main" id="{7F9D0656-1615-ECFB-CFB9-A18641D085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6867499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Content (Right) '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7732B716-F30A-B134-D1E0-A994C55F06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6454CD9A-A399-D34D-8B5F-B786CA3C7A02}"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7321003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Content (Right) '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C75B2A00-307C-C42C-3C3B-118F95AB05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2DB4C273-D41D-9E45-9F12-FA94601979B4}"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2483146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Right) 'Z'">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4572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F824B2D9-F918-68F7-62A7-6D6C737C3C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00" y="0"/>
            <a:ext cx="4577198" cy="51489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002676" y="181146"/>
            <a:ext cx="2932397" cy="1138067"/>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002676"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398B996B-F824-B446-A832-5665FF76FB3A}"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1400773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mp; Captions (1) San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3175397" y="1831182"/>
            <a:ext cx="5968603" cy="3312318"/>
          </a:xfrm>
        </p:spPr>
        <p:txBody>
          <a:bodyPr/>
          <a:lstStyle>
            <a:lvl1pPr>
              <a:defRPr sz="1050"/>
            </a:lvl1pPr>
          </a:lstStyle>
          <a:p>
            <a:r>
              <a:rPr lang="en-US"/>
              <a:t>Click icon to add picture</a:t>
            </a:r>
            <a:endParaRPr lang="en-GB"/>
          </a:p>
        </p:txBody>
      </p:sp>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0900"/>
            <a:ext cx="7317000" cy="1266581"/>
          </a:xfrm>
        </p:spPr>
        <p:txBody>
          <a:bodyPr/>
          <a:lstStyle>
            <a:lvl1pPr>
              <a:defRPr sz="2400" spc="-15"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FE94D2D9-6F32-F746-A7C7-5D771AEFE356}"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1716820" y="1798927"/>
            <a:ext cx="1339515" cy="2300396"/>
          </a:xfrm>
        </p:spPr>
        <p:txBody>
          <a:bodyPr/>
          <a:lstStyle>
            <a:lvl1pPr>
              <a:spcBef>
                <a:spcPts val="375"/>
              </a:spcBef>
              <a:spcAft>
                <a:spcPts val="600"/>
              </a:spcAft>
              <a:defRPr sz="1200" b="1">
                <a:solidFill>
                  <a:schemeClr val="accent2"/>
                </a:solidFill>
              </a:defRPr>
            </a:lvl1pPr>
            <a:lvl2pPr marL="0" indent="0">
              <a:spcBef>
                <a:spcPts val="150"/>
              </a:spcBef>
              <a:buNone/>
              <a:defRPr sz="975">
                <a:solidFill>
                  <a:schemeClr val="accent2"/>
                </a:solidFill>
              </a:defRPr>
            </a:lvl2pPr>
            <a:lvl3pPr marL="77391" indent="-77391">
              <a:spcBef>
                <a:spcPts val="150"/>
              </a:spcBef>
              <a:buClrTx/>
              <a:buFont typeface="Arial" panose="020B0604020202020204" pitchFamily="34" charset="0"/>
              <a:buChar char="•"/>
              <a:defRPr sz="975">
                <a:solidFill>
                  <a:schemeClr val="accent2"/>
                </a:solidFill>
              </a:defRPr>
            </a:lvl3pPr>
            <a:lvl4pPr marL="77391" indent="-77391">
              <a:spcBef>
                <a:spcPts val="150"/>
              </a:spcBef>
              <a:buClrTx/>
              <a:buFont typeface="Arial" panose="020B0604020202020204" pitchFamily="34" charset="0"/>
              <a:buChar char="•"/>
              <a:defRPr sz="975">
                <a:solidFill>
                  <a:schemeClr val="accent2"/>
                </a:solidFill>
              </a:defRPr>
            </a:lvl4pPr>
            <a:lvl5pPr marL="77391" indent="-77391">
              <a:spcBef>
                <a:spcPts val="150"/>
              </a:spcBef>
              <a:buClrTx/>
              <a:buFont typeface="Arial" panose="020B0604020202020204" pitchFamily="34" charset="0"/>
              <a:buChar char="•"/>
              <a:defRPr sz="97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164131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amp; Captions (1) Blue">
    <p:bg>
      <p:bgPr>
        <a:solidFill>
          <a:schemeClr val="accent4"/>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3175397" y="1831182"/>
            <a:ext cx="5968603" cy="3312318"/>
          </a:xfrm>
        </p:spPr>
        <p:txBody>
          <a:bodyPr/>
          <a:lstStyle>
            <a:lvl1pPr>
              <a:defRPr sz="1050">
                <a:solidFill>
                  <a:schemeClr val="accent1"/>
                </a:solidFill>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1"/>
                </a:solidFill>
              </a:defRPr>
            </a:lvl1pPr>
          </a:lstStyle>
          <a:p>
            <a:fld id="{40D39EF1-D64C-E64B-9C47-D70E44750B76}"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pPr/>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1716820" y="1798927"/>
            <a:ext cx="1339515" cy="2300396"/>
          </a:xfrm>
        </p:spPr>
        <p:txBody>
          <a:bodyPr/>
          <a:lstStyle>
            <a:lvl1pPr>
              <a:spcBef>
                <a:spcPts val="375"/>
              </a:spcBef>
              <a:spcAft>
                <a:spcPts val="600"/>
              </a:spcAft>
              <a:defRPr sz="1200" b="1">
                <a:solidFill>
                  <a:schemeClr val="accent1"/>
                </a:solidFill>
              </a:defRPr>
            </a:lvl1pPr>
            <a:lvl2pPr marL="0" indent="0">
              <a:spcBef>
                <a:spcPts val="150"/>
              </a:spcBef>
              <a:buNone/>
              <a:defRPr sz="975">
                <a:solidFill>
                  <a:schemeClr val="accent1"/>
                </a:solidFill>
              </a:defRPr>
            </a:lvl2pPr>
            <a:lvl3pPr marL="77391" indent="-77391">
              <a:spcBef>
                <a:spcPts val="150"/>
              </a:spcBef>
              <a:buClrTx/>
              <a:buFont typeface="Arial" panose="020B0604020202020204" pitchFamily="34" charset="0"/>
              <a:buChar char="•"/>
              <a:defRPr sz="975">
                <a:solidFill>
                  <a:schemeClr val="accent1"/>
                </a:solidFill>
              </a:defRPr>
            </a:lvl3pPr>
            <a:lvl4pPr marL="77391" indent="-77391">
              <a:spcBef>
                <a:spcPts val="150"/>
              </a:spcBef>
              <a:buClrTx/>
              <a:buFont typeface="Arial" panose="020B0604020202020204" pitchFamily="34" charset="0"/>
              <a:buChar char="•"/>
              <a:defRPr sz="975">
                <a:solidFill>
                  <a:schemeClr val="accent1"/>
                </a:solidFill>
              </a:defRPr>
            </a:lvl4pPr>
            <a:lvl5pPr marL="77391" indent="-77391">
              <a:spcBef>
                <a:spcPts val="150"/>
              </a:spcBef>
              <a:buClrTx/>
              <a:buFont typeface="Arial" panose="020B0604020202020204" pitchFamily="34" charset="0"/>
              <a:buChar char="•"/>
              <a:defRPr sz="97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0900"/>
            <a:ext cx="7317000" cy="1266581"/>
          </a:xfrm>
        </p:spPr>
        <p:txBody>
          <a:bodyPr/>
          <a:lstStyle>
            <a:lvl1pPr>
              <a:defRPr sz="2400" spc="-15" baseline="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19940095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s &amp; Captions (2)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1C5D01A2-E800-9142-B4F3-4718B008601D}"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6096000" y="1798927"/>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3855E7BD-DFA1-15E6-2596-8DA68706FC07}"/>
              </a:ext>
            </a:extLst>
          </p:cNvPr>
          <p:cNvSpPr>
            <a:spLocks noGrp="1"/>
          </p:cNvSpPr>
          <p:nvPr>
            <p:ph type="body" sz="quarter" idx="14" hasCustomPrompt="1"/>
          </p:nvPr>
        </p:nvSpPr>
        <p:spPr>
          <a:xfrm>
            <a:off x="6096000" y="3003041"/>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1">
            <a:extLst>
              <a:ext uri="{FF2B5EF4-FFF2-40B4-BE49-F238E27FC236}">
                <a16:creationId xmlns:a16="http://schemas.microsoft.com/office/drawing/2014/main" id="{F6E76A2F-E6DC-C26F-D9B7-A279159056F5}"/>
              </a:ext>
            </a:extLst>
          </p:cNvPr>
          <p:cNvSpPr>
            <a:spLocks noGrp="1"/>
          </p:cNvSpPr>
          <p:nvPr>
            <p:ph type="body" sz="quarter" idx="15" hasCustomPrompt="1"/>
          </p:nvPr>
        </p:nvSpPr>
        <p:spPr>
          <a:xfrm>
            <a:off x="7562814" y="1798927"/>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65785879-EB2B-3317-348C-1E3F282A0F79}"/>
              </a:ext>
            </a:extLst>
          </p:cNvPr>
          <p:cNvSpPr>
            <a:spLocks noGrp="1"/>
          </p:cNvSpPr>
          <p:nvPr>
            <p:ph type="body" sz="quarter" idx="16" hasCustomPrompt="1"/>
          </p:nvPr>
        </p:nvSpPr>
        <p:spPr>
          <a:xfrm>
            <a:off x="7562814" y="3003041"/>
            <a:ext cx="1207417" cy="1109771"/>
          </a:xfrm>
        </p:spPr>
        <p:txBody>
          <a:bodyPr/>
          <a:lstStyle>
            <a:lvl1pPr>
              <a:spcBef>
                <a:spcPts val="375"/>
              </a:spcBef>
              <a:spcAft>
                <a:spcPts val="600"/>
              </a:spcAft>
              <a:defRPr sz="1200" b="1">
                <a:solidFill>
                  <a:schemeClr val="accent2"/>
                </a:solidFill>
              </a:defRPr>
            </a:lvl1pPr>
            <a:lvl2pPr marL="0" indent="0">
              <a:spcBef>
                <a:spcPts val="150"/>
              </a:spcBef>
              <a:buNone/>
              <a:defRPr sz="825">
                <a:solidFill>
                  <a:schemeClr val="accent2"/>
                </a:solidFill>
              </a:defRPr>
            </a:lvl2pPr>
            <a:lvl3pPr marL="77391" indent="-77391">
              <a:spcBef>
                <a:spcPts val="150"/>
              </a:spcBef>
              <a:buClrTx/>
              <a:buFont typeface="Arial" panose="020B0604020202020204" pitchFamily="34" charset="0"/>
              <a:buChar char="•"/>
              <a:defRPr sz="825">
                <a:solidFill>
                  <a:schemeClr val="accent2"/>
                </a:solidFill>
              </a:defRPr>
            </a:lvl3pPr>
            <a:lvl4pPr marL="77391" indent="-77391">
              <a:spcBef>
                <a:spcPts val="150"/>
              </a:spcBef>
              <a:buClrTx/>
              <a:buFont typeface="Arial" panose="020B0604020202020204" pitchFamily="34" charset="0"/>
              <a:buChar char="•"/>
              <a:defRPr sz="825">
                <a:solidFill>
                  <a:schemeClr val="accent2"/>
                </a:solidFill>
              </a:defRPr>
            </a:lvl4pPr>
            <a:lvl5pPr marL="77391" indent="-77391">
              <a:spcBef>
                <a:spcPts val="150"/>
              </a:spcBef>
              <a:buClrTx/>
              <a:buFont typeface="Arial" panose="020B0604020202020204" pitchFamily="34" charset="0"/>
              <a:buChar char="•"/>
              <a:defRPr sz="825">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242888" y="1831182"/>
            <a:ext cx="2808000" cy="2268141"/>
          </a:xfrm>
        </p:spPr>
        <p:txBody>
          <a:bodyPr/>
          <a:lstStyle>
            <a:lvl1pPr>
              <a:defRPr sz="1050"/>
            </a:lvl1pPr>
          </a:lstStyle>
          <a:p>
            <a:r>
              <a:rPr lang="en-US"/>
              <a:t>Click icon to add picture</a:t>
            </a:r>
            <a:endParaRPr lang="en-GB"/>
          </a:p>
        </p:txBody>
      </p:sp>
      <p:sp>
        <p:nvSpPr>
          <p:cNvPr id="17" name="Picture Placeholder 15">
            <a:extLst>
              <a:ext uri="{FF2B5EF4-FFF2-40B4-BE49-F238E27FC236}">
                <a16:creationId xmlns:a16="http://schemas.microsoft.com/office/drawing/2014/main" id="{4FBB8786-C231-0100-4EAA-505D7B1B3FEB}"/>
              </a:ext>
            </a:extLst>
          </p:cNvPr>
          <p:cNvSpPr>
            <a:spLocks noGrp="1"/>
          </p:cNvSpPr>
          <p:nvPr>
            <p:ph type="pic" sz="quarter" idx="18"/>
          </p:nvPr>
        </p:nvSpPr>
        <p:spPr>
          <a:xfrm>
            <a:off x="3169444" y="1831182"/>
            <a:ext cx="2808000" cy="2268141"/>
          </a:xfrm>
        </p:spPr>
        <p:txBody>
          <a:bodyPr/>
          <a:lstStyle>
            <a:lvl1pPr>
              <a:defRPr sz="1050"/>
            </a:lvl1pPr>
          </a:lstStyle>
          <a:p>
            <a:r>
              <a:rPr lang="en-US"/>
              <a:t>Click icon to add picture</a:t>
            </a:r>
            <a:endParaRPr lang="en-GB"/>
          </a:p>
        </p:txBody>
      </p:sp>
      <p:pic>
        <p:nvPicPr>
          <p:cNvPr id="7" name="Picture 6">
            <a:extLst>
              <a:ext uri="{FF2B5EF4-FFF2-40B4-BE49-F238E27FC236}">
                <a16:creationId xmlns:a16="http://schemas.microsoft.com/office/drawing/2014/main" id="{F60DA4B9-96F1-8C52-6B10-C5C69EA554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5798936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s &amp; Captions (2)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a:solidFill>
                  <a:schemeClr val="accent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1"/>
                </a:solidFill>
              </a:defRPr>
            </a:lvl1pPr>
          </a:lstStyle>
          <a:p>
            <a:fld id="{ACD5438A-ED08-324E-B624-FFF8106C65E2}"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pPr/>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6096000" y="1798927"/>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3855E7BD-DFA1-15E6-2596-8DA68706FC07}"/>
              </a:ext>
            </a:extLst>
          </p:cNvPr>
          <p:cNvSpPr>
            <a:spLocks noGrp="1"/>
          </p:cNvSpPr>
          <p:nvPr>
            <p:ph type="body" sz="quarter" idx="14" hasCustomPrompt="1"/>
          </p:nvPr>
        </p:nvSpPr>
        <p:spPr>
          <a:xfrm>
            <a:off x="6096000" y="3003041"/>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1">
            <a:extLst>
              <a:ext uri="{FF2B5EF4-FFF2-40B4-BE49-F238E27FC236}">
                <a16:creationId xmlns:a16="http://schemas.microsoft.com/office/drawing/2014/main" id="{F6E76A2F-E6DC-C26F-D9B7-A279159056F5}"/>
              </a:ext>
            </a:extLst>
          </p:cNvPr>
          <p:cNvSpPr>
            <a:spLocks noGrp="1"/>
          </p:cNvSpPr>
          <p:nvPr>
            <p:ph type="body" sz="quarter" idx="15" hasCustomPrompt="1"/>
          </p:nvPr>
        </p:nvSpPr>
        <p:spPr>
          <a:xfrm>
            <a:off x="7562814" y="1798927"/>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65785879-EB2B-3317-348C-1E3F282A0F79}"/>
              </a:ext>
            </a:extLst>
          </p:cNvPr>
          <p:cNvSpPr>
            <a:spLocks noGrp="1"/>
          </p:cNvSpPr>
          <p:nvPr>
            <p:ph type="body" sz="quarter" idx="16" hasCustomPrompt="1"/>
          </p:nvPr>
        </p:nvSpPr>
        <p:spPr>
          <a:xfrm>
            <a:off x="7562814" y="3003041"/>
            <a:ext cx="1207417" cy="1109771"/>
          </a:xfrm>
        </p:spPr>
        <p:txBody>
          <a:bodyPr/>
          <a:lstStyle>
            <a:lvl1pPr>
              <a:spcBef>
                <a:spcPts val="375"/>
              </a:spcBef>
              <a:spcAft>
                <a:spcPts val="600"/>
              </a:spcAft>
              <a:defRPr sz="1200" b="1">
                <a:solidFill>
                  <a:schemeClr val="accent1"/>
                </a:solidFill>
              </a:defRPr>
            </a:lvl1pPr>
            <a:lvl2pPr marL="0" indent="0">
              <a:spcBef>
                <a:spcPts val="150"/>
              </a:spcBef>
              <a:buNone/>
              <a:defRPr sz="825">
                <a:solidFill>
                  <a:schemeClr val="accent1"/>
                </a:solidFill>
              </a:defRPr>
            </a:lvl2pPr>
            <a:lvl3pPr marL="77391" indent="-77391">
              <a:spcBef>
                <a:spcPts val="150"/>
              </a:spcBef>
              <a:buClrTx/>
              <a:buFont typeface="Arial" panose="020B0604020202020204" pitchFamily="34" charset="0"/>
              <a:buChar char="•"/>
              <a:defRPr sz="825">
                <a:solidFill>
                  <a:schemeClr val="accent1"/>
                </a:solidFill>
              </a:defRPr>
            </a:lvl3pPr>
            <a:lvl4pPr marL="77391" indent="-77391">
              <a:spcBef>
                <a:spcPts val="150"/>
              </a:spcBef>
              <a:buClrTx/>
              <a:buFont typeface="Arial" panose="020B0604020202020204" pitchFamily="34" charset="0"/>
              <a:buChar char="•"/>
              <a:defRPr sz="825">
                <a:solidFill>
                  <a:schemeClr val="accent1"/>
                </a:solidFill>
              </a:defRPr>
            </a:lvl4pPr>
            <a:lvl5pPr marL="77391" indent="-77391">
              <a:spcBef>
                <a:spcPts val="150"/>
              </a:spcBef>
              <a:buClrTx/>
              <a:buFont typeface="Arial" panose="020B0604020202020204" pitchFamily="34" charset="0"/>
              <a:buChar char="•"/>
              <a:defRPr sz="825">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242888" y="1831182"/>
            <a:ext cx="2808000" cy="2268141"/>
          </a:xfrm>
        </p:spPr>
        <p:txBody>
          <a:bodyPr/>
          <a:lstStyle>
            <a:lvl1pPr>
              <a:defRPr sz="1050">
                <a:solidFill>
                  <a:schemeClr val="accent1"/>
                </a:solidFill>
              </a:defRPr>
            </a:lvl1pPr>
          </a:lstStyle>
          <a:p>
            <a:r>
              <a:rPr lang="en-US"/>
              <a:t>Click icon to add picture</a:t>
            </a:r>
            <a:endParaRPr lang="en-GB"/>
          </a:p>
        </p:txBody>
      </p:sp>
      <p:sp>
        <p:nvSpPr>
          <p:cNvPr id="17" name="Picture Placeholder 15">
            <a:extLst>
              <a:ext uri="{FF2B5EF4-FFF2-40B4-BE49-F238E27FC236}">
                <a16:creationId xmlns:a16="http://schemas.microsoft.com/office/drawing/2014/main" id="{4FBB8786-C231-0100-4EAA-505D7B1B3FEB}"/>
              </a:ext>
            </a:extLst>
          </p:cNvPr>
          <p:cNvSpPr>
            <a:spLocks noGrp="1"/>
          </p:cNvSpPr>
          <p:nvPr>
            <p:ph type="pic" sz="quarter" idx="18"/>
          </p:nvPr>
        </p:nvSpPr>
        <p:spPr>
          <a:xfrm>
            <a:off x="3169444" y="1831182"/>
            <a:ext cx="2808000" cy="2268141"/>
          </a:xfrm>
        </p:spPr>
        <p:txBody>
          <a:bodyPr/>
          <a:lstStyle>
            <a:lvl1pPr>
              <a:defRPr sz="1050">
                <a:solidFill>
                  <a:schemeClr val="accent1"/>
                </a:solidFill>
              </a:defRPr>
            </a:lvl1pPr>
          </a:lstStyle>
          <a:p>
            <a:r>
              <a:rPr lang="en-US"/>
              <a:t>Click icon to add picture</a:t>
            </a:r>
            <a:endParaRPr lang="en-GB"/>
          </a:p>
        </p:txBody>
      </p:sp>
      <p:pic>
        <p:nvPicPr>
          <p:cNvPr id="8" name="Picture 7">
            <a:extLst>
              <a:ext uri="{FF2B5EF4-FFF2-40B4-BE49-F238E27FC236}">
                <a16:creationId xmlns:a16="http://schemas.microsoft.com/office/drawing/2014/main" id="{5F5D5AA5-E9E4-37F2-43E2-281111D312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651997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top right) Dark">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4638563" cy="1138067"/>
          </a:xfrm>
        </p:spPr>
        <p:txBody>
          <a:bodyPr/>
          <a:lstStyle>
            <a:lvl1pPr>
              <a:defRPr>
                <a:solidFill>
                  <a:schemeClr val="bg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48A1F5B7-9D9C-464E-AB23-99BCBE7A8E1E}"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2" name="Text Placeholder 11">
            <a:extLst>
              <a:ext uri="{FF2B5EF4-FFF2-40B4-BE49-F238E27FC236}">
                <a16:creationId xmlns:a16="http://schemas.microsoft.com/office/drawing/2014/main" id="{E454B8FA-4979-2C6F-A999-E7DADA9FD311}"/>
              </a:ext>
            </a:extLst>
          </p:cNvPr>
          <p:cNvSpPr>
            <a:spLocks noGrp="1"/>
          </p:cNvSpPr>
          <p:nvPr>
            <p:ph type="body" sz="quarter" idx="13"/>
          </p:nvPr>
        </p:nvSpPr>
        <p:spPr>
          <a:xfrm>
            <a:off x="6096000" y="222945"/>
            <a:ext cx="2805000" cy="1096268"/>
          </a:xfrm>
        </p:spPr>
        <p:txBody>
          <a:bodyPr/>
          <a:lstStyle>
            <a:lvl1pPr>
              <a:spcBef>
                <a:spcPts val="375"/>
              </a:spcBef>
              <a:defRPr sz="975">
                <a:solidFill>
                  <a:schemeClr val="bg1"/>
                </a:solidFill>
              </a:defRPr>
            </a:lvl1pPr>
            <a:lvl2pPr marL="77391" indent="-77391">
              <a:spcBef>
                <a:spcPts val="150"/>
              </a:spcBef>
              <a:defRPr sz="975">
                <a:solidFill>
                  <a:schemeClr val="bg1"/>
                </a:solidFill>
              </a:defRPr>
            </a:lvl2pPr>
            <a:lvl3pPr marL="77391" indent="-77391">
              <a:spcBef>
                <a:spcPts val="150"/>
              </a:spcBef>
              <a:buClrTx/>
              <a:buFont typeface="Arial" panose="020B0604020202020204" pitchFamily="34" charset="0"/>
              <a:buChar char="•"/>
              <a:defRPr sz="975">
                <a:solidFill>
                  <a:schemeClr val="bg1"/>
                </a:solidFill>
              </a:defRPr>
            </a:lvl3pPr>
            <a:lvl4pPr marL="77391" indent="-77391">
              <a:spcBef>
                <a:spcPts val="150"/>
              </a:spcBef>
              <a:buClrTx/>
              <a:buFont typeface="Arial" panose="020B0604020202020204" pitchFamily="34" charset="0"/>
              <a:buChar char="•"/>
              <a:defRPr sz="975">
                <a:solidFill>
                  <a:schemeClr val="bg1"/>
                </a:solidFill>
              </a:defRPr>
            </a:lvl4pPr>
            <a:lvl5pPr marL="77391" indent="-77391">
              <a:spcBef>
                <a:spcPts val="150"/>
              </a:spcBef>
              <a:buClrTx/>
              <a:buFont typeface="Arial" panose="020B0604020202020204" pitchFamily="34" charset="0"/>
              <a:buChar char="•"/>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37747D72-198B-89D0-DCFD-5D2BA33BC6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7693420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top right) Ligh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1146"/>
            <a:ext cx="4638563" cy="1138067"/>
          </a:xfrm>
        </p:spPr>
        <p:txBody>
          <a:bodyPr/>
          <a:lstStyle>
            <a:lvl1pPr>
              <a:defRPr>
                <a:solidFill>
                  <a:schemeClr val="accent2"/>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153F9F0A-6F9C-554A-A956-7977EECAB849}"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2" name="Text Placeholder 11">
            <a:extLst>
              <a:ext uri="{FF2B5EF4-FFF2-40B4-BE49-F238E27FC236}">
                <a16:creationId xmlns:a16="http://schemas.microsoft.com/office/drawing/2014/main" id="{E454B8FA-4979-2C6F-A999-E7DADA9FD311}"/>
              </a:ext>
            </a:extLst>
          </p:cNvPr>
          <p:cNvSpPr>
            <a:spLocks noGrp="1"/>
          </p:cNvSpPr>
          <p:nvPr>
            <p:ph type="body" sz="quarter" idx="13"/>
          </p:nvPr>
        </p:nvSpPr>
        <p:spPr>
          <a:xfrm>
            <a:off x="6096000" y="222945"/>
            <a:ext cx="2805000" cy="1096268"/>
          </a:xfrm>
        </p:spPr>
        <p:txBody>
          <a:bodyPr/>
          <a:lstStyle>
            <a:lvl1pPr>
              <a:spcBef>
                <a:spcPts val="375"/>
              </a:spcBef>
              <a:defRPr sz="975">
                <a:solidFill>
                  <a:schemeClr val="accent2"/>
                </a:solidFill>
              </a:defRPr>
            </a:lvl1pPr>
            <a:lvl2pPr marL="77391" indent="-77391">
              <a:spcBef>
                <a:spcPts val="150"/>
              </a:spcBef>
              <a:defRPr sz="975">
                <a:solidFill>
                  <a:schemeClr val="accent2"/>
                </a:solidFill>
              </a:defRPr>
            </a:lvl2pPr>
            <a:lvl3pPr marL="77391" indent="-77391">
              <a:spcBef>
                <a:spcPts val="150"/>
              </a:spcBef>
              <a:buClrTx/>
              <a:buFont typeface="Arial" panose="020B0604020202020204" pitchFamily="34" charset="0"/>
              <a:buChar char="•"/>
              <a:defRPr sz="975">
                <a:solidFill>
                  <a:schemeClr val="accent2"/>
                </a:solidFill>
              </a:defRPr>
            </a:lvl3pPr>
            <a:lvl4pPr marL="77391" indent="-77391">
              <a:spcBef>
                <a:spcPts val="150"/>
              </a:spcBef>
              <a:buClrTx/>
              <a:buFont typeface="Arial" panose="020B0604020202020204" pitchFamily="34" charset="0"/>
              <a:buChar char="•"/>
              <a:defRPr sz="975">
                <a:solidFill>
                  <a:schemeClr val="accent2"/>
                </a:solidFill>
              </a:defRPr>
            </a:lvl4pPr>
            <a:lvl5pPr marL="77391" indent="-77391">
              <a:spcBef>
                <a:spcPts val="150"/>
              </a:spcBef>
              <a:buClrTx/>
              <a:buFont typeface="Arial" panose="020B0604020202020204" pitchFamily="34" charset="0"/>
              <a:buChar char="•"/>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4192CA79-7DF3-65C8-70E9-26BE6C1708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2376367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Subheading + Text (Right)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100437" y="227644"/>
            <a:ext cx="2803058" cy="702371"/>
          </a:xfrm>
        </p:spPr>
        <p:txBody>
          <a:bodyPr/>
          <a:lstStyle>
            <a:lvl1pPr>
              <a:defRPr sz="975">
                <a:solidFill>
                  <a:schemeClr val="accent2"/>
                </a:solidFill>
              </a:defRPr>
            </a:lvl1pPr>
          </a:lstStyle>
          <a:p>
            <a:r>
              <a:rPr lang="en-US"/>
              <a:t>Click to edit Sub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100437" y="2531098"/>
            <a:ext cx="2813335" cy="2082575"/>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59C8271A-3875-144C-8A09-84BC28BFCF8F}"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817C87F8-3315-AB6B-21E4-1F2AC8F148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605510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N' crop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37A326-E8D7-8722-90C8-0DA85986ED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1" y="169683"/>
            <a:ext cx="2804999" cy="1551961"/>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88197"/>
            <a:ext cx="2808685" cy="1118169"/>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1D978A32-E423-3BE0-C5DE-44C8C32EBB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42538740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Subheading + Text (Righ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100437" y="227644"/>
            <a:ext cx="2803058" cy="702371"/>
          </a:xfrm>
        </p:spPr>
        <p:txBody>
          <a:bodyPr/>
          <a:lstStyle>
            <a:lvl1pPr>
              <a:defRPr sz="975">
                <a:solidFill>
                  <a:schemeClr val="accent1"/>
                </a:solidFill>
              </a:defRPr>
            </a:lvl1pPr>
          </a:lstStyle>
          <a:p>
            <a:r>
              <a:rPr lang="en-US"/>
              <a:t>Click to edit Sub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100437" y="2531098"/>
            <a:ext cx="2813335" cy="208257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52500AAE-43A6-6B48-A8CA-4DB4B31AF8AB}"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3367DC1E-7AD3-FEF5-4EBD-F221E2D213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9907914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 Content (Right)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980303" y="194429"/>
            <a:ext cx="2932397"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980303" y="2207639"/>
            <a:ext cx="2813335" cy="2291733"/>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D900293E-0BD3-DD4D-9A63-8A35FEC0CBAF}"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014DB147-CBEC-AAF6-402F-864C9FFA5A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0" y="0"/>
            <a:ext cx="4572000" cy="5143500"/>
          </a:xfrm>
        </p:spPr>
        <p:txBody>
          <a:bodyPr/>
          <a:lstStyle>
            <a:lvl1pPr>
              <a:defRPr sz="1050"/>
            </a:lvl1pPr>
          </a:lstStyle>
          <a:p>
            <a:r>
              <a:rPr lang="en-US"/>
              <a:t>Click icon to add picture</a:t>
            </a:r>
            <a:endParaRPr lang="en-GB"/>
          </a:p>
        </p:txBody>
      </p:sp>
    </p:spTree>
    <p:extLst>
      <p:ext uri="{BB962C8B-B14F-4D97-AF65-F5344CB8AC3E}">
        <p14:creationId xmlns:p14="http://schemas.microsoft.com/office/powerpoint/2010/main" val="41886279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 Content (Righ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5980303" y="194429"/>
            <a:ext cx="2932397" cy="1527215"/>
          </a:xfrm>
        </p:spPr>
        <p:txBody>
          <a:bodyPr/>
          <a:lstStyle>
            <a:lvl1pPr>
              <a:defRPr sz="1650" spc="0">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5980303" y="2207639"/>
            <a:ext cx="2813335" cy="2291733"/>
          </a:xfrm>
        </p:spPr>
        <p:txBody>
          <a:bodyPr/>
          <a:lstStyle>
            <a:lvl1pPr>
              <a:defRPr sz="975">
                <a:solidFill>
                  <a:schemeClr val="bg1"/>
                </a:solidFill>
              </a:defRPr>
            </a:lvl1pPr>
            <a:lvl2pPr>
              <a:defRPr sz="975">
                <a:solidFill>
                  <a:schemeClr val="bg1"/>
                </a:solidFill>
              </a:defRPr>
            </a:lvl2pPr>
            <a:lvl3pPr>
              <a:buClrTx/>
              <a:defRPr sz="975">
                <a:solidFill>
                  <a:schemeClr val="bg1"/>
                </a:solidFill>
              </a:defRPr>
            </a:lvl3pPr>
            <a:lvl4pPr>
              <a:buClrTx/>
              <a:defRPr sz="975">
                <a:solidFill>
                  <a:schemeClr val="bg1"/>
                </a:solidFill>
              </a:defRPr>
            </a:lvl4pPr>
            <a:lvl5pPr>
              <a:buClrTx/>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EBE7176-7262-644D-AC26-63D3CAB7C347}"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0" y="0"/>
            <a:ext cx="4572000" cy="5143500"/>
          </a:xfrm>
        </p:spPr>
        <p:txBody>
          <a:bodyPr/>
          <a:lstStyle>
            <a:lvl1pPr>
              <a:defRPr sz="1050"/>
            </a:lvl1pPr>
          </a:lstStyle>
          <a:p>
            <a:r>
              <a:rPr lang="en-US"/>
              <a:t>Click icon to add picture</a:t>
            </a:r>
            <a:endParaRPr lang="en-GB"/>
          </a:p>
        </p:txBody>
      </p:sp>
      <p:pic>
        <p:nvPicPr>
          <p:cNvPr id="7" name="Picture 6">
            <a:extLst>
              <a:ext uri="{FF2B5EF4-FFF2-40B4-BE49-F238E27FC236}">
                <a16:creationId xmlns:a16="http://schemas.microsoft.com/office/drawing/2014/main" id="{6C1806D9-849D-FEA6-0615-45DB3A9721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3644157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Left) + Imag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4572000" y="0"/>
            <a:ext cx="4572000" cy="5143500"/>
          </a:xfrm>
        </p:spPr>
        <p:txBody>
          <a:bodyPr/>
          <a:lstStyle>
            <a:lvl1pPr>
              <a:defRPr sz="1050"/>
            </a:lvl1pPr>
          </a:lstStyle>
          <a:p>
            <a:r>
              <a:rPr lang="en-US"/>
              <a:t>Click icon to add picture</a:t>
            </a:r>
            <a:endParaRPr lang="en-GB"/>
          </a:p>
        </p:txBody>
      </p:sp>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4079" y="194429"/>
            <a:ext cx="2932397"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1702707" y="2207639"/>
            <a:ext cx="2083481" cy="2291733"/>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F04679F3-ABBA-FE4C-B002-6197F55FA442}"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48B3BE42-85FC-8E3C-7B71-C8EB60DA9C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7172961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Statement +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D7F588-5617-D1DE-CE8F-9107E5B8EB71}"/>
              </a:ext>
            </a:extLst>
          </p:cNvPr>
          <p:cNvSpPr/>
          <p:nvPr userDrawn="1"/>
        </p:nvSpPr>
        <p:spPr>
          <a:xfrm>
            <a:off x="0" y="2347275"/>
            <a:ext cx="9144000" cy="27962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166148" y="-84841"/>
            <a:ext cx="8738537" cy="1806485"/>
          </a:xfrm>
        </p:spPr>
        <p:txBody>
          <a:bodyPr/>
          <a:lstStyle>
            <a:lvl1pPr>
              <a:defRPr sz="10500" spc="-225" baseline="0"/>
            </a:lvl1pPr>
          </a:lstStyle>
          <a:p>
            <a:r>
              <a:rPr lang="en-US"/>
              <a:t>Edit tit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4079" y="2531098"/>
            <a:ext cx="4637484" cy="1968275"/>
          </a:xfrm>
        </p:spPr>
        <p:txBody>
          <a:bodyPr/>
          <a:lstStyle>
            <a:lvl1pPr>
              <a:defRPr sz="1650" b="1"/>
            </a:lvl1pPr>
            <a:lvl2pPr>
              <a:defRPr sz="1650"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A5047328-BDEC-F249-B89E-FFABD5C768E0}"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0C232FFB-B980-85BE-5DCC-68B32EE912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6913329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 3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94429"/>
            <a:ext cx="2566875"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606041"/>
            <a:ext cx="2813335" cy="1893332"/>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A37C5659-7E27-0541-9338-86196AA946A8}"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3175398" y="251222"/>
            <a:ext cx="5725715" cy="2260997"/>
          </a:xfrm>
        </p:spPr>
        <p:txBody>
          <a:bodyPr/>
          <a:lstStyle>
            <a:lvl1pPr>
              <a:defRPr sz="1050">
                <a:solidFill>
                  <a:schemeClr val="accent2"/>
                </a:solidFill>
              </a:defRPr>
            </a:lvl1pPr>
          </a:lstStyle>
          <a:p>
            <a:r>
              <a:rPr lang="en-US"/>
              <a:t>Click icon to add picture</a:t>
            </a:r>
            <a:endParaRPr lang="en-GB"/>
          </a:p>
        </p:txBody>
      </p:sp>
      <p:sp>
        <p:nvSpPr>
          <p:cNvPr id="12" name="Picture Placeholder 9">
            <a:extLst>
              <a:ext uri="{FF2B5EF4-FFF2-40B4-BE49-F238E27FC236}">
                <a16:creationId xmlns:a16="http://schemas.microsoft.com/office/drawing/2014/main" id="{90D8BBA5-0A41-D5DC-4877-DA81667CC919}"/>
              </a:ext>
            </a:extLst>
          </p:cNvPr>
          <p:cNvSpPr>
            <a:spLocks noGrp="1"/>
          </p:cNvSpPr>
          <p:nvPr>
            <p:ph type="pic" sz="quarter" idx="14"/>
          </p:nvPr>
        </p:nvSpPr>
        <p:spPr>
          <a:xfrm>
            <a:off x="3175398" y="2628901"/>
            <a:ext cx="2801540" cy="1870472"/>
          </a:xfrm>
        </p:spPr>
        <p:txBody>
          <a:bodyPr/>
          <a:lstStyle>
            <a:lvl1pPr>
              <a:defRPr sz="1050">
                <a:solidFill>
                  <a:schemeClr val="accent2"/>
                </a:solidFill>
              </a:defRPr>
            </a:lvl1pPr>
          </a:lstStyle>
          <a:p>
            <a:r>
              <a:rPr lang="en-US"/>
              <a:t>Click icon to add picture</a:t>
            </a:r>
            <a:endParaRPr lang="en-GB"/>
          </a:p>
        </p:txBody>
      </p:sp>
      <p:sp>
        <p:nvSpPr>
          <p:cNvPr id="14" name="Picture Placeholder 9">
            <a:extLst>
              <a:ext uri="{FF2B5EF4-FFF2-40B4-BE49-F238E27FC236}">
                <a16:creationId xmlns:a16="http://schemas.microsoft.com/office/drawing/2014/main" id="{DD0A121E-7B0B-91C5-2F81-3B50CF497161}"/>
              </a:ext>
            </a:extLst>
          </p:cNvPr>
          <p:cNvSpPr>
            <a:spLocks noGrp="1"/>
          </p:cNvSpPr>
          <p:nvPr>
            <p:ph type="pic" sz="quarter" idx="15"/>
          </p:nvPr>
        </p:nvSpPr>
        <p:spPr>
          <a:xfrm>
            <a:off x="6096001" y="2628901"/>
            <a:ext cx="2801540" cy="1870472"/>
          </a:xfrm>
        </p:spPr>
        <p:txBody>
          <a:bodyPr/>
          <a:lstStyle>
            <a:lvl1pPr>
              <a:defRPr sz="1050">
                <a:solidFill>
                  <a:schemeClr val="accent2"/>
                </a:solidFill>
              </a:defRPr>
            </a:lvl1pPr>
          </a:lstStyle>
          <a:p>
            <a:r>
              <a:rPr lang="en-US"/>
              <a:t>Click icon to add picture</a:t>
            </a:r>
            <a:endParaRPr lang="en-GB"/>
          </a:p>
        </p:txBody>
      </p:sp>
      <p:pic>
        <p:nvPicPr>
          <p:cNvPr id="8" name="Picture 7">
            <a:extLst>
              <a:ext uri="{FF2B5EF4-FFF2-40B4-BE49-F238E27FC236}">
                <a16:creationId xmlns:a16="http://schemas.microsoft.com/office/drawing/2014/main" id="{D57072F2-F60C-C318-FF1A-5B9BED21FF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83450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 Content + 3 Images (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94429"/>
            <a:ext cx="2566875" cy="1527215"/>
          </a:xfrm>
        </p:spPr>
        <p:txBody>
          <a:bodyPr/>
          <a:lstStyle>
            <a:lvl1pPr>
              <a:defRPr sz="1650" spc="0">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2606041"/>
            <a:ext cx="2813335" cy="1893332"/>
          </a:xfrm>
        </p:spPr>
        <p:txBody>
          <a:bodyPr/>
          <a:lstStyle>
            <a:lvl1pPr>
              <a:defRPr sz="975">
                <a:solidFill>
                  <a:schemeClr val="bg1"/>
                </a:solidFill>
              </a:defRPr>
            </a:lvl1pPr>
            <a:lvl2pPr>
              <a:defRPr sz="975">
                <a:solidFill>
                  <a:schemeClr val="bg1"/>
                </a:solidFill>
              </a:defRPr>
            </a:lvl2pPr>
            <a:lvl3pPr>
              <a:buClrTx/>
              <a:defRPr sz="975">
                <a:solidFill>
                  <a:schemeClr val="bg1"/>
                </a:solidFill>
              </a:defRPr>
            </a:lvl3pPr>
            <a:lvl4pPr>
              <a:buClrTx/>
              <a:defRPr sz="975">
                <a:solidFill>
                  <a:schemeClr val="bg1"/>
                </a:solidFill>
              </a:defRPr>
            </a:lvl4pPr>
            <a:lvl5pPr>
              <a:buClrTx/>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65AA73B2-7F7D-374A-8EF9-0FF03ADCE6AF}"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3175398" y="251222"/>
            <a:ext cx="5725715" cy="2260997"/>
          </a:xfrm>
        </p:spPr>
        <p:txBody>
          <a:bodyPr/>
          <a:lstStyle>
            <a:lvl1pPr>
              <a:defRPr sz="1050">
                <a:solidFill>
                  <a:schemeClr val="bg1"/>
                </a:solidFill>
              </a:defRPr>
            </a:lvl1pPr>
          </a:lstStyle>
          <a:p>
            <a:r>
              <a:rPr lang="en-US"/>
              <a:t>Click icon to add picture</a:t>
            </a:r>
            <a:endParaRPr lang="en-GB"/>
          </a:p>
        </p:txBody>
      </p:sp>
      <p:sp>
        <p:nvSpPr>
          <p:cNvPr id="12" name="Picture Placeholder 9">
            <a:extLst>
              <a:ext uri="{FF2B5EF4-FFF2-40B4-BE49-F238E27FC236}">
                <a16:creationId xmlns:a16="http://schemas.microsoft.com/office/drawing/2014/main" id="{90D8BBA5-0A41-D5DC-4877-DA81667CC919}"/>
              </a:ext>
            </a:extLst>
          </p:cNvPr>
          <p:cNvSpPr>
            <a:spLocks noGrp="1"/>
          </p:cNvSpPr>
          <p:nvPr>
            <p:ph type="pic" sz="quarter" idx="14"/>
          </p:nvPr>
        </p:nvSpPr>
        <p:spPr>
          <a:xfrm>
            <a:off x="3175398" y="2628901"/>
            <a:ext cx="2801540" cy="1870472"/>
          </a:xfrm>
        </p:spPr>
        <p:txBody>
          <a:bodyPr/>
          <a:lstStyle>
            <a:lvl1pPr>
              <a:defRPr sz="1050">
                <a:solidFill>
                  <a:schemeClr val="bg1"/>
                </a:solidFill>
              </a:defRPr>
            </a:lvl1pPr>
          </a:lstStyle>
          <a:p>
            <a:r>
              <a:rPr lang="en-US"/>
              <a:t>Click icon to add picture</a:t>
            </a:r>
            <a:endParaRPr lang="en-GB"/>
          </a:p>
        </p:txBody>
      </p:sp>
      <p:sp>
        <p:nvSpPr>
          <p:cNvPr id="14" name="Picture Placeholder 9">
            <a:extLst>
              <a:ext uri="{FF2B5EF4-FFF2-40B4-BE49-F238E27FC236}">
                <a16:creationId xmlns:a16="http://schemas.microsoft.com/office/drawing/2014/main" id="{DD0A121E-7B0B-91C5-2F81-3B50CF497161}"/>
              </a:ext>
            </a:extLst>
          </p:cNvPr>
          <p:cNvSpPr>
            <a:spLocks noGrp="1"/>
          </p:cNvSpPr>
          <p:nvPr>
            <p:ph type="pic" sz="quarter" idx="15"/>
          </p:nvPr>
        </p:nvSpPr>
        <p:spPr>
          <a:xfrm>
            <a:off x="6096001" y="2628901"/>
            <a:ext cx="2801540" cy="1870472"/>
          </a:xfrm>
        </p:spPr>
        <p:txBody>
          <a:bodyPr/>
          <a:lstStyle>
            <a:lvl1pPr>
              <a:defRPr sz="1050">
                <a:solidFill>
                  <a:schemeClr val="bg1"/>
                </a:solidFill>
              </a:defRPr>
            </a:lvl1pPr>
          </a:lstStyle>
          <a:p>
            <a:r>
              <a:rPr lang="en-US"/>
              <a:t>Click icon to add picture</a:t>
            </a:r>
            <a:endParaRPr lang="en-GB"/>
          </a:p>
        </p:txBody>
      </p:sp>
      <p:pic>
        <p:nvPicPr>
          <p:cNvPr id="7" name="Picture 6">
            <a:extLst>
              <a:ext uri="{FF2B5EF4-FFF2-40B4-BE49-F238E27FC236}">
                <a16:creationId xmlns:a16="http://schemas.microsoft.com/office/drawing/2014/main" id="{BEBBC748-D33D-4AE8-9335-109E33E75E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41584390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 Imag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1" y="194429"/>
            <a:ext cx="2566875" cy="1527215"/>
          </a:xfrm>
        </p:spPr>
        <p:txBody>
          <a:bodyPr/>
          <a:lstStyle>
            <a:lvl1pPr>
              <a:defRPr sz="165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0" y="1804916"/>
            <a:ext cx="2813335" cy="2694456"/>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3E580E6F-37A7-2348-9965-F1EB18343153}"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3175398" y="1831182"/>
            <a:ext cx="5725715" cy="2658665"/>
          </a:xfrm>
        </p:spPr>
        <p:txBody>
          <a:bodyPr/>
          <a:lstStyle>
            <a:lvl1pPr>
              <a:defRPr sz="1050">
                <a:solidFill>
                  <a:schemeClr val="accent2"/>
                </a:solidFill>
              </a:defRPr>
            </a:lvl1pPr>
          </a:lstStyle>
          <a:p>
            <a:r>
              <a:rPr lang="en-US"/>
              <a:t>Click icon to add picture</a:t>
            </a:r>
            <a:endParaRPr lang="en-GB"/>
          </a:p>
        </p:txBody>
      </p:sp>
      <p:sp>
        <p:nvSpPr>
          <p:cNvPr id="15" name="Text Placeholder 14">
            <a:extLst>
              <a:ext uri="{FF2B5EF4-FFF2-40B4-BE49-F238E27FC236}">
                <a16:creationId xmlns:a16="http://schemas.microsoft.com/office/drawing/2014/main" id="{E897DAE2-464C-A433-A3AE-1064DF133281}"/>
              </a:ext>
            </a:extLst>
          </p:cNvPr>
          <p:cNvSpPr>
            <a:spLocks noGrp="1"/>
          </p:cNvSpPr>
          <p:nvPr>
            <p:ph type="body" sz="quarter" idx="14"/>
          </p:nvPr>
        </p:nvSpPr>
        <p:spPr>
          <a:xfrm>
            <a:off x="3175397" y="208569"/>
            <a:ext cx="4629150" cy="1124783"/>
          </a:xfrm>
        </p:spPr>
        <p:txBody>
          <a:bodyPr/>
          <a:lstStyle>
            <a:lvl1pPr>
              <a:defRPr sz="1650"/>
            </a:lvl1pPr>
            <a:lvl2pPr>
              <a:defRPr sz="165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3D5F1537-66BE-A53E-4C7D-5AD06A7AF6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9757819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rge Title, Content + Full-bleed Image">
    <p:bg>
      <p:bgPr>
        <a:blipFill dpi="0" rotWithShape="1">
          <a:blip r:embed="rId2">
            <a:alphaModFix amt="44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0900"/>
            <a:ext cx="7317000" cy="1527215"/>
          </a:xfrm>
        </p:spPr>
        <p:txBody>
          <a:bodyPr/>
          <a:lstStyle>
            <a:lvl1pPr>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3001" y="1804916"/>
            <a:ext cx="1347675" cy="2694456"/>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96805357-6666-6141-A5A4-21D9DD505E2B}"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1" name="Content Placeholder 2">
            <a:extLst>
              <a:ext uri="{FF2B5EF4-FFF2-40B4-BE49-F238E27FC236}">
                <a16:creationId xmlns:a16="http://schemas.microsoft.com/office/drawing/2014/main" id="{A76D18C0-226A-1209-C859-3B800DE0C921}"/>
              </a:ext>
            </a:extLst>
          </p:cNvPr>
          <p:cNvSpPr>
            <a:spLocks noGrp="1"/>
          </p:cNvSpPr>
          <p:nvPr>
            <p:ph idx="13"/>
          </p:nvPr>
        </p:nvSpPr>
        <p:spPr>
          <a:xfrm>
            <a:off x="1716562" y="1804916"/>
            <a:ext cx="2069626" cy="2694456"/>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40159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top left, Content top lef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0900"/>
            <a:ext cx="3908710" cy="1246227"/>
          </a:xfrm>
        </p:spPr>
        <p:txBody>
          <a:bodyPr/>
          <a:lstStyle>
            <a:lvl1pPr>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4635103" y="233035"/>
            <a:ext cx="4265897" cy="1222292"/>
          </a:xfrm>
        </p:spPr>
        <p:txBody>
          <a:bodyPr/>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18494134-8C93-0F40-B21D-2B83A0C2B99A}"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C4BFB75D-B8C4-B380-66B5-BDFDC1868C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358177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N' crop 2">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C8A2E9-F3A4-D717-C1BF-09D9D2E6E8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1" y="169683"/>
            <a:ext cx="2804999" cy="1551961"/>
          </a:xfrm>
        </p:spPr>
        <p:txBody>
          <a:bodyPr anchor="t" anchorCtr="0">
            <a:noAutofit/>
          </a:bodyPr>
          <a:lstStyle>
            <a:lvl1pPr algn="l">
              <a:lnSpc>
                <a:spcPct val="95000"/>
              </a:lnSpc>
              <a:defRPr sz="315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88197"/>
            <a:ext cx="2808685" cy="1118169"/>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1D978A32-E423-3BE0-C5DE-44C8C32EBB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22701643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 2-column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80900"/>
            <a:ext cx="7317000" cy="1246227"/>
          </a:xfrm>
        </p:spPr>
        <p:txBody>
          <a:bodyPr/>
          <a:lstStyle>
            <a:lvl1pPr>
              <a:defRPr sz="2400" spc="-8" baseline="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4079" y="1817999"/>
            <a:ext cx="2812256" cy="2681373"/>
          </a:xfrm>
        </p:spPr>
        <p:txBody>
          <a:bodyPr numCol="2" spcCol="144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BE6BE354-7CD9-D14F-BE5B-FF5754AEA64A}"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11426242-196A-8A51-C34C-43A78F7CC0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23789565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2 columns Text with Quo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97964"/>
            <a:ext cx="2566875" cy="1121249"/>
          </a:xfrm>
        </p:spPr>
        <p:txBody>
          <a:bodyPr/>
          <a:lstStyle>
            <a:lvl1pPr>
              <a:lnSpc>
                <a:spcPct val="95000"/>
              </a:lnSpc>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175398" y="227324"/>
            <a:ext cx="5738373" cy="4272048"/>
          </a:xfrm>
        </p:spPr>
        <p:txBody>
          <a:bodyPr numCol="2" spcCol="216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marL="95250" indent="-95250">
              <a:buClrTx/>
              <a:buFontTx/>
              <a:buNone/>
              <a:defRPr sz="1500" b="1">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6A1C9B99-B710-5841-AF0D-7E3FC5CF524B}"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DAC28570-4441-4687-8DA1-2BE21537ED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1885790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3 columns Text with Quo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243000" y="197964"/>
            <a:ext cx="7317000" cy="1121249"/>
          </a:xfrm>
        </p:spPr>
        <p:txBody>
          <a:bodyPr/>
          <a:lstStyle>
            <a:lvl1pPr>
              <a:lnSpc>
                <a:spcPct val="95000"/>
              </a:lnSpc>
              <a:defRPr sz="24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44078" y="1831181"/>
            <a:ext cx="8669693" cy="2668191"/>
          </a:xfrm>
        </p:spPr>
        <p:txBody>
          <a:bodyPr numCol="3" spcCol="216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marL="95250" indent="-95250">
              <a:buClrTx/>
              <a:buFontTx/>
              <a:buNone/>
              <a:defRPr sz="1500" b="1">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74B048F0-196D-CE42-81EE-D30F1FCB5904}" type="datetime1">
              <a:rPr lang="en-US" smtClean="0"/>
              <a:t>9/23/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CD88F885-D298-A09B-9A7C-B04AAF177A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4343548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g Statement (Dark)">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A8A9AF69-AB1B-D74C-A38C-7EEB1C8D3729}"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53538"/>
            <a:ext cx="7317000" cy="3152828"/>
          </a:xfrm>
        </p:spPr>
        <p:txBody>
          <a:bodyPr/>
          <a:lstStyle>
            <a:lvl1pPr>
              <a:lnSpc>
                <a:spcPct val="90000"/>
              </a:lnSpc>
              <a:defRPr sz="5700" spc="-113" baseline="0">
                <a:solidFill>
                  <a:schemeClr val="accent4"/>
                </a:solidFill>
              </a:defRPr>
            </a:lvl1pPr>
          </a:lstStyle>
          <a:p>
            <a:r>
              <a:rPr lang="en-US"/>
              <a:t>Click to edit Master title style</a:t>
            </a:r>
            <a:endParaRPr lang="en-GB"/>
          </a:p>
        </p:txBody>
      </p:sp>
      <p:pic>
        <p:nvPicPr>
          <p:cNvPr id="2" name="Picture 1">
            <a:extLst>
              <a:ext uri="{FF2B5EF4-FFF2-40B4-BE49-F238E27FC236}">
                <a16:creationId xmlns:a16="http://schemas.microsoft.com/office/drawing/2014/main" id="{4C129E6B-05CC-EE1D-12B0-EFCA104E60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0389282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ig Statement (Light)">
    <p:bg>
      <p:bgPr>
        <a:solidFill>
          <a:schemeClr val="bg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619E9575-8D2D-5747-9479-F4CE93297092}"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53538"/>
            <a:ext cx="7317000" cy="3152828"/>
          </a:xfrm>
        </p:spPr>
        <p:txBody>
          <a:bodyPr/>
          <a:lstStyle>
            <a:lvl1pPr>
              <a:lnSpc>
                <a:spcPct val="90000"/>
              </a:lnSpc>
              <a:defRPr sz="5700" spc="-113" baseline="0">
                <a:solidFill>
                  <a:schemeClr val="accent2"/>
                </a:solidFill>
              </a:defRPr>
            </a:lvl1pPr>
          </a:lstStyle>
          <a:p>
            <a:r>
              <a:rPr lang="en-US"/>
              <a:t>Click to edit Master title style</a:t>
            </a:r>
            <a:endParaRPr lang="en-GB"/>
          </a:p>
        </p:txBody>
      </p:sp>
      <p:pic>
        <p:nvPicPr>
          <p:cNvPr id="7" name="Picture 6">
            <a:extLst>
              <a:ext uri="{FF2B5EF4-FFF2-40B4-BE49-F238E27FC236}">
                <a16:creationId xmlns:a16="http://schemas.microsoft.com/office/drawing/2014/main" id="{5F07DBD4-6485-C7E6-BC3C-429122E450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786284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Chart (S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3000" y="181146"/>
            <a:ext cx="3908711"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FB2881FC-06EB-4C43-ABA3-B2F4CEB7115D}"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3539729" y="251222"/>
            <a:ext cx="5364956" cy="4499887"/>
          </a:xfrm>
        </p:spPr>
        <p:txBody>
          <a:bodyPr/>
          <a:lstStyle>
            <a:lvl1pPr>
              <a:defRPr sz="1050"/>
            </a:lvl1pPr>
          </a:lstStyle>
          <a:p>
            <a:r>
              <a:rPr lang="en-US"/>
              <a:t>Click icon to add chart</a:t>
            </a:r>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244079" y="2548772"/>
            <a:ext cx="2812256" cy="1950600"/>
          </a:xfrm>
        </p:spPr>
        <p:txBody>
          <a:bodyPr numCol="1" spcCol="144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a:extLst>
              <a:ext uri="{FF2B5EF4-FFF2-40B4-BE49-F238E27FC236}">
                <a16:creationId xmlns:a16="http://schemas.microsoft.com/office/drawing/2014/main" id="{50DD2A1F-B42B-67C4-0B1E-CF51BCE3D7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9869548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2 Charts (S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CEF1FDAE-F34C-BB4C-A476-C6117CA7A18E}"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244079" y="1403416"/>
            <a:ext cx="2076450" cy="1902950"/>
          </a:xfrm>
        </p:spPr>
        <p:txBody>
          <a:bodyPr numCol="1" spcCol="144000"/>
          <a:lstStyle>
            <a:lvl1pPr>
              <a:defRPr sz="975">
                <a:solidFill>
                  <a:schemeClr val="accent2"/>
                </a:solidFill>
              </a:defRPr>
            </a:lvl1pPr>
            <a:lvl2pPr>
              <a:defRPr sz="975">
                <a:solidFill>
                  <a:schemeClr val="accent2"/>
                </a:solidFill>
              </a:defRPr>
            </a:lvl2pPr>
            <a:lvl3pPr>
              <a:buClrTx/>
              <a:defRPr sz="975">
                <a:solidFill>
                  <a:schemeClr val="accent2"/>
                </a:solidFill>
              </a:defRPr>
            </a:lvl3pPr>
            <a:lvl4pPr>
              <a:buClrTx/>
              <a:defRPr sz="975">
                <a:solidFill>
                  <a:schemeClr val="accent2"/>
                </a:solidFill>
              </a:defRPr>
            </a:lvl4pPr>
            <a:lvl5pPr>
              <a:buClrTx/>
              <a:defRPr sz="975">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3056335" y="1403416"/>
            <a:ext cx="2797711" cy="3210257"/>
          </a:xfrm>
        </p:spPr>
        <p:txBody>
          <a:bodyPr/>
          <a:lstStyle>
            <a:lvl1pPr>
              <a:defRPr sz="1050"/>
            </a:lvl1pPr>
          </a:lstStyle>
          <a:p>
            <a:r>
              <a:rPr lang="en-US"/>
              <a:t>Click icon to add chart</a:t>
            </a:r>
            <a:endParaRPr lang="en-GB"/>
          </a:p>
        </p:txBody>
      </p:sp>
      <p:sp>
        <p:nvSpPr>
          <p:cNvPr id="13" name="Chart Placeholder 10">
            <a:extLst>
              <a:ext uri="{FF2B5EF4-FFF2-40B4-BE49-F238E27FC236}">
                <a16:creationId xmlns:a16="http://schemas.microsoft.com/office/drawing/2014/main" id="{5B479BFC-AEF1-7C0B-9EDE-283D9E35837E}"/>
              </a:ext>
            </a:extLst>
          </p:cNvPr>
          <p:cNvSpPr>
            <a:spLocks noGrp="1"/>
          </p:cNvSpPr>
          <p:nvPr>
            <p:ph type="chart" sz="quarter" idx="14"/>
          </p:nvPr>
        </p:nvSpPr>
        <p:spPr>
          <a:xfrm>
            <a:off x="5976938" y="1403416"/>
            <a:ext cx="2797711" cy="3210257"/>
          </a:xfrm>
        </p:spPr>
        <p:txBody>
          <a:bodyPr/>
          <a:lstStyle>
            <a:lvl1pPr>
              <a:defRPr sz="1050"/>
            </a:lvl1pPr>
          </a:lstStyle>
          <a:p>
            <a:r>
              <a:rPr lang="en-US"/>
              <a:t>Click icon to add chart</a:t>
            </a:r>
            <a:endParaRPr lang="en-GB"/>
          </a:p>
        </p:txBody>
      </p:sp>
      <p:pic>
        <p:nvPicPr>
          <p:cNvPr id="8" name="Picture 7">
            <a:extLst>
              <a:ext uri="{FF2B5EF4-FFF2-40B4-BE49-F238E27FC236}">
                <a16:creationId xmlns:a16="http://schemas.microsoft.com/office/drawing/2014/main" id="{99C85144-149F-2345-2193-229E0679E3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2951990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2 Charts (Blue) Righ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B085B4B7-F6FA-EF45-87EF-96F1B6E4FBE9}"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244079" y="1403416"/>
            <a:ext cx="2076450" cy="1902950"/>
          </a:xfrm>
        </p:spPr>
        <p:txBody>
          <a:bodyPr numCol="1" spcCol="144000"/>
          <a:lstStyle>
            <a:lvl1pPr>
              <a:defRPr sz="975">
                <a:solidFill>
                  <a:schemeClr val="bg1"/>
                </a:solidFill>
              </a:defRPr>
            </a:lvl1pPr>
            <a:lvl2pPr>
              <a:defRPr sz="975">
                <a:solidFill>
                  <a:schemeClr val="bg1"/>
                </a:solidFill>
              </a:defRPr>
            </a:lvl2pPr>
            <a:lvl3pPr>
              <a:buClrTx/>
              <a:defRPr sz="975">
                <a:solidFill>
                  <a:schemeClr val="bg1"/>
                </a:solidFill>
              </a:defRPr>
            </a:lvl3pPr>
            <a:lvl4pPr>
              <a:buClrTx/>
              <a:defRPr sz="975">
                <a:solidFill>
                  <a:schemeClr val="bg1"/>
                </a:solidFill>
              </a:defRPr>
            </a:lvl4pPr>
            <a:lvl5pPr>
              <a:buClrTx/>
              <a:defRPr sz="975">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3056335" y="1403416"/>
            <a:ext cx="2797711" cy="3210257"/>
          </a:xfrm>
        </p:spPr>
        <p:txBody>
          <a:bodyPr/>
          <a:lstStyle>
            <a:lvl1pPr>
              <a:defRPr sz="1050">
                <a:solidFill>
                  <a:schemeClr val="bg1"/>
                </a:solidFill>
              </a:defRPr>
            </a:lvl1pPr>
          </a:lstStyle>
          <a:p>
            <a:r>
              <a:rPr lang="en-US"/>
              <a:t>Click icon to add chart</a:t>
            </a:r>
            <a:endParaRPr lang="en-GB"/>
          </a:p>
        </p:txBody>
      </p:sp>
      <p:sp>
        <p:nvSpPr>
          <p:cNvPr id="13" name="Chart Placeholder 10">
            <a:extLst>
              <a:ext uri="{FF2B5EF4-FFF2-40B4-BE49-F238E27FC236}">
                <a16:creationId xmlns:a16="http://schemas.microsoft.com/office/drawing/2014/main" id="{5B479BFC-AEF1-7C0B-9EDE-283D9E35837E}"/>
              </a:ext>
            </a:extLst>
          </p:cNvPr>
          <p:cNvSpPr>
            <a:spLocks noGrp="1"/>
          </p:cNvSpPr>
          <p:nvPr>
            <p:ph type="chart" sz="quarter" idx="14"/>
          </p:nvPr>
        </p:nvSpPr>
        <p:spPr>
          <a:xfrm>
            <a:off x="5976938" y="1403416"/>
            <a:ext cx="2797711" cy="3210257"/>
          </a:xfrm>
        </p:spPr>
        <p:txBody>
          <a:bodyPr/>
          <a:lstStyle>
            <a:lvl1pPr>
              <a:defRPr sz="1050">
                <a:solidFill>
                  <a:schemeClr val="bg1"/>
                </a:solidFill>
              </a:defRPr>
            </a:lvl1pPr>
          </a:lstStyle>
          <a:p>
            <a:r>
              <a:rPr lang="en-US"/>
              <a:t>Click icon to add chart</a:t>
            </a:r>
            <a:endParaRPr lang="en-GB"/>
          </a:p>
        </p:txBody>
      </p:sp>
      <p:pic>
        <p:nvPicPr>
          <p:cNvPr id="6" name="Picture 5">
            <a:extLst>
              <a:ext uri="{FF2B5EF4-FFF2-40B4-BE49-F238E27FC236}">
                <a16:creationId xmlns:a16="http://schemas.microsoft.com/office/drawing/2014/main" id="{D932077F-018D-D6C1-3C2D-8FB7C3CF61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2439960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Chart Righ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3001" y="181146"/>
            <a:ext cx="4027772"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0AAE314E-90EB-F44F-B198-0204163FE650}"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4635104" y="2571750"/>
            <a:ext cx="4265677" cy="2041922"/>
          </a:xfrm>
        </p:spPr>
        <p:txBody>
          <a:bodyPr/>
          <a:lstStyle>
            <a:lvl1pPr>
              <a:defRPr sz="1050"/>
            </a:lvl1pPr>
          </a:lstStyle>
          <a:p>
            <a:r>
              <a:rPr lang="en-US"/>
              <a:t>Click icon to add chart</a:t>
            </a:r>
            <a:endParaRPr lang="en-GB"/>
          </a:p>
        </p:txBody>
      </p:sp>
      <p:sp>
        <p:nvSpPr>
          <p:cNvPr id="8" name="Content Placeholder 2">
            <a:extLst>
              <a:ext uri="{FF2B5EF4-FFF2-40B4-BE49-F238E27FC236}">
                <a16:creationId xmlns:a16="http://schemas.microsoft.com/office/drawing/2014/main" id="{F5EDC4D2-796B-B45D-559D-B8BFF66969E9}"/>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77E4A32F-38D1-F57B-93DA-AD867BF940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8061282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Chart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948EB6-C7A3-746A-60CC-E8D9C36261E8}"/>
              </a:ext>
            </a:extLst>
          </p:cNvPr>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40284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954CAC6E-6F57-E74D-BC6F-E8EBDC94F071}"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4635104" y="2571750"/>
            <a:ext cx="4265677" cy="2041922"/>
          </a:xfrm>
        </p:spPr>
        <p:txBody>
          <a:bodyPr/>
          <a:lstStyle>
            <a:lvl1pPr>
              <a:defRPr sz="1050"/>
            </a:lvl1pPr>
          </a:lstStyle>
          <a:p>
            <a:r>
              <a:rPr lang="en-US"/>
              <a:t>Click icon to add chart</a:t>
            </a:r>
            <a:endParaRPr lang="en-GB"/>
          </a:p>
        </p:txBody>
      </p:sp>
      <p:sp>
        <p:nvSpPr>
          <p:cNvPr id="8" name="Content Placeholder 2">
            <a:extLst>
              <a:ext uri="{FF2B5EF4-FFF2-40B4-BE49-F238E27FC236}">
                <a16:creationId xmlns:a16="http://schemas.microsoft.com/office/drawing/2014/main" id="{F5EDC4D2-796B-B45D-559D-B8BFF66969E9}"/>
              </a:ext>
            </a:extLst>
          </p:cNvPr>
          <p:cNvSpPr>
            <a:spLocks noGrp="1"/>
          </p:cNvSpPr>
          <p:nvPr>
            <p:ph idx="1"/>
          </p:nvPr>
        </p:nvSpPr>
        <p:spPr>
          <a:xfrm>
            <a:off x="243000" y="2531098"/>
            <a:ext cx="2813335" cy="208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AD23E967-FFBA-CF6B-BE9A-B57EBBE633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40021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D' crop 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B172587-5260-AA69-7C8F-657CE8E371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809875" y="173219"/>
            <a:ext cx="4630341"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809875" y="2198802"/>
            <a:ext cx="3532585" cy="110756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E4DAA7BB-36E3-7FA2-0E37-B1649E10E2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1532770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2 Charts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2BC4EB33-7386-874A-A324-8B05A8E99C6B}"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244079" y="1831181"/>
            <a:ext cx="4271963" cy="2668191"/>
          </a:xfrm>
        </p:spPr>
        <p:txBody>
          <a:bodyPr/>
          <a:lstStyle>
            <a:lvl1pPr>
              <a:defRPr sz="1050"/>
            </a:lvl1pPr>
          </a:lstStyle>
          <a:p>
            <a:r>
              <a:rPr lang="en-US"/>
              <a:t>Click icon to add chart</a:t>
            </a:r>
            <a:endParaRPr lang="en-GB"/>
          </a:p>
        </p:txBody>
      </p:sp>
      <p:sp>
        <p:nvSpPr>
          <p:cNvPr id="9" name="Chart Placeholder 11">
            <a:extLst>
              <a:ext uri="{FF2B5EF4-FFF2-40B4-BE49-F238E27FC236}">
                <a16:creationId xmlns:a16="http://schemas.microsoft.com/office/drawing/2014/main" id="{2C7A26A0-C94E-F4B0-DDAE-25493413EFD4}"/>
              </a:ext>
            </a:extLst>
          </p:cNvPr>
          <p:cNvSpPr>
            <a:spLocks noGrp="1"/>
          </p:cNvSpPr>
          <p:nvPr>
            <p:ph type="chart" sz="quarter" idx="14"/>
          </p:nvPr>
        </p:nvSpPr>
        <p:spPr>
          <a:xfrm>
            <a:off x="4631531" y="1831181"/>
            <a:ext cx="4271963" cy="2668191"/>
          </a:xfrm>
        </p:spPr>
        <p:txBody>
          <a:bodyPr/>
          <a:lstStyle>
            <a:lvl1pPr>
              <a:defRPr sz="1050"/>
            </a:lvl1pPr>
          </a:lstStyle>
          <a:p>
            <a:r>
              <a:rPr lang="en-US"/>
              <a:t>Click icon to add chart</a:t>
            </a:r>
            <a:endParaRPr lang="en-GB"/>
          </a:p>
        </p:txBody>
      </p:sp>
      <p:pic>
        <p:nvPicPr>
          <p:cNvPr id="7" name="Picture 6">
            <a:extLst>
              <a:ext uri="{FF2B5EF4-FFF2-40B4-BE49-F238E27FC236}">
                <a16:creationId xmlns:a16="http://schemas.microsoft.com/office/drawing/2014/main" id="{156612E9-31DB-4F2B-1659-4B56737952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8323933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Char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lvl1pPr>
              <a:defRPr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439AF785-B839-4347-9C91-DFAF7DEFDEF9}"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244079" y="1831181"/>
            <a:ext cx="8660606" cy="2668191"/>
          </a:xfrm>
        </p:spPr>
        <p:txBody>
          <a:bodyPr/>
          <a:lstStyle>
            <a:lvl1pPr>
              <a:defRPr sz="1050"/>
            </a:lvl1pPr>
          </a:lstStyle>
          <a:p>
            <a:r>
              <a:rPr lang="en-US"/>
              <a:t>Click icon to add chart</a:t>
            </a:r>
            <a:endParaRPr lang="en-GB"/>
          </a:p>
        </p:txBody>
      </p:sp>
      <p:pic>
        <p:nvPicPr>
          <p:cNvPr id="7" name="Picture 6">
            <a:extLst>
              <a:ext uri="{FF2B5EF4-FFF2-40B4-BE49-F238E27FC236}">
                <a16:creationId xmlns:a16="http://schemas.microsoft.com/office/drawing/2014/main" id="{CF9F0496-7BFC-00EB-4A83-E873778611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0703787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Char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F967C117-788A-A340-9A4D-6331D41656B1}"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244079" y="1831181"/>
            <a:ext cx="8660606" cy="2668191"/>
          </a:xfrm>
        </p:spPr>
        <p:txBody>
          <a:bodyPr/>
          <a:lstStyle>
            <a:lvl1pPr>
              <a:defRPr sz="1050"/>
            </a:lvl1pPr>
          </a:lstStyle>
          <a:p>
            <a:r>
              <a:rPr lang="en-US"/>
              <a:t>Click icon to add chart</a:t>
            </a:r>
            <a:endParaRPr lang="en-GB"/>
          </a:p>
        </p:txBody>
      </p:sp>
      <p:pic>
        <p:nvPicPr>
          <p:cNvPr id="7" name="Picture 6">
            <a:extLst>
              <a:ext uri="{FF2B5EF4-FFF2-40B4-BE49-F238E27FC236}">
                <a16:creationId xmlns:a16="http://schemas.microsoft.com/office/drawing/2014/main" id="{3AA1D6D0-0887-D543-85B6-0DBC2F8738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1174174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3000"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27180405-AA28-C047-B000-14E6EE8ACA7E}"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8" name="SmartArt Placeholder 7">
            <a:extLst>
              <a:ext uri="{FF2B5EF4-FFF2-40B4-BE49-F238E27FC236}">
                <a16:creationId xmlns:a16="http://schemas.microsoft.com/office/drawing/2014/main" id="{8B7C723A-0D24-CF3C-D7FA-CB22FE4F6C9E}"/>
              </a:ext>
            </a:extLst>
          </p:cNvPr>
          <p:cNvSpPr>
            <a:spLocks noGrp="1"/>
          </p:cNvSpPr>
          <p:nvPr>
            <p:ph type="dgm" sz="quarter" idx="13"/>
          </p:nvPr>
        </p:nvSpPr>
        <p:spPr>
          <a:xfrm>
            <a:off x="244079" y="1440656"/>
            <a:ext cx="8670131" cy="3058716"/>
          </a:xfrm>
        </p:spPr>
        <p:txBody>
          <a:bodyPr/>
          <a:lstStyle>
            <a:lvl1pPr>
              <a:defRPr sz="1050"/>
            </a:lvl1pPr>
          </a:lstStyle>
          <a:p>
            <a:r>
              <a:rPr lang="en-US"/>
              <a:t>Click icon to add SmartArt graphic</a:t>
            </a:r>
            <a:endParaRPr lang="en-GB"/>
          </a:p>
        </p:txBody>
      </p:sp>
      <p:pic>
        <p:nvPicPr>
          <p:cNvPr id="7" name="Picture 6">
            <a:extLst>
              <a:ext uri="{FF2B5EF4-FFF2-40B4-BE49-F238E27FC236}">
                <a16:creationId xmlns:a16="http://schemas.microsoft.com/office/drawing/2014/main" id="{6746C3B2-D510-4CEC-F95B-900AF82DFA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22851597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tatement + Logo 'S'">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ABE8BC-C73B-B5D5-C466-ED3B3BD91D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8088208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tatement + Logo 'A'">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4A8E45-0210-34CA-28D8-6EA37BD7D6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3990876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atement + Logo 'N'">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4EA56-6FDF-7F47-C1D8-DFAFCFE462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5675579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tement + Logo 'D'">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9C7C751-4B4D-BD9B-929C-E3A0C8F8B7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28700648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tatement + Logo 'O'">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25576C-959F-2C1E-9687-80118E0444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144065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19177364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tement + Logo 'Z'">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8C2ADA-AA21-DCE1-0F40-6DA35FB0D2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981075" y="846007"/>
            <a:ext cx="7187804" cy="2260997"/>
          </a:xfrm>
        </p:spPr>
        <p:txBody>
          <a:bodyPr anchor="ctr" anchorCtr="0">
            <a:noAutofit/>
          </a:bodyPr>
          <a:lstStyle>
            <a:lvl1pPr algn="ctr">
              <a:lnSpc>
                <a:spcPct val="95000"/>
              </a:lnSpc>
              <a:defRPr sz="315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6832" y="4478956"/>
            <a:ext cx="1576979" cy="227471"/>
          </a:xfrm>
          <a:prstGeom prst="rect">
            <a:avLst/>
          </a:prstGeom>
        </p:spPr>
      </p:pic>
    </p:spTree>
    <p:extLst>
      <p:ext uri="{BB962C8B-B14F-4D97-AF65-F5344CB8AC3E}">
        <p14:creationId xmlns:p14="http://schemas.microsoft.com/office/powerpoint/2010/main" val="2506713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D'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EDC9648-E6C1-4D79-7B1F-39BE975F44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2809875" y="173219"/>
            <a:ext cx="4630341"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2809875" y="2198802"/>
            <a:ext cx="3532585" cy="1107564"/>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E4DAA7BB-36E3-7FA2-0E37-B1649E10E2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1139936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rge Logo 'S'">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95BA13-603F-6AFA-95C3-A8C43EC870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33786514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rge Logo 'A'">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E4AD3E-5EB1-E192-B614-E479C38F09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2601700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rge Logo 'N'">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AF48C9-6A85-1D47-FC80-33A3973C0F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1977871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Logo 'D'">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BDBF5D-D222-9327-69A2-3B09EEA38E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3820804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rge Logo 'O'">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9853DD-DA67-06E8-1062-E3C16932CA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5315157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Logo 'Z'">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0175F5-74DF-C58B-204B-C5D4B73805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50929" y="2014202"/>
            <a:ext cx="7240131" cy="1044347"/>
          </a:xfrm>
          <a:prstGeom prst="rect">
            <a:avLst/>
          </a:prstGeom>
        </p:spPr>
      </p:pic>
    </p:spTree>
    <p:extLst>
      <p:ext uri="{BB962C8B-B14F-4D97-AF65-F5344CB8AC3E}">
        <p14:creationId xmlns:p14="http://schemas.microsoft.com/office/powerpoint/2010/main" val="18939698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S' ALT">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73FDE29-6C42-55F3-EF80-F0A89B8252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15639" y="2433747"/>
            <a:ext cx="2226334" cy="2179925"/>
          </a:xfrm>
        </p:spPr>
        <p:txBody>
          <a:bodyPr anchor="t" anchorCtr="0">
            <a:noAutofit/>
          </a:bodyPr>
          <a:lstStyle>
            <a:lvl1pPr algn="l">
              <a:lnSpc>
                <a:spcPct val="95000"/>
              </a:lnSpc>
              <a:defRPr sz="3150">
                <a:solidFill>
                  <a:schemeClr val="accent2"/>
                </a:solidFill>
              </a:defRPr>
            </a:lvl1pPr>
          </a:lstStyle>
          <a:p>
            <a:r>
              <a:rPr lang="en-US"/>
              <a:t>Click to edit Divider text</a:t>
            </a:r>
            <a:br>
              <a:rPr lang="en-US"/>
            </a:br>
            <a:br>
              <a:rPr lang="en-US"/>
            </a:br>
            <a:endParaRPr lang="en-GB"/>
          </a:p>
        </p:txBody>
      </p:sp>
      <p:sp>
        <p:nvSpPr>
          <p:cNvPr id="3" name="Freeform 2">
            <a:hlinkClick r:id="" action="ppaction://noaction"/>
            <a:extLst>
              <a:ext uri="{FF2B5EF4-FFF2-40B4-BE49-F238E27FC236}">
                <a16:creationId xmlns:a16="http://schemas.microsoft.com/office/drawing/2014/main" id="{1EDB3A52-52DB-AF78-D679-F1B50378D475}"/>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4" name="Rectangle 3">
            <a:hlinkClick r:id="rId3" action="ppaction://hlinksldjump"/>
            <a:extLst>
              <a:ext uri="{FF2B5EF4-FFF2-40B4-BE49-F238E27FC236}">
                <a16:creationId xmlns:a16="http://schemas.microsoft.com/office/drawing/2014/main" id="{2BFA7E81-CD00-CC50-7BE9-841A1FAE843F}"/>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647022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FC6772-AECE-EBEE-AF9D-904492652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44077" y="1799666"/>
            <a:ext cx="5667992" cy="1544168"/>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1244601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N'">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37647B-4F58-9730-577A-4DF0FDC837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6096000" y="1958419"/>
            <a:ext cx="2808685" cy="2140904"/>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
        <p:nvSpPr>
          <p:cNvPr id="3" name="Freeform 2">
            <a:hlinkClick r:id="" action="ppaction://noaction"/>
            <a:extLst>
              <a:ext uri="{FF2B5EF4-FFF2-40B4-BE49-F238E27FC236}">
                <a16:creationId xmlns:a16="http://schemas.microsoft.com/office/drawing/2014/main" id="{04941098-E021-D6F5-426B-EF9C20669614}"/>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5" name="Rectangle 4">
            <a:hlinkClick r:id="rId3" action="ppaction://hlinksldjump"/>
            <a:extLst>
              <a:ext uri="{FF2B5EF4-FFF2-40B4-BE49-F238E27FC236}">
                <a16:creationId xmlns:a16="http://schemas.microsoft.com/office/drawing/2014/main" id="{696BB17D-B303-C17B-FB81-BA3F0FC0DBC1}"/>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36162288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D'">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5EA495-6AE9-2226-901D-177006240B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547232" y="1367847"/>
            <a:ext cx="5114810" cy="421540"/>
          </a:xfrm>
        </p:spPr>
        <p:txBody>
          <a:bodyPr anchor="t" anchorCtr="0">
            <a:noAutofit/>
          </a:bodyPr>
          <a:lstStyle>
            <a:lvl1pPr algn="l">
              <a:lnSpc>
                <a:spcPct val="95000"/>
              </a:lnSpc>
              <a:defRPr sz="3150">
                <a:solidFill>
                  <a:schemeClr val="accent1"/>
                </a:solidFill>
              </a:defRPr>
            </a:lvl1pPr>
          </a:lstStyle>
          <a:p>
            <a:r>
              <a:rPr lang="en-US"/>
              <a:t>Click to edit Divider text</a:t>
            </a:r>
            <a:endParaRPr lang="en-GB"/>
          </a:p>
        </p:txBody>
      </p:sp>
    </p:spTree>
    <p:extLst>
      <p:ext uri="{BB962C8B-B14F-4D97-AF65-F5344CB8AC3E}">
        <p14:creationId xmlns:p14="http://schemas.microsoft.com/office/powerpoint/2010/main" val="18176389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O' crop 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2E1264-2DE5-8B33-E74F-1AE46C3721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6096000" y="173219"/>
            <a:ext cx="2807494" cy="1548425"/>
          </a:xfrm>
        </p:spPr>
        <p:txBody>
          <a:bodyPr anchor="t" anchorCtr="0">
            <a:noAutofit/>
          </a:bodyPr>
          <a:lstStyle>
            <a:lvl1pPr algn="l">
              <a:lnSpc>
                <a:spcPct val="95000"/>
              </a:lnSpc>
              <a:defRPr sz="315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6096000" y="2191731"/>
            <a:ext cx="2808685" cy="1509922"/>
          </a:xfrm>
        </p:spPr>
        <p:txBody>
          <a:bodyPr anchor="t" anchorCtr="0">
            <a:noAutofit/>
          </a:bodyPr>
          <a:lstStyle>
            <a:lvl1pPr marL="0" indent="0" algn="l">
              <a:spcBef>
                <a:spcPts val="0"/>
              </a:spcBef>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pic>
        <p:nvPicPr>
          <p:cNvPr id="4" name="Picture 3">
            <a:extLst>
              <a:ext uri="{FF2B5EF4-FFF2-40B4-BE49-F238E27FC236}">
                <a16:creationId xmlns:a16="http://schemas.microsoft.com/office/drawing/2014/main" id="{291C3FE6-B4B1-BACD-4B07-7925548C59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681" y="4714913"/>
            <a:ext cx="1310279" cy="189000"/>
          </a:xfrm>
          <a:prstGeom prst="rect">
            <a:avLst/>
          </a:prstGeom>
        </p:spPr>
      </p:pic>
    </p:spTree>
    <p:extLst>
      <p:ext uri="{BB962C8B-B14F-4D97-AF65-F5344CB8AC3E}">
        <p14:creationId xmlns:p14="http://schemas.microsoft.com/office/powerpoint/2010/main" val="32354929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O'">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86DA3B-B14D-5DE1-8880-C772FCD0B3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44078" y="1958419"/>
            <a:ext cx="2076451" cy="2140904"/>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1203267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Z'">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C95042-D5D5-EA6C-014F-6DFFDA4291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700"/>
            <a:ext cx="9155619" cy="51516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764627" y="932563"/>
            <a:ext cx="6582104" cy="423272"/>
          </a:xfrm>
        </p:spPr>
        <p:txBody>
          <a:bodyPr anchor="t" anchorCtr="0">
            <a:noAutofit/>
          </a:bodyPr>
          <a:lstStyle>
            <a:lvl1pPr algn="l">
              <a:lnSpc>
                <a:spcPct val="95000"/>
              </a:lnSpc>
              <a:defRPr sz="3150">
                <a:solidFill>
                  <a:schemeClr val="accent2"/>
                </a:solidFill>
              </a:defRPr>
            </a:lvl1pPr>
          </a:lstStyle>
          <a:p>
            <a:r>
              <a:rPr lang="en-US"/>
              <a:t>Click to edit Divider text</a:t>
            </a:r>
            <a:endParaRPr lang="en-GB"/>
          </a:p>
        </p:txBody>
      </p:sp>
      <p:sp>
        <p:nvSpPr>
          <p:cNvPr id="3" name="Freeform 2">
            <a:hlinkClick r:id="" action="ppaction://noaction"/>
            <a:extLst>
              <a:ext uri="{FF2B5EF4-FFF2-40B4-BE49-F238E27FC236}">
                <a16:creationId xmlns:a16="http://schemas.microsoft.com/office/drawing/2014/main" id="{BEC4178E-940F-831F-31F1-414ED0DBBECC}"/>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4" name="Rectangle 3">
            <a:hlinkClick r:id="rId3" action="ppaction://hlinksldjump"/>
            <a:extLst>
              <a:ext uri="{FF2B5EF4-FFF2-40B4-BE49-F238E27FC236}">
                <a16:creationId xmlns:a16="http://schemas.microsoft.com/office/drawing/2014/main" id="{23EAF8DC-7076-B2B0-3BFF-531CF32181A6}"/>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19765824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arge Title + Image Left (Light)">
    <p:bg>
      <p:bgPr>
        <a:solidFill>
          <a:schemeClr val="accent4"/>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20F3A27C-9F4A-FE46-B673-5A23F9D249E4}"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3000" y="180901"/>
            <a:ext cx="5004086" cy="1657106"/>
          </a:xfrm>
        </p:spPr>
        <p:txBody>
          <a:bodyPr/>
          <a:lstStyle>
            <a:lvl1pPr>
              <a:defRPr sz="2400" spc="-15" baseline="0">
                <a:solidFill>
                  <a:schemeClr val="accent2"/>
                </a:solidFill>
              </a:defRPr>
            </a:lvl1pPr>
          </a:lstStyle>
          <a:p>
            <a:r>
              <a:rPr lang="en-US"/>
              <a:t>Click to edit Master title style</a:t>
            </a:r>
            <a:endParaRPr lang="en-GB"/>
          </a:p>
        </p:txBody>
      </p:sp>
      <p:sp>
        <p:nvSpPr>
          <p:cNvPr id="10" name="Picture Placeholder 9">
            <a:extLst>
              <a:ext uri="{FF2B5EF4-FFF2-40B4-BE49-F238E27FC236}">
                <a16:creationId xmlns:a16="http://schemas.microsoft.com/office/drawing/2014/main" id="{8087AF67-DCDA-5E42-65C9-7E74D10186A0}"/>
              </a:ext>
            </a:extLst>
          </p:cNvPr>
          <p:cNvSpPr>
            <a:spLocks noGrp="1"/>
          </p:cNvSpPr>
          <p:nvPr>
            <p:ph type="pic" sz="quarter" idx="13"/>
          </p:nvPr>
        </p:nvSpPr>
        <p:spPr>
          <a:xfrm>
            <a:off x="242888" y="2228851"/>
            <a:ext cx="5004197" cy="2384822"/>
          </a:xfrm>
        </p:spPr>
        <p:txBody>
          <a:bodyPr/>
          <a:lstStyle>
            <a:lvl1pPr>
              <a:defRPr sz="1050"/>
            </a:lvl1pPr>
          </a:lstStyle>
          <a:p>
            <a:r>
              <a:rPr lang="en-US"/>
              <a:t>Click icon to add picture</a:t>
            </a:r>
            <a:endParaRPr lang="en-GB"/>
          </a:p>
        </p:txBody>
      </p:sp>
      <p:pic>
        <p:nvPicPr>
          <p:cNvPr id="7" name="Picture 6">
            <a:extLst>
              <a:ext uri="{FF2B5EF4-FFF2-40B4-BE49-F238E27FC236}">
                <a16:creationId xmlns:a16="http://schemas.microsoft.com/office/drawing/2014/main" id="{226D4AAF-05F6-9C28-73AE-CD56C8E11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425930061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arge Title + Image Left (Dark)">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C6513410-DCEB-2D41-A8A0-893BAB0355AF}"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a:xfrm>
            <a:off x="421200" y="4834425"/>
            <a:ext cx="3086100" cy="135000"/>
          </a:xfrm>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a:xfrm>
            <a:off x="243001" y="4834425"/>
            <a:ext cx="148500" cy="135000"/>
          </a:xfrm>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1146"/>
            <a:ext cx="5004086" cy="1657106"/>
          </a:xfrm>
        </p:spPr>
        <p:txBody>
          <a:bodyPr/>
          <a:lstStyle>
            <a:lvl1pPr>
              <a:defRPr sz="2400" spc="-15" baseline="0">
                <a:solidFill>
                  <a:schemeClr val="bg1"/>
                </a:solidFill>
              </a:defRPr>
            </a:lvl1pPr>
          </a:lstStyle>
          <a:p>
            <a:r>
              <a:rPr lang="en-US"/>
              <a:t>Click to edit Master title style</a:t>
            </a:r>
            <a:endParaRPr lang="en-GB"/>
          </a:p>
        </p:txBody>
      </p:sp>
      <p:sp>
        <p:nvSpPr>
          <p:cNvPr id="10" name="Picture Placeholder 9">
            <a:extLst>
              <a:ext uri="{FF2B5EF4-FFF2-40B4-BE49-F238E27FC236}">
                <a16:creationId xmlns:a16="http://schemas.microsoft.com/office/drawing/2014/main" id="{8087AF67-DCDA-5E42-65C9-7E74D10186A0}"/>
              </a:ext>
            </a:extLst>
          </p:cNvPr>
          <p:cNvSpPr>
            <a:spLocks noGrp="1"/>
          </p:cNvSpPr>
          <p:nvPr>
            <p:ph type="pic" sz="quarter" idx="13"/>
          </p:nvPr>
        </p:nvSpPr>
        <p:spPr>
          <a:xfrm>
            <a:off x="242888" y="2235921"/>
            <a:ext cx="5004197" cy="2384822"/>
          </a:xfrm>
        </p:spPr>
        <p:txBody>
          <a:bodyPr/>
          <a:lstStyle>
            <a:lvl1pPr>
              <a:defRPr sz="1050">
                <a:solidFill>
                  <a:schemeClr val="bg1"/>
                </a:solidFill>
              </a:defRPr>
            </a:lvl1pPr>
          </a:lstStyle>
          <a:p>
            <a:r>
              <a:rPr lang="en-US"/>
              <a:t>Click icon to add picture</a:t>
            </a:r>
            <a:endParaRPr lang="en-GB"/>
          </a:p>
        </p:txBody>
      </p:sp>
      <p:pic>
        <p:nvPicPr>
          <p:cNvPr id="2" name="Picture 1">
            <a:extLst>
              <a:ext uri="{FF2B5EF4-FFF2-40B4-BE49-F238E27FC236}">
                <a16:creationId xmlns:a16="http://schemas.microsoft.com/office/drawing/2014/main" id="{9C9F8624-9A8C-7798-2981-BC7D6F2709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741153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rge Title Only (Light)">
    <p:bg>
      <p:bgPr>
        <a:solidFill>
          <a:schemeClr val="accent4"/>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9F4AEB53-9BD2-5A43-8F18-264F5788FBF4}"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0901"/>
            <a:ext cx="7317000" cy="1940474"/>
          </a:xfrm>
        </p:spPr>
        <p:txBody>
          <a:bodyPr/>
          <a:lstStyle>
            <a:lvl1pPr>
              <a:defRPr sz="2400" spc="-15" baseline="0">
                <a:solidFill>
                  <a:schemeClr val="accent2"/>
                </a:solidFill>
              </a:defRPr>
            </a:lvl1pPr>
          </a:lstStyle>
          <a:p>
            <a:r>
              <a:rPr lang="en-US"/>
              <a:t>Click to edit Master title style</a:t>
            </a:r>
            <a:endParaRPr lang="en-GB"/>
          </a:p>
        </p:txBody>
      </p:sp>
      <p:pic>
        <p:nvPicPr>
          <p:cNvPr id="7" name="Picture 6">
            <a:extLst>
              <a:ext uri="{FF2B5EF4-FFF2-40B4-BE49-F238E27FC236}">
                <a16:creationId xmlns:a16="http://schemas.microsoft.com/office/drawing/2014/main" id="{F797465E-4658-4DAE-0E17-851C255D81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13607466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arge Title Only (Dark)">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ECC9C839-8562-8245-9D9B-0FF202BD7CDD}"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242999" y="180901"/>
            <a:ext cx="7317000" cy="1940474"/>
          </a:xfrm>
        </p:spPr>
        <p:txBody>
          <a:bodyPr/>
          <a:lstStyle>
            <a:lvl1pPr>
              <a:defRPr sz="2400" spc="-15" baseline="0">
                <a:solidFill>
                  <a:schemeClr val="bg1"/>
                </a:solidFill>
              </a:defRPr>
            </a:lvl1pPr>
          </a:lstStyle>
          <a:p>
            <a:r>
              <a:rPr lang="en-US"/>
              <a:t>Click to edit Master title style</a:t>
            </a:r>
            <a:endParaRPr lang="en-GB"/>
          </a:p>
        </p:txBody>
      </p:sp>
      <p:pic>
        <p:nvPicPr>
          <p:cNvPr id="2" name="Picture 1">
            <a:extLst>
              <a:ext uri="{FF2B5EF4-FFF2-40B4-BE49-F238E27FC236}">
                <a16:creationId xmlns:a16="http://schemas.microsoft.com/office/drawing/2014/main" id="{3BC2A779-90D4-AE99-F167-2E00B61386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6722" y="4782020"/>
            <a:ext cx="881654" cy="127174"/>
          </a:xfrm>
          <a:prstGeom prst="rect">
            <a:avLst/>
          </a:prstGeom>
        </p:spPr>
      </p:pic>
    </p:spTree>
    <p:extLst>
      <p:ext uri="{BB962C8B-B14F-4D97-AF65-F5344CB8AC3E}">
        <p14:creationId xmlns:p14="http://schemas.microsoft.com/office/powerpoint/2010/main" val="199204350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242999" y="181146"/>
            <a:ext cx="7317000" cy="1138067"/>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19A38CB0-629B-BC4D-A170-C00174AE9289}" type="datetime1">
              <a:rPr lang="en-US" smtClean="0"/>
              <a:t>9/23/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Document title</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7" name="Picture 6">
            <a:extLst>
              <a:ext uri="{FF2B5EF4-FFF2-40B4-BE49-F238E27FC236}">
                <a16:creationId xmlns:a16="http://schemas.microsoft.com/office/drawing/2014/main" id="{2001EAEB-CCE0-E2E0-330F-2F8556671D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4457000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7F5DBE-522D-1A39-9C00-CF46171497A5}"/>
              </a:ext>
            </a:extLst>
          </p:cNvPr>
          <p:cNvSpPr>
            <a:spLocks noGrp="1"/>
          </p:cNvSpPr>
          <p:nvPr>
            <p:ph type="dt" sz="half" idx="10"/>
          </p:nvPr>
        </p:nvSpPr>
        <p:spPr/>
        <p:txBody>
          <a:bodyPr/>
          <a:lstStyle/>
          <a:p>
            <a:fld id="{52D6ABC4-D4BF-3246-93D2-0420A87060F7}" type="datetime1">
              <a:rPr lang="en-US" smtClean="0"/>
              <a:t>9/23/2024</a:t>
            </a:fld>
            <a:endParaRPr lang="en-GB"/>
          </a:p>
        </p:txBody>
      </p:sp>
      <p:sp>
        <p:nvSpPr>
          <p:cNvPr id="3" name="Footer Placeholder 2">
            <a:extLst>
              <a:ext uri="{FF2B5EF4-FFF2-40B4-BE49-F238E27FC236}">
                <a16:creationId xmlns:a16="http://schemas.microsoft.com/office/drawing/2014/main" id="{4D9DB0D9-5F2C-E79A-D8CA-85898F0C228F}"/>
              </a:ext>
            </a:extLst>
          </p:cNvPr>
          <p:cNvSpPr>
            <a:spLocks noGrp="1"/>
          </p:cNvSpPr>
          <p:nvPr>
            <p:ph type="ftr" sz="quarter" idx="11"/>
          </p:nvPr>
        </p:nvSpPr>
        <p:spPr/>
        <p:txBody>
          <a:bodyPr/>
          <a:lstStyle/>
          <a:p>
            <a:r>
              <a:rPr lang="en-GB"/>
              <a:t>Document title</a:t>
            </a:r>
          </a:p>
        </p:txBody>
      </p:sp>
      <p:sp>
        <p:nvSpPr>
          <p:cNvPr id="4" name="Slide Number Placeholder 3">
            <a:extLst>
              <a:ext uri="{FF2B5EF4-FFF2-40B4-BE49-F238E27FC236}">
                <a16:creationId xmlns:a16="http://schemas.microsoft.com/office/drawing/2014/main" id="{51064D14-3B88-9709-5BE6-2D1DD106DDD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6" name="Picture 5">
            <a:extLst>
              <a:ext uri="{FF2B5EF4-FFF2-40B4-BE49-F238E27FC236}">
                <a16:creationId xmlns:a16="http://schemas.microsoft.com/office/drawing/2014/main" id="{59AFEE57-92E1-AA8C-4751-D3FA0B326D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67600" y="4781700"/>
            <a:ext cx="882900" cy="127353"/>
          </a:xfrm>
          <a:prstGeom prst="rect">
            <a:avLst/>
          </a:prstGeom>
        </p:spPr>
      </p:pic>
    </p:spTree>
    <p:extLst>
      <p:ext uri="{BB962C8B-B14F-4D97-AF65-F5344CB8AC3E}">
        <p14:creationId xmlns:p14="http://schemas.microsoft.com/office/powerpoint/2010/main" val="31090138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050626" y="-137160"/>
            <a:ext cx="7636174" cy="5422392"/>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1600200" y="1463040"/>
            <a:ext cx="7086600" cy="2102185"/>
          </a:xfrm>
        </p:spPr>
        <p:txBody>
          <a:bodyPr anchor="b" anchorCtr="0">
            <a:noAutofit/>
          </a:bodyPr>
          <a:lstStyle>
            <a:lvl1pPr>
              <a:defRPr sz="3200" baseline="0"/>
            </a:lvl1pPr>
          </a:lstStyle>
          <a:p>
            <a:r>
              <a:rPr lang="en-US"/>
              <a:t>Click to edit Master title style</a:t>
            </a:r>
          </a:p>
        </p:txBody>
      </p:sp>
      <p:sp>
        <p:nvSpPr>
          <p:cNvPr id="19" name="Subtitle 2"/>
          <p:cNvSpPr>
            <a:spLocks noGrp="1"/>
          </p:cNvSpPr>
          <p:nvPr>
            <p:ph type="subTitle" idx="1"/>
          </p:nvPr>
        </p:nvSpPr>
        <p:spPr bwMode="auto">
          <a:xfrm>
            <a:off x="1600200" y="3657600"/>
            <a:ext cx="7086600" cy="82296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0" name="Picture 19">
            <a:extLst>
              <a:ext uri="{FF2B5EF4-FFF2-40B4-BE49-F238E27FC236}">
                <a16:creationId xmlns:a16="http://schemas.microsoft.com/office/drawing/2014/main" id="{F5F8178D-BECF-194D-A4A6-14876CABB0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26786" y="4726757"/>
            <a:ext cx="1463040" cy="177483"/>
          </a:xfrm>
          <a:prstGeom prst="rect">
            <a:avLst/>
          </a:prstGeom>
        </p:spPr>
      </p:pic>
      <p:pic>
        <p:nvPicPr>
          <p:cNvPr id="25" name="Picture 24"/>
          <p:cNvPicPr>
            <a:picLocks noChangeAspect="1"/>
          </p:cNvPicPr>
          <p:nvPr userDrawn="1"/>
        </p:nvPicPr>
        <p:blipFill>
          <a:blip r:embed="rId3"/>
          <a:stretch>
            <a:fillRect/>
          </a:stretch>
        </p:blipFill>
        <p:spPr>
          <a:xfrm>
            <a:off x="0" y="6956"/>
            <a:ext cx="1051249" cy="5129588"/>
          </a:xfrm>
          <a:prstGeom prst="rect">
            <a:avLst/>
          </a:prstGeom>
        </p:spPr>
      </p:pic>
      <p:sp>
        <p:nvSpPr>
          <p:cNvPr id="2" name="Footer Placeholder 3">
            <a:extLst>
              <a:ext uri="{FF2B5EF4-FFF2-40B4-BE49-F238E27FC236}">
                <a16:creationId xmlns:a16="http://schemas.microsoft.com/office/drawing/2014/main" id="{8A2AEEFB-8884-C49A-57B5-6820398D49A2}"/>
              </a:ext>
            </a:extLst>
          </p:cNvPr>
          <p:cNvSpPr>
            <a:spLocks noGrp="1"/>
          </p:cNvSpPr>
          <p:nvPr>
            <p:ph type="ftr" sz="quarter" idx="10"/>
          </p:nvPr>
        </p:nvSpPr>
        <p:spPr>
          <a:xfrm>
            <a:off x="1595935" y="4671305"/>
            <a:ext cx="3792538" cy="228600"/>
          </a:xfrm>
        </p:spPr>
        <p:txBody>
          <a:bodyPr/>
          <a:lstStyle/>
          <a:p>
            <a:r>
              <a:rPr lang="en-US"/>
              <a:t>Document title</a:t>
            </a:r>
          </a:p>
        </p:txBody>
      </p:sp>
    </p:spTree>
    <p:extLst>
      <p:ext uri="{BB962C8B-B14F-4D97-AF65-F5344CB8AC3E}">
        <p14:creationId xmlns:p14="http://schemas.microsoft.com/office/powerpoint/2010/main" val="154407595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 Target="../slides/slide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E436ED-B8EC-FAAC-4204-C0D668AFB2A3}"/>
              </a:ext>
            </a:extLst>
          </p:cNvPr>
          <p:cNvSpPr>
            <a:spLocks noGrp="1"/>
          </p:cNvSpPr>
          <p:nvPr>
            <p:ph type="title"/>
          </p:nvPr>
        </p:nvSpPr>
        <p:spPr>
          <a:xfrm>
            <a:off x="243000" y="181146"/>
            <a:ext cx="8658900" cy="1138067"/>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1CB86D0-38A8-57AC-06E9-0BC1535D2AFA}"/>
              </a:ext>
            </a:extLst>
          </p:cNvPr>
          <p:cNvSpPr>
            <a:spLocks noGrp="1"/>
          </p:cNvSpPr>
          <p:nvPr>
            <p:ph type="body" idx="1"/>
          </p:nvPr>
        </p:nvSpPr>
        <p:spPr>
          <a:xfrm>
            <a:off x="243000" y="2531098"/>
            <a:ext cx="8658900" cy="208257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453D7A-4153-706F-EE8E-33B03E9BD186}"/>
              </a:ext>
            </a:extLst>
          </p:cNvPr>
          <p:cNvSpPr>
            <a:spLocks noGrp="1"/>
          </p:cNvSpPr>
          <p:nvPr>
            <p:ph type="dt" sz="half" idx="2"/>
          </p:nvPr>
        </p:nvSpPr>
        <p:spPr>
          <a:xfrm>
            <a:off x="4635104" y="4827355"/>
            <a:ext cx="1080000" cy="135000"/>
          </a:xfrm>
          <a:prstGeom prst="rect">
            <a:avLst/>
          </a:prstGeom>
        </p:spPr>
        <p:txBody>
          <a:bodyPr vert="horz" lIns="0" tIns="0" rIns="0" bIns="0" rtlCol="0" anchor="t" anchorCtr="0"/>
          <a:lstStyle>
            <a:lvl1pPr algn="l">
              <a:defRPr sz="600" b="1">
                <a:solidFill>
                  <a:schemeClr val="accent2"/>
                </a:solidFill>
              </a:defRPr>
            </a:lvl1pPr>
          </a:lstStyle>
          <a:p>
            <a:fld id="{21B395F3-CD4C-5746-978A-3F4F057743C2}" type="datetime1">
              <a:rPr lang="en-US" smtClean="0"/>
              <a:t>9/23/2024</a:t>
            </a:fld>
            <a:endParaRPr lang="en-GB"/>
          </a:p>
        </p:txBody>
      </p:sp>
      <p:sp>
        <p:nvSpPr>
          <p:cNvPr id="5" name="Footer Placeholder 4">
            <a:extLst>
              <a:ext uri="{FF2B5EF4-FFF2-40B4-BE49-F238E27FC236}">
                <a16:creationId xmlns:a16="http://schemas.microsoft.com/office/drawing/2014/main" id="{93B8AFB5-2268-FECA-3B37-00FDD3CAF176}"/>
              </a:ext>
            </a:extLst>
          </p:cNvPr>
          <p:cNvSpPr>
            <a:spLocks noGrp="1"/>
          </p:cNvSpPr>
          <p:nvPr>
            <p:ph type="ftr" sz="quarter" idx="3"/>
          </p:nvPr>
        </p:nvSpPr>
        <p:spPr>
          <a:xfrm>
            <a:off x="420573" y="4827355"/>
            <a:ext cx="8480426" cy="134999"/>
          </a:xfrm>
          <a:prstGeom prst="rect">
            <a:avLst/>
          </a:prstGeom>
        </p:spPr>
        <p:txBody>
          <a:bodyPr vert="horz" lIns="0" tIns="0" rIns="0" bIns="45720" rtlCol="0" anchor="b" anchorCtr="0"/>
          <a:lstStyle>
            <a:lvl1pPr algn="l">
              <a:defRPr sz="600" b="0">
                <a:solidFill>
                  <a:srgbClr val="4D4D57"/>
                </a:solidFill>
              </a:defRPr>
            </a:lvl1pPr>
          </a:lstStyle>
          <a:p>
            <a:r>
              <a:rPr lang="en-GB"/>
              <a:t>Document title</a:t>
            </a:r>
          </a:p>
        </p:txBody>
      </p:sp>
      <p:sp>
        <p:nvSpPr>
          <p:cNvPr id="6" name="Slide Number Placeholder 5">
            <a:extLst>
              <a:ext uri="{FF2B5EF4-FFF2-40B4-BE49-F238E27FC236}">
                <a16:creationId xmlns:a16="http://schemas.microsoft.com/office/drawing/2014/main" id="{1A68D2CF-03AE-0D97-FB04-A8EAF02985BC}"/>
              </a:ext>
            </a:extLst>
          </p:cNvPr>
          <p:cNvSpPr>
            <a:spLocks noGrp="1"/>
          </p:cNvSpPr>
          <p:nvPr>
            <p:ph type="sldNum" sz="quarter" idx="4"/>
          </p:nvPr>
        </p:nvSpPr>
        <p:spPr>
          <a:xfrm>
            <a:off x="243001" y="4827355"/>
            <a:ext cx="148500" cy="135000"/>
          </a:xfrm>
          <a:prstGeom prst="rect">
            <a:avLst/>
          </a:prstGeom>
        </p:spPr>
        <p:txBody>
          <a:bodyPr vert="horz" lIns="0" tIns="0" rIns="0" bIns="0" rtlCol="0" anchor="t" anchorCtr="0"/>
          <a:lstStyle>
            <a:lvl1pPr algn="l">
              <a:defRPr sz="600" b="1">
                <a:solidFill>
                  <a:schemeClr val="accent2"/>
                </a:solidFill>
              </a:defRPr>
            </a:lvl1pPr>
          </a:lstStyle>
          <a:p>
            <a:fld id="{A31C51CB-94C2-40E2-B070-08CEE3D6A386}" type="slidenum">
              <a:rPr lang="en-GB" smtClean="0"/>
              <a:pPr/>
              <a:t>‹#›</a:t>
            </a:fld>
            <a:endParaRPr lang="en-GB"/>
          </a:p>
        </p:txBody>
      </p:sp>
      <p:sp>
        <p:nvSpPr>
          <p:cNvPr id="7" name="Freeform 6">
            <a:hlinkClick r:id="" action="ppaction://noaction"/>
            <a:extLst>
              <a:ext uri="{FF2B5EF4-FFF2-40B4-BE49-F238E27FC236}">
                <a16:creationId xmlns:a16="http://schemas.microsoft.com/office/drawing/2014/main" id="{691F90E7-0015-17BB-CCFC-EB762FF4AC5A}"/>
              </a:ext>
            </a:extLst>
          </p:cNvPr>
          <p:cNvSpPr>
            <a:spLocks noChangeAspect="1"/>
          </p:cNvSpPr>
          <p:nvPr userDrawn="1"/>
        </p:nvSpPr>
        <p:spPr>
          <a:xfrm>
            <a:off x="8471813" y="228183"/>
            <a:ext cx="231096" cy="252000"/>
          </a:xfrm>
          <a:custGeom>
            <a:avLst/>
            <a:gdLst>
              <a:gd name="connsiteX0" fmla="*/ 285750 w 571500"/>
              <a:gd name="connsiteY0" fmla="*/ 0 h 623195"/>
              <a:gd name="connsiteX1" fmla="*/ 566817 w 571500"/>
              <a:gd name="connsiteY1" fmla="*/ 275699 h 623195"/>
              <a:gd name="connsiteX2" fmla="*/ 571500 w 571500"/>
              <a:gd name="connsiteY2" fmla="*/ 275699 h 623195"/>
              <a:gd name="connsiteX3" fmla="*/ 571500 w 571500"/>
              <a:gd name="connsiteY3" fmla="*/ 280293 h 623195"/>
              <a:gd name="connsiteX4" fmla="*/ 571500 w 571500"/>
              <a:gd name="connsiteY4" fmla="*/ 342902 h 623195"/>
              <a:gd name="connsiteX5" fmla="*/ 571500 w 571500"/>
              <a:gd name="connsiteY5" fmla="*/ 362100 h 623195"/>
              <a:gd name="connsiteX6" fmla="*/ 571500 w 571500"/>
              <a:gd name="connsiteY6" fmla="*/ 623195 h 623195"/>
              <a:gd name="connsiteX7" fmla="*/ 342900 w 571500"/>
              <a:gd name="connsiteY7" fmla="*/ 623195 h 623195"/>
              <a:gd name="connsiteX8" fmla="*/ 342900 w 571500"/>
              <a:gd name="connsiteY8" fmla="*/ 422739 h 623195"/>
              <a:gd name="connsiteX9" fmla="*/ 228600 w 571500"/>
              <a:gd name="connsiteY9" fmla="*/ 422739 h 623195"/>
              <a:gd name="connsiteX10" fmla="*/ 228600 w 571500"/>
              <a:gd name="connsiteY10" fmla="*/ 623195 h 623195"/>
              <a:gd name="connsiteX11" fmla="*/ 0 w 571500"/>
              <a:gd name="connsiteY11" fmla="*/ 623195 h 623195"/>
              <a:gd name="connsiteX12" fmla="*/ 0 w 571500"/>
              <a:gd name="connsiteY12" fmla="*/ 362100 h 623195"/>
              <a:gd name="connsiteX13" fmla="*/ 0 w 571500"/>
              <a:gd name="connsiteY13" fmla="*/ 342902 h 623195"/>
              <a:gd name="connsiteX14" fmla="*/ 0 w 571500"/>
              <a:gd name="connsiteY14" fmla="*/ 280293 h 623195"/>
              <a:gd name="connsiteX15" fmla="*/ 0 w 571500"/>
              <a:gd name="connsiteY15" fmla="*/ 275699 h 623195"/>
              <a:gd name="connsiteX16" fmla="*/ 4684 w 571500"/>
              <a:gd name="connsiteY16" fmla="*/ 275699 h 62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0" h="623195">
                <a:moveTo>
                  <a:pt x="285750" y="0"/>
                </a:moveTo>
                <a:lnTo>
                  <a:pt x="566817" y="275699"/>
                </a:lnTo>
                <a:lnTo>
                  <a:pt x="571500" y="275699"/>
                </a:lnTo>
                <a:lnTo>
                  <a:pt x="571500" y="280293"/>
                </a:lnTo>
                <a:lnTo>
                  <a:pt x="571500" y="342902"/>
                </a:lnTo>
                <a:lnTo>
                  <a:pt x="571500" y="362100"/>
                </a:lnTo>
                <a:lnTo>
                  <a:pt x="571500" y="623195"/>
                </a:lnTo>
                <a:lnTo>
                  <a:pt x="342900" y="623195"/>
                </a:lnTo>
                <a:lnTo>
                  <a:pt x="342900" y="422739"/>
                </a:lnTo>
                <a:lnTo>
                  <a:pt x="228600" y="422739"/>
                </a:lnTo>
                <a:lnTo>
                  <a:pt x="228600" y="623195"/>
                </a:lnTo>
                <a:lnTo>
                  <a:pt x="0" y="623195"/>
                </a:lnTo>
                <a:lnTo>
                  <a:pt x="0" y="362100"/>
                </a:lnTo>
                <a:lnTo>
                  <a:pt x="0" y="342902"/>
                </a:lnTo>
                <a:lnTo>
                  <a:pt x="0" y="280293"/>
                </a:lnTo>
                <a:lnTo>
                  <a:pt x="0" y="275699"/>
                </a:lnTo>
                <a:lnTo>
                  <a:pt x="4684" y="275699"/>
                </a:lnTo>
                <a:close/>
              </a:path>
            </a:pathLst>
          </a:custGeom>
          <a:noFill/>
          <a:ln w="15875">
            <a:solidFill>
              <a:srgbClr val="1B59B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a:p>
        </p:txBody>
      </p:sp>
      <p:sp>
        <p:nvSpPr>
          <p:cNvPr id="8" name="Rectangle 7">
            <a:hlinkClick r:id="rId100" action="ppaction://hlinksldjump"/>
            <a:extLst>
              <a:ext uri="{FF2B5EF4-FFF2-40B4-BE49-F238E27FC236}">
                <a16:creationId xmlns:a16="http://schemas.microsoft.com/office/drawing/2014/main" id="{7D2AFE65-DF2F-E233-648E-C2CE95E350A1}"/>
              </a:ext>
            </a:extLst>
          </p:cNvPr>
          <p:cNvSpPr/>
          <p:nvPr userDrawn="1"/>
        </p:nvSpPr>
        <p:spPr>
          <a:xfrm>
            <a:off x="8456613" y="181146"/>
            <a:ext cx="285952" cy="37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Tree>
    <p:extLst>
      <p:ext uri="{BB962C8B-B14F-4D97-AF65-F5344CB8AC3E}">
        <p14:creationId xmlns:p14="http://schemas.microsoft.com/office/powerpoint/2010/main" val="17917722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 id="2147483729" r:id="rId39"/>
    <p:sldLayoutId id="2147483730" r:id="rId40"/>
    <p:sldLayoutId id="2147483731" r:id="rId41"/>
    <p:sldLayoutId id="2147483732" r:id="rId42"/>
    <p:sldLayoutId id="2147483733" r:id="rId43"/>
    <p:sldLayoutId id="2147483734" r:id="rId44"/>
    <p:sldLayoutId id="2147483735" r:id="rId45"/>
    <p:sldLayoutId id="2147483736" r:id="rId46"/>
    <p:sldLayoutId id="2147483737" r:id="rId47"/>
    <p:sldLayoutId id="2147483738" r:id="rId48"/>
    <p:sldLayoutId id="2147483739" r:id="rId49"/>
    <p:sldLayoutId id="2147483740" r:id="rId50"/>
    <p:sldLayoutId id="2147483741" r:id="rId51"/>
    <p:sldLayoutId id="2147483742" r:id="rId52"/>
    <p:sldLayoutId id="2147483743" r:id="rId53"/>
    <p:sldLayoutId id="2147483744" r:id="rId54"/>
    <p:sldLayoutId id="2147483745" r:id="rId55"/>
    <p:sldLayoutId id="2147483746" r:id="rId56"/>
    <p:sldLayoutId id="2147483747" r:id="rId57"/>
    <p:sldLayoutId id="2147483748" r:id="rId58"/>
    <p:sldLayoutId id="2147483749" r:id="rId59"/>
    <p:sldLayoutId id="2147483750" r:id="rId60"/>
    <p:sldLayoutId id="2147483751" r:id="rId61"/>
    <p:sldLayoutId id="2147483752" r:id="rId62"/>
    <p:sldLayoutId id="2147483753" r:id="rId63"/>
    <p:sldLayoutId id="2147483754" r:id="rId64"/>
    <p:sldLayoutId id="2147483755" r:id="rId65"/>
    <p:sldLayoutId id="2147483756" r:id="rId66"/>
    <p:sldLayoutId id="2147483757" r:id="rId67"/>
    <p:sldLayoutId id="2147483758" r:id="rId68"/>
    <p:sldLayoutId id="2147483759" r:id="rId69"/>
    <p:sldLayoutId id="2147483760" r:id="rId70"/>
    <p:sldLayoutId id="2147483761" r:id="rId71"/>
    <p:sldLayoutId id="2147483762" r:id="rId72"/>
    <p:sldLayoutId id="2147483763" r:id="rId73"/>
    <p:sldLayoutId id="2147483764" r:id="rId74"/>
    <p:sldLayoutId id="2147483765" r:id="rId75"/>
    <p:sldLayoutId id="2147483766" r:id="rId76"/>
    <p:sldLayoutId id="2147483767" r:id="rId77"/>
    <p:sldLayoutId id="2147483768" r:id="rId78"/>
    <p:sldLayoutId id="2147483769" r:id="rId79"/>
    <p:sldLayoutId id="2147483770" r:id="rId80"/>
    <p:sldLayoutId id="2147483771" r:id="rId81"/>
    <p:sldLayoutId id="2147483772" r:id="rId82"/>
    <p:sldLayoutId id="2147483773" r:id="rId83"/>
    <p:sldLayoutId id="2147483774" r:id="rId84"/>
    <p:sldLayoutId id="2147483775" r:id="rId85"/>
    <p:sldLayoutId id="2147483776" r:id="rId86"/>
    <p:sldLayoutId id="2147483777" r:id="rId87"/>
    <p:sldLayoutId id="2147483778" r:id="rId88"/>
    <p:sldLayoutId id="2147483779" r:id="rId89"/>
    <p:sldLayoutId id="2147483780" r:id="rId90"/>
    <p:sldLayoutId id="2147483781" r:id="rId91"/>
    <p:sldLayoutId id="2147483782" r:id="rId92"/>
    <p:sldLayoutId id="2147483783" r:id="rId93"/>
    <p:sldLayoutId id="2147483784" r:id="rId94"/>
    <p:sldLayoutId id="2147483785" r:id="rId95"/>
    <p:sldLayoutId id="2147483786" r:id="rId96"/>
    <p:sldLayoutId id="2147483787" r:id="rId97"/>
    <p:sldLayoutId id="2147483788" r:id="rId98"/>
  </p:sldLayoutIdLst>
  <p:hf hdr="0" ftr="0" dt="0"/>
  <p:txStyles>
    <p:titleStyle>
      <a:lvl1pPr algn="l" defTabSz="685800" rtl="0" eaLnBrk="1" latinLnBrk="0" hangingPunct="1">
        <a:lnSpc>
          <a:spcPct val="100000"/>
        </a:lnSpc>
        <a:spcBef>
          <a:spcPct val="0"/>
        </a:spcBef>
        <a:buNone/>
        <a:defRPr sz="2400" b="1" kern="1200" spc="-8" baseline="0">
          <a:solidFill>
            <a:schemeClr val="accent2"/>
          </a:solidFill>
          <a:latin typeface="+mj-lt"/>
          <a:ea typeface="+mj-ea"/>
          <a:cs typeface="+mj-cs"/>
        </a:defRPr>
      </a:lvl1pPr>
    </p:titleStyle>
    <p:bodyStyle>
      <a:lvl1pPr marL="0" indent="0" algn="l" defTabSz="685800" rtl="0" eaLnBrk="1" latinLnBrk="0" hangingPunct="1">
        <a:lnSpc>
          <a:spcPct val="95000"/>
        </a:lnSpc>
        <a:spcBef>
          <a:spcPts val="600"/>
        </a:spcBef>
        <a:buFont typeface="Arial" panose="020B0604020202020204" pitchFamily="34" charset="0"/>
        <a:buNone/>
        <a:defRPr sz="1650" kern="1200">
          <a:solidFill>
            <a:schemeClr val="accent2"/>
          </a:solidFill>
          <a:latin typeface="+mn-lt"/>
          <a:ea typeface="+mn-ea"/>
          <a:cs typeface="+mn-cs"/>
        </a:defRPr>
      </a:lvl1pPr>
      <a:lvl2pPr marL="116681" indent="-116681" algn="l" defTabSz="685800" rtl="0" eaLnBrk="1" latinLnBrk="0" hangingPunct="1">
        <a:lnSpc>
          <a:spcPct val="95000"/>
        </a:lnSpc>
        <a:spcBef>
          <a:spcPts val="300"/>
        </a:spcBef>
        <a:buFont typeface="Arial" panose="020B0604020202020204" pitchFamily="34" charset="0"/>
        <a:buChar char="•"/>
        <a:defRPr sz="1650" kern="1200">
          <a:solidFill>
            <a:schemeClr val="accent2"/>
          </a:solidFill>
          <a:latin typeface="+mn-lt"/>
          <a:ea typeface="+mn-ea"/>
          <a:cs typeface="+mn-cs"/>
        </a:defRPr>
      </a:lvl2pPr>
      <a:lvl3pPr marL="332185" indent="-194072"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3pPr>
      <a:lvl4pPr marL="509588"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4pPr>
      <a:lvl5pPr marL="703660"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547EBF"/>
          </p15:clr>
        </p15:guide>
        <p15:guide id="2" pos="3840">
          <p15:clr>
            <a:srgbClr val="547EBF"/>
          </p15:clr>
        </p15:guide>
        <p15:guide id="3" pos="205">
          <p15:clr>
            <a:srgbClr val="F26B43"/>
          </p15:clr>
        </p15:guide>
        <p15:guide id="4" pos="7479">
          <p15:clr>
            <a:srgbClr val="F26B43"/>
          </p15:clr>
        </p15:guide>
        <p15:guide id="5" orient="horz" pos="211">
          <p15:clr>
            <a:srgbClr val="F26B43"/>
          </p15:clr>
        </p15:guide>
        <p15:guide id="7" orient="horz" pos="1538">
          <p15:clr>
            <a:srgbClr val="F26B43"/>
          </p15:clr>
        </p15:guide>
        <p15:guide id="8" pos="7478">
          <p15:clr>
            <a:srgbClr val="F26B43"/>
          </p15:clr>
        </p15:guide>
        <p15:guide id="9" orient="horz" pos="3875">
          <p15:clr>
            <a:srgbClr val="F26B43"/>
          </p15:clr>
        </p15:guide>
        <p15:guide id="10" orient="horz" pos="443">
          <p15:clr>
            <a:srgbClr val="F26B43"/>
          </p15:clr>
        </p15:guide>
        <p15:guide id="11" orient="horz" pos="539">
          <p15:clr>
            <a:srgbClr val="F26B43"/>
          </p15:clr>
        </p15:guide>
        <p15:guide id="12" orient="horz" pos="774">
          <p15:clr>
            <a:srgbClr val="F26B43"/>
          </p15:clr>
        </p15:guide>
        <p15:guide id="13" orient="horz" pos="874">
          <p15:clr>
            <a:srgbClr val="F26B43"/>
          </p15:clr>
        </p15:guide>
        <p15:guide id="14" orient="horz" pos="1108">
          <p15:clr>
            <a:srgbClr val="F26B43"/>
          </p15:clr>
        </p15:guide>
        <p15:guide id="15" orient="horz" pos="1210">
          <p15:clr>
            <a:srgbClr val="F26B43"/>
          </p15:clr>
        </p15:guide>
        <p15:guide id="16" orient="horz" pos="1446">
          <p15:clr>
            <a:srgbClr val="F26B43"/>
          </p15:clr>
        </p15:guide>
        <p15:guide id="17" orient="horz" pos="1776">
          <p15:clr>
            <a:srgbClr val="F26B43"/>
          </p15:clr>
        </p15:guide>
        <p15:guide id="18" orient="horz" pos="1872">
          <p15:clr>
            <a:srgbClr val="F26B43"/>
          </p15:clr>
        </p15:guide>
        <p15:guide id="19" orient="horz" pos="2110">
          <p15:clr>
            <a:srgbClr val="F26B43"/>
          </p15:clr>
        </p15:guide>
        <p15:guide id="20" orient="horz" pos="2208">
          <p15:clr>
            <a:srgbClr val="F26B43"/>
          </p15:clr>
        </p15:guide>
        <p15:guide id="21" orient="horz" pos="2443">
          <p15:clr>
            <a:srgbClr val="F26B43"/>
          </p15:clr>
        </p15:guide>
        <p15:guide id="22" orient="horz" pos="2546">
          <p15:clr>
            <a:srgbClr val="F26B43"/>
          </p15:clr>
        </p15:guide>
        <p15:guide id="23" orient="horz" pos="2777">
          <p15:clr>
            <a:srgbClr val="F26B43"/>
          </p15:clr>
        </p15:guide>
        <p15:guide id="24" orient="horz" pos="2875">
          <p15:clr>
            <a:srgbClr val="F26B43"/>
          </p15:clr>
        </p15:guide>
        <p15:guide id="25" orient="horz" pos="3109">
          <p15:clr>
            <a:srgbClr val="F26B43"/>
          </p15:clr>
        </p15:guide>
        <p15:guide id="26" orient="horz" pos="3209">
          <p15:clr>
            <a:srgbClr val="F26B43"/>
          </p15:clr>
        </p15:guide>
        <p15:guide id="27" orient="horz" pos="3443">
          <p15:clr>
            <a:srgbClr val="F26B43"/>
          </p15:clr>
        </p15:guide>
        <p15:guide id="28" orient="horz" pos="3547">
          <p15:clr>
            <a:srgbClr val="F26B43"/>
          </p15:clr>
        </p15:guide>
        <p15:guide id="29" orient="horz" pos="3779">
          <p15:clr>
            <a:srgbClr val="F26B43"/>
          </p15:clr>
        </p15:guide>
        <p15:guide id="31" orient="horz" pos="4110">
          <p15:clr>
            <a:srgbClr val="F26B43"/>
          </p15:clr>
        </p15:guide>
        <p15:guide id="32" pos="416">
          <p15:clr>
            <a:srgbClr val="F26B43"/>
          </p15:clr>
        </p15:guide>
        <p15:guide id="33" pos="513">
          <p15:clr>
            <a:srgbClr val="F26B43"/>
          </p15:clr>
        </p15:guide>
        <p15:guide id="34" pos="723">
          <p15:clr>
            <a:srgbClr val="F26B43"/>
          </p15:clr>
        </p15:guide>
        <p15:guide id="35" pos="824">
          <p15:clr>
            <a:srgbClr val="F26B43"/>
          </p15:clr>
        </p15:guide>
        <p15:guide id="36" pos="1029">
          <p15:clr>
            <a:srgbClr val="F26B43"/>
          </p15:clr>
        </p15:guide>
        <p15:guide id="37" pos="1129">
          <p15:clr>
            <a:srgbClr val="F26B43"/>
          </p15:clr>
        </p15:guide>
        <p15:guide id="38" pos="1336">
          <p15:clr>
            <a:srgbClr val="F26B43"/>
          </p15:clr>
        </p15:guide>
        <p15:guide id="39" pos="1436">
          <p15:clr>
            <a:srgbClr val="F26B43"/>
          </p15:clr>
        </p15:guide>
        <p15:guide id="40" pos="1643">
          <p15:clr>
            <a:srgbClr val="F26B43"/>
          </p15:clr>
        </p15:guide>
        <p15:guide id="41" pos="1743">
          <p15:clr>
            <a:srgbClr val="F26B43"/>
          </p15:clr>
        </p15:guide>
        <p15:guide id="42" pos="1949">
          <p15:clr>
            <a:srgbClr val="F26B43"/>
          </p15:clr>
        </p15:guide>
        <p15:guide id="43" pos="2051">
          <p15:clr>
            <a:srgbClr val="F26B43"/>
          </p15:clr>
        </p15:guide>
        <p15:guide id="44" pos="2260">
          <p15:clr>
            <a:srgbClr val="F26B43"/>
          </p15:clr>
        </p15:guide>
        <p15:guide id="45" pos="2360">
          <p15:clr>
            <a:srgbClr val="F26B43"/>
          </p15:clr>
        </p15:guide>
        <p15:guide id="46" pos="2567">
          <p15:clr>
            <a:srgbClr val="F26B43"/>
          </p15:clr>
        </p15:guide>
        <p15:guide id="47" pos="2667">
          <p15:clr>
            <a:srgbClr val="F26B43"/>
          </p15:clr>
        </p15:guide>
        <p15:guide id="48" pos="2871">
          <p15:clr>
            <a:srgbClr val="F26B43"/>
          </p15:clr>
        </p15:guide>
        <p15:guide id="49" pos="2973">
          <p15:clr>
            <a:srgbClr val="F26B43"/>
          </p15:clr>
        </p15:guide>
        <p15:guide id="50" pos="3180">
          <p15:clr>
            <a:srgbClr val="F26B43"/>
          </p15:clr>
        </p15:guide>
        <p15:guide id="51" pos="3280">
          <p15:clr>
            <a:srgbClr val="F26B43"/>
          </p15:clr>
        </p15:guide>
        <p15:guide id="52" pos="3487">
          <p15:clr>
            <a:srgbClr val="F26B43"/>
          </p15:clr>
        </p15:guide>
        <p15:guide id="53" pos="3587">
          <p15:clr>
            <a:srgbClr val="F26B43"/>
          </p15:clr>
        </p15:guide>
        <p15:guide id="54" pos="3793">
          <p15:clr>
            <a:srgbClr val="F26B43"/>
          </p15:clr>
        </p15:guide>
        <p15:guide id="55" pos="3893">
          <p15:clr>
            <a:srgbClr val="F26B43"/>
          </p15:clr>
        </p15:guide>
        <p15:guide id="56" pos="4100">
          <p15:clr>
            <a:srgbClr val="F26B43"/>
          </p15:clr>
        </p15:guide>
        <p15:guide id="57" pos="4200">
          <p15:clr>
            <a:srgbClr val="F26B43"/>
          </p15:clr>
        </p15:guide>
        <p15:guide id="58" pos="4407">
          <p15:clr>
            <a:srgbClr val="F26B43"/>
          </p15:clr>
        </p15:guide>
        <p15:guide id="59" pos="4507">
          <p15:clr>
            <a:srgbClr val="F26B43"/>
          </p15:clr>
        </p15:guide>
        <p15:guide id="60" pos="4713">
          <p15:clr>
            <a:srgbClr val="F26B43"/>
          </p15:clr>
        </p15:guide>
        <p15:guide id="61" pos="4813">
          <p15:clr>
            <a:srgbClr val="F26B43"/>
          </p15:clr>
        </p15:guide>
        <p15:guide id="62" pos="5020">
          <p15:clr>
            <a:srgbClr val="F26B43"/>
          </p15:clr>
        </p15:guide>
        <p15:guide id="63" pos="5120">
          <p15:clr>
            <a:srgbClr val="F26B43"/>
          </p15:clr>
        </p15:guide>
        <p15:guide id="64" pos="5327">
          <p15:clr>
            <a:srgbClr val="F26B43"/>
          </p15:clr>
        </p15:guide>
        <p15:guide id="65" pos="5424">
          <p15:clr>
            <a:srgbClr val="F26B43"/>
          </p15:clr>
        </p15:guide>
        <p15:guide id="66" pos="5637">
          <p15:clr>
            <a:srgbClr val="F26B43"/>
          </p15:clr>
        </p15:guide>
        <p15:guide id="67" pos="5736">
          <p15:clr>
            <a:srgbClr val="F26B43"/>
          </p15:clr>
        </p15:guide>
        <p15:guide id="68" pos="5943">
          <p15:clr>
            <a:srgbClr val="F26B43"/>
          </p15:clr>
        </p15:guide>
        <p15:guide id="69" pos="6043">
          <p15:clr>
            <a:srgbClr val="F26B43"/>
          </p15:clr>
        </p15:guide>
        <p15:guide id="70" pos="6249">
          <p15:clr>
            <a:srgbClr val="F26B43"/>
          </p15:clr>
        </p15:guide>
        <p15:guide id="71" pos="6349">
          <p15:clr>
            <a:srgbClr val="F26B43"/>
          </p15:clr>
        </p15:guide>
        <p15:guide id="72" pos="6555">
          <p15:clr>
            <a:srgbClr val="F26B43"/>
          </p15:clr>
        </p15:guide>
        <p15:guide id="73" pos="6657">
          <p15:clr>
            <a:srgbClr val="F26B43"/>
          </p15:clr>
        </p15:guide>
        <p15:guide id="74" pos="6861">
          <p15:clr>
            <a:srgbClr val="F26B43"/>
          </p15:clr>
        </p15:guide>
        <p15:guide id="75" pos="6964">
          <p15:clr>
            <a:srgbClr val="F26B43"/>
          </p15:clr>
        </p15:guide>
        <p15:guide id="76" pos="7168">
          <p15:clr>
            <a:srgbClr val="F26B43"/>
          </p15:clr>
        </p15:guide>
        <p15:guide id="77" pos="727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sv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64.svg"/></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hyperlink" Target="https://www.fda.gov/drugs/biosimilars/review-and-approval.%20Accessed%20June%202024" TargetMode="External"/><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60.svg"/><Relationship Id="rId7" Type="http://schemas.openxmlformats.org/officeDocument/2006/relationships/image" Target="../media/image72.svg"/><Relationship Id="rId2" Type="http://schemas.openxmlformats.org/officeDocument/2006/relationships/image" Target="../media/image59.png"/><Relationship Id="rId1" Type="http://schemas.openxmlformats.org/officeDocument/2006/relationships/slideLayout" Target="../slideLayouts/slideLayout20.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s>
</file>

<file path=ppt/slides/_rels/slide23.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6.xml.rels><?xml version="1.0" encoding="UTF-8" standalone="yes"?>
<Relationships xmlns="http://schemas.openxmlformats.org/package/2006/relationships"><Relationship Id="rId3" Type="http://schemas.openxmlformats.org/officeDocument/2006/relationships/image" Target="../media/image33.svg"/><Relationship Id="rId7" Type="http://schemas.openxmlformats.org/officeDocument/2006/relationships/image" Target="../media/image78.svg"/><Relationship Id="rId2" Type="http://schemas.openxmlformats.org/officeDocument/2006/relationships/image" Target="../media/image32.png"/><Relationship Id="rId1" Type="http://schemas.openxmlformats.org/officeDocument/2006/relationships/slideLayout" Target="../slideLayouts/slideLayout20.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13.xml"/><Relationship Id="rId5" Type="http://schemas.openxmlformats.org/officeDocument/2006/relationships/slide" Target="slide6.xml"/><Relationship Id="rId4" Type="http://schemas.openxmlformats.org/officeDocument/2006/relationships/slide" Target="slide29.xml"/></Relationships>
</file>

<file path=ppt/slides/_rels/slide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8.xml"/><Relationship Id="rId1" Type="http://schemas.openxmlformats.org/officeDocument/2006/relationships/slideLayout" Target="../slideLayouts/slideLayout14.xml"/><Relationship Id="rId4" Type="http://schemas.openxmlformats.org/officeDocument/2006/relationships/image" Target="../media/image81.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6.xml"/><Relationship Id="rId1" Type="http://schemas.openxmlformats.org/officeDocument/2006/relationships/slideLayout" Target="../slideLayouts/slideLayout15.xml"/><Relationship Id="rId4" Type="http://schemas.openxmlformats.org/officeDocument/2006/relationships/image" Target="../media/image81.svg"/></Relationships>
</file>

<file path=ppt/slides/_rels/slide34.xml.rels><?xml version="1.0" encoding="UTF-8" standalone="yes"?>
<Relationships xmlns="http://schemas.openxmlformats.org/package/2006/relationships"><Relationship Id="rId2" Type="http://schemas.openxmlformats.org/officeDocument/2006/relationships/slide" Target="slide31.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31.xml"/><Relationship Id="rId1" Type="http://schemas.openxmlformats.org/officeDocument/2006/relationships/slideLayout" Target="../slideLayouts/slideLayout16.xml"/><Relationship Id="rId5" Type="http://schemas.openxmlformats.org/officeDocument/2006/relationships/image" Target="../media/image81.svg"/><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slide" Target="slide31.xml"/><Relationship Id="rId1" Type="http://schemas.openxmlformats.org/officeDocument/2006/relationships/slideLayout" Target="../slideLayouts/slideLayout17.xml"/><Relationship Id="rId5" Type="http://schemas.openxmlformats.org/officeDocument/2006/relationships/image" Target="../media/image81.svg"/><Relationship Id="rId4" Type="http://schemas.openxmlformats.org/officeDocument/2006/relationships/image" Target="../media/image7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slide" Target="slide31.xml"/><Relationship Id="rId1" Type="http://schemas.openxmlformats.org/officeDocument/2006/relationships/slideLayout" Target="../slideLayouts/slideLayout18.xml"/><Relationship Id="rId5" Type="http://schemas.openxmlformats.org/officeDocument/2006/relationships/image" Target="../media/image81.svg"/><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slide" Target="slide27.xml"/><Relationship Id="rId3" Type="http://schemas.openxmlformats.org/officeDocument/2006/relationships/slide" Target="slide14.xml"/><Relationship Id="rId7" Type="http://schemas.openxmlformats.org/officeDocument/2006/relationships/image" Target="../media/image34.png"/><Relationship Id="rId12" Type="http://schemas.openxmlformats.org/officeDocument/2006/relationships/image" Target="../media/image39.svg"/><Relationship Id="rId17" Type="http://schemas.openxmlformats.org/officeDocument/2006/relationships/image" Target="../media/image42.svg"/><Relationship Id="rId2" Type="http://schemas.openxmlformats.org/officeDocument/2006/relationships/notesSlide" Target="../notesSlides/notesSlide3.xml"/><Relationship Id="rId16" Type="http://schemas.openxmlformats.org/officeDocument/2006/relationships/image" Target="../media/image41.png"/><Relationship Id="rId1" Type="http://schemas.openxmlformats.org/officeDocument/2006/relationships/slideLayout" Target="../slideLayouts/slideLayout20.xml"/><Relationship Id="rId6" Type="http://schemas.openxmlformats.org/officeDocument/2006/relationships/slide" Target="slide50.xml"/><Relationship Id="rId11" Type="http://schemas.openxmlformats.org/officeDocument/2006/relationships/image" Target="../media/image38.png"/><Relationship Id="rId5" Type="http://schemas.openxmlformats.org/officeDocument/2006/relationships/slide" Target="slide25.xml"/><Relationship Id="rId15" Type="http://schemas.openxmlformats.org/officeDocument/2006/relationships/slide" Target="slide11.xml"/><Relationship Id="rId10" Type="http://schemas.openxmlformats.org/officeDocument/2006/relationships/image" Target="../media/image37.svg"/><Relationship Id="rId4" Type="http://schemas.openxmlformats.org/officeDocument/2006/relationships/slide" Target="slide5.xml"/><Relationship Id="rId9" Type="http://schemas.openxmlformats.org/officeDocument/2006/relationships/image" Target="../media/image36.png"/><Relationship Id="rId14" Type="http://schemas.openxmlformats.org/officeDocument/2006/relationships/image" Target="../media/image40.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19.xml"/><Relationship Id="rId1" Type="http://schemas.openxmlformats.org/officeDocument/2006/relationships/slideLayout" Target="../slideLayouts/slideLayout13.xml"/><Relationship Id="rId4" Type="http://schemas.openxmlformats.org/officeDocument/2006/relationships/image" Target="../media/image81.sv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20.xml"/><Relationship Id="rId1" Type="http://schemas.openxmlformats.org/officeDocument/2006/relationships/slideLayout" Target="../slideLayouts/slideLayout14.xml"/><Relationship Id="rId4" Type="http://schemas.openxmlformats.org/officeDocument/2006/relationships/image" Target="../media/image81.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22.xml"/><Relationship Id="rId1" Type="http://schemas.openxmlformats.org/officeDocument/2006/relationships/slideLayout" Target="../slideLayouts/slideLayout15.xml"/><Relationship Id="rId4" Type="http://schemas.openxmlformats.org/officeDocument/2006/relationships/image" Target="../media/image81.sv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notesSlide" Target="../notesSlides/notesSlide22.xml"/><Relationship Id="rId1" Type="http://schemas.openxmlformats.org/officeDocument/2006/relationships/slideLayout" Target="../slideLayouts/slideLayout16.xml"/><Relationship Id="rId5" Type="http://schemas.openxmlformats.org/officeDocument/2006/relationships/image" Target="../media/image81.svg"/><Relationship Id="rId4" Type="http://schemas.openxmlformats.org/officeDocument/2006/relationships/image" Target="../media/image79.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 Target="slide26.xml"/><Relationship Id="rId1" Type="http://schemas.openxmlformats.org/officeDocument/2006/relationships/slideLayout" Target="../slideLayouts/slideLayout17.xml"/><Relationship Id="rId4" Type="http://schemas.openxmlformats.org/officeDocument/2006/relationships/image" Target="../media/image81.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hyperlink" Target="https://www.ema.europa.eu/en/documents/product-information/aubagio-epar-product-information_en.pdf" TargetMode="External"/><Relationship Id="rId3" Type="http://schemas.openxmlformats.org/officeDocument/2006/relationships/notesSlide" Target="../notesSlides/notesSlide4.xml"/><Relationship Id="rId7" Type="http://schemas.openxmlformats.org/officeDocument/2006/relationships/image" Target="../media/image45.jpeg"/><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44.gif"/><Relationship Id="rId11" Type="http://schemas.openxmlformats.org/officeDocument/2006/relationships/hyperlink" Target="https://dailymed.nlm.nih.gov/dailymed/getFile.cfm?setid=1824aae5-58af-43da-8231-435c8f118bc0&amp;type=pdf" TargetMode="External"/><Relationship Id="rId5" Type="http://schemas.openxmlformats.org/officeDocument/2006/relationships/image" Target="../media/image43.jpeg"/><Relationship Id="rId10" Type="http://schemas.openxmlformats.org/officeDocument/2006/relationships/hyperlink" Target="https://www.ema.europa.eu/en/documents/product-information/teriflunomide-mylan-epar-product-information_en.pdf" TargetMode="External"/><Relationship Id="rId4" Type="http://schemas.openxmlformats.org/officeDocument/2006/relationships/oleObject" Target="../embeddings/oleObject1.bin"/><Relationship Id="rId9" Type="http://schemas.openxmlformats.org/officeDocument/2006/relationships/hyperlink" Target="https://products.sanofi.us/aubagio/aubagio.pdf"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jpe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49.jpeg"/><Relationship Id="rId11" Type="http://schemas.openxmlformats.org/officeDocument/2006/relationships/image" Target="../media/image54.png"/><Relationship Id="rId5" Type="http://schemas.openxmlformats.org/officeDocument/2006/relationships/image" Target="../media/image48.jpeg"/><Relationship Id="rId10" Type="http://schemas.openxmlformats.org/officeDocument/2006/relationships/image" Target="../media/image53.svg"/><Relationship Id="rId4" Type="http://schemas.openxmlformats.org/officeDocument/2006/relationships/image" Target="../media/image47.jpeg"/><Relationship Id="rId9" Type="http://schemas.openxmlformats.org/officeDocument/2006/relationships/image" Target="../media/image52.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5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0ECB113-ABC3-4E13-BCFF-9B2C39A7C262}"/>
              </a:ext>
            </a:extLst>
          </p:cNvPr>
          <p:cNvSpPr>
            <a:spLocks noGrp="1"/>
          </p:cNvSpPr>
          <p:nvPr>
            <p:ph type="ctrTitle"/>
          </p:nvPr>
        </p:nvSpPr>
        <p:spPr>
          <a:xfrm>
            <a:off x="243000" y="2159918"/>
            <a:ext cx="3841319" cy="1939405"/>
          </a:xfrm>
        </p:spPr>
        <p:txBody>
          <a:bodyPr/>
          <a:lstStyle/>
          <a:p>
            <a:r>
              <a:rPr lang="en-US" dirty="0">
                <a:solidFill>
                  <a:schemeClr val="bg1"/>
                </a:solidFill>
              </a:rPr>
              <a:t>Understanding biologics: A guide to reference and biosimilar biologic medicines</a:t>
            </a:r>
            <a:endParaRPr lang="en-GB" dirty="0">
              <a:solidFill>
                <a:schemeClr val="bg1"/>
              </a:solidFill>
            </a:endParaRPr>
          </a:p>
        </p:txBody>
      </p:sp>
      <p:sp>
        <p:nvSpPr>
          <p:cNvPr id="2" name="Subtitle 1">
            <a:extLst>
              <a:ext uri="{FF2B5EF4-FFF2-40B4-BE49-F238E27FC236}">
                <a16:creationId xmlns:a16="http://schemas.microsoft.com/office/drawing/2014/main" id="{B27317CB-41AD-00C3-7AD6-A6D7510F356A}"/>
              </a:ext>
            </a:extLst>
          </p:cNvPr>
          <p:cNvSpPr>
            <a:spLocks noGrp="1"/>
          </p:cNvSpPr>
          <p:nvPr>
            <p:ph type="subTitle" idx="1"/>
          </p:nvPr>
        </p:nvSpPr>
        <p:spPr>
          <a:xfrm>
            <a:off x="243001" y="142687"/>
            <a:ext cx="3175284" cy="712976"/>
          </a:xfrm>
        </p:spPr>
        <p:txBody>
          <a:bodyPr/>
          <a:lstStyle/>
          <a:p>
            <a:r>
              <a:rPr lang="en-US" sz="1400" dirty="0">
                <a:solidFill>
                  <a:schemeClr val="bg2"/>
                </a:solidFill>
              </a:rPr>
              <a:t>US Version 1.0</a:t>
            </a:r>
          </a:p>
          <a:p>
            <a:r>
              <a:rPr lang="en-US" sz="1400" dirty="0">
                <a:solidFill>
                  <a:schemeClr val="bg2"/>
                </a:solidFill>
              </a:rPr>
              <a:t>August 2024</a:t>
            </a:r>
          </a:p>
          <a:p>
            <a:r>
              <a:rPr lang="en-US" sz="1400" dirty="0">
                <a:solidFill>
                  <a:schemeClr val="bg2"/>
                </a:solidFill>
              </a:rPr>
              <a:t>FA-11233189</a:t>
            </a:r>
          </a:p>
        </p:txBody>
      </p:sp>
      <p:pic>
        <p:nvPicPr>
          <p:cNvPr id="3" name="Picture 2" descr="Blue letters on a black background&#10;&#10;Description automatically generated">
            <a:extLst>
              <a:ext uri="{FF2B5EF4-FFF2-40B4-BE49-F238E27FC236}">
                <a16:creationId xmlns:a16="http://schemas.microsoft.com/office/drawing/2014/main" id="{0C69E6AC-E571-20A3-777C-86C31D5DF9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49854" y="4476052"/>
            <a:ext cx="1405244" cy="540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54695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Shape 8">
            <a:extLst>
              <a:ext uri="{FF2B5EF4-FFF2-40B4-BE49-F238E27FC236}">
                <a16:creationId xmlns:a16="http://schemas.microsoft.com/office/drawing/2014/main" id="{CB5BA6E0-A654-6186-A924-2181D6460D15}"/>
              </a:ext>
            </a:extLst>
          </p:cNvPr>
          <p:cNvSpPr>
            <a:spLocks/>
          </p:cNvSpPr>
          <p:nvPr/>
        </p:nvSpPr>
        <p:spPr>
          <a:xfrm>
            <a:off x="3092358" y="1212785"/>
            <a:ext cx="2834640" cy="332612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21" name="Oval 20">
            <a:extLst>
              <a:ext uri="{FF2B5EF4-FFF2-40B4-BE49-F238E27FC236}">
                <a16:creationId xmlns:a16="http://schemas.microsoft.com/office/drawing/2014/main" id="{1540D839-EEAE-11C2-D704-D4B4965A374A}"/>
              </a:ext>
            </a:extLst>
          </p:cNvPr>
          <p:cNvSpPr/>
          <p:nvPr/>
        </p:nvSpPr>
        <p:spPr>
          <a:xfrm>
            <a:off x="3908304" y="1369003"/>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5" name="Freeform: Shape 8">
            <a:extLst>
              <a:ext uri="{FF2B5EF4-FFF2-40B4-BE49-F238E27FC236}">
                <a16:creationId xmlns:a16="http://schemas.microsoft.com/office/drawing/2014/main" id="{BDF82B79-62A2-2F44-C0E9-8D9B5FCD3C66}"/>
              </a:ext>
            </a:extLst>
          </p:cNvPr>
          <p:cNvSpPr>
            <a:spLocks/>
          </p:cNvSpPr>
          <p:nvPr/>
        </p:nvSpPr>
        <p:spPr>
          <a:xfrm>
            <a:off x="255661" y="1212785"/>
            <a:ext cx="2834640" cy="3326121"/>
          </a:xfrm>
          <a:prstGeom prst="rect">
            <a:avLst/>
          </a:prstGeom>
          <a:solidFill>
            <a:schemeClr val="accent4">
              <a:alpha val="33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20" name="Oval 19">
            <a:extLst>
              <a:ext uri="{FF2B5EF4-FFF2-40B4-BE49-F238E27FC236}">
                <a16:creationId xmlns:a16="http://schemas.microsoft.com/office/drawing/2014/main" id="{E8DAAEE1-DACE-7D30-415D-AD0D24DDA2FA}"/>
              </a:ext>
            </a:extLst>
          </p:cNvPr>
          <p:cNvSpPr/>
          <p:nvPr/>
        </p:nvSpPr>
        <p:spPr>
          <a:xfrm>
            <a:off x="1071608" y="1369003"/>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7" name="Freeform: Shape 8">
            <a:extLst>
              <a:ext uri="{FF2B5EF4-FFF2-40B4-BE49-F238E27FC236}">
                <a16:creationId xmlns:a16="http://schemas.microsoft.com/office/drawing/2014/main" id="{AE0D5770-DBCC-1C8A-350C-05DE1645DCA2}"/>
              </a:ext>
            </a:extLst>
          </p:cNvPr>
          <p:cNvSpPr>
            <a:spLocks/>
          </p:cNvSpPr>
          <p:nvPr/>
        </p:nvSpPr>
        <p:spPr>
          <a:xfrm>
            <a:off x="5929054" y="1212785"/>
            <a:ext cx="2834640" cy="3326121"/>
          </a:xfrm>
          <a:prstGeom prst="rect">
            <a:avLst/>
          </a:prstGeom>
          <a:solidFill>
            <a:schemeClr val="accent4">
              <a:alpha val="33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4" name="Title 3">
            <a:extLst>
              <a:ext uri="{FF2B5EF4-FFF2-40B4-BE49-F238E27FC236}">
                <a16:creationId xmlns:a16="http://schemas.microsoft.com/office/drawing/2014/main" id="{479DF0B6-092E-02BC-99DD-686AD9A77EAC}"/>
              </a:ext>
            </a:extLst>
          </p:cNvPr>
          <p:cNvSpPr>
            <a:spLocks noGrp="1"/>
          </p:cNvSpPr>
          <p:nvPr>
            <p:ph type="title"/>
          </p:nvPr>
        </p:nvSpPr>
        <p:spPr>
          <a:xfrm>
            <a:off x="243000" y="181146"/>
            <a:ext cx="7316279" cy="741081"/>
          </a:xfrm>
        </p:spPr>
        <p:txBody>
          <a:bodyPr>
            <a:noAutofit/>
          </a:bodyPr>
          <a:lstStyle/>
          <a:p>
            <a:r>
              <a:rPr lang="en-GB" dirty="0"/>
              <a:t>Biosimilar medicines are successors to reference </a:t>
            </a:r>
            <a:br>
              <a:rPr lang="en-GB" dirty="0"/>
            </a:br>
            <a:r>
              <a:rPr lang="en-GB" dirty="0"/>
              <a:t>biologic medicines</a:t>
            </a:r>
          </a:p>
        </p:txBody>
      </p:sp>
      <p:sp>
        <p:nvSpPr>
          <p:cNvPr id="5" name="Slide Number Placeholder 1">
            <a:extLst>
              <a:ext uri="{FF2B5EF4-FFF2-40B4-BE49-F238E27FC236}">
                <a16:creationId xmlns:a16="http://schemas.microsoft.com/office/drawing/2014/main" id="{A6BBB83D-B69D-56E7-267E-1A4767715B05}"/>
              </a:ext>
            </a:extLst>
          </p:cNvPr>
          <p:cNvSpPr>
            <a:spLocks noGrp="1"/>
          </p:cNvSpPr>
          <p:nvPr>
            <p:ph type="sldNum" sz="quarter" idx="12"/>
          </p:nvPr>
        </p:nvSpPr>
        <p:spPr/>
        <p:txBody>
          <a:bodyPr/>
          <a:lstStyle/>
          <a:p>
            <a:fld id="{47547CF9-5B10-D24F-A8D7-45A9778164F7}" type="slidenum">
              <a:rPr lang="uk-UA" smtClean="0"/>
              <a:pPr/>
              <a:t>10</a:t>
            </a:fld>
            <a:endParaRPr lang="uk-UA"/>
          </a:p>
        </p:txBody>
      </p:sp>
      <p:sp>
        <p:nvSpPr>
          <p:cNvPr id="23" name="TextBox 22">
            <a:extLst>
              <a:ext uri="{FF2B5EF4-FFF2-40B4-BE49-F238E27FC236}">
                <a16:creationId xmlns:a16="http://schemas.microsoft.com/office/drawing/2014/main" id="{57242C2F-94E8-5685-B75D-F02FD2E04EE4}"/>
              </a:ext>
            </a:extLst>
          </p:cNvPr>
          <p:cNvSpPr txBox="1"/>
          <p:nvPr/>
        </p:nvSpPr>
        <p:spPr>
          <a:xfrm>
            <a:off x="255661" y="2770498"/>
            <a:ext cx="2834640" cy="1200329"/>
          </a:xfrm>
          <a:prstGeom prst="rect">
            <a:avLst/>
          </a:prstGeom>
          <a:noFill/>
        </p:spPr>
        <p:txBody>
          <a:bodyPr wrap="square" lIns="228600" rIns="228600">
            <a:spAutoFit/>
          </a:bodyPr>
          <a:lstStyle/>
          <a:p>
            <a:pPr algn="ctr"/>
            <a:r>
              <a:rPr lang="en-US" sz="1200" dirty="0">
                <a:cs typeface="Arial" panose="020B0604020202020204" pitchFamily="34" charset="0"/>
              </a:rPr>
              <a:t>A biosimilar medicine is a </a:t>
            </a:r>
            <a:r>
              <a:rPr lang="en-US" sz="1200" b="1" dirty="0">
                <a:cs typeface="Arial" panose="020B0604020202020204" pitchFamily="34" charset="0"/>
              </a:rPr>
              <a:t>successor</a:t>
            </a:r>
            <a:r>
              <a:rPr lang="en-US" sz="1200" dirty="0">
                <a:cs typeface="Arial" panose="020B0604020202020204" pitchFamily="34" charset="0"/>
              </a:rPr>
              <a:t> to a </a:t>
            </a:r>
            <a:r>
              <a:rPr lang="en-US" sz="1200" b="1" dirty="0">
                <a:cs typeface="Arial" panose="020B0604020202020204" pitchFamily="34" charset="0"/>
              </a:rPr>
              <a:t>reference biologic medicine </a:t>
            </a:r>
            <a:r>
              <a:rPr lang="en-US" sz="1200" b="1" dirty="0">
                <a:solidFill>
                  <a:schemeClr val="accent1"/>
                </a:solidFill>
                <a:cs typeface="Arial" panose="020B0604020202020204" pitchFamily="34" charset="0"/>
              </a:rPr>
              <a:t>(also known as the “reference medicine”) </a:t>
            </a:r>
            <a:r>
              <a:rPr lang="en-US" sz="1200" dirty="0">
                <a:cs typeface="Arial" panose="020B0604020202020204" pitchFamily="34" charset="0"/>
              </a:rPr>
              <a:t>for which the </a:t>
            </a:r>
            <a:r>
              <a:rPr lang="en-US" sz="1200" b="1" dirty="0">
                <a:cs typeface="Arial" panose="020B0604020202020204" pitchFamily="34" charset="0"/>
              </a:rPr>
              <a:t>patent and exclusivity period have expired</a:t>
            </a:r>
            <a:r>
              <a:rPr lang="en-US" sz="1200" baseline="30000" dirty="0">
                <a:cs typeface="Arial" panose="020B0604020202020204" pitchFamily="34" charset="0"/>
              </a:rPr>
              <a:t>1</a:t>
            </a:r>
          </a:p>
        </p:txBody>
      </p:sp>
      <p:sp>
        <p:nvSpPr>
          <p:cNvPr id="25" name="TextBox 24">
            <a:extLst>
              <a:ext uri="{FF2B5EF4-FFF2-40B4-BE49-F238E27FC236}">
                <a16:creationId xmlns:a16="http://schemas.microsoft.com/office/drawing/2014/main" id="{02E84C56-041F-EF50-8854-4AB5576C2BE4}"/>
              </a:ext>
            </a:extLst>
          </p:cNvPr>
          <p:cNvSpPr txBox="1"/>
          <p:nvPr/>
        </p:nvSpPr>
        <p:spPr>
          <a:xfrm>
            <a:off x="3074018" y="2770498"/>
            <a:ext cx="2836046" cy="1754326"/>
          </a:xfrm>
          <a:prstGeom prst="rect">
            <a:avLst/>
          </a:prstGeom>
          <a:noFill/>
        </p:spPr>
        <p:txBody>
          <a:bodyPr wrap="square" lIns="228600" rIns="228600">
            <a:spAutoFit/>
          </a:bodyPr>
          <a:lstStyle>
            <a:defPPr>
              <a:defRPr lang="en-US"/>
            </a:defPPr>
            <a:lvl1pPr>
              <a:defRPr sz="1400">
                <a:cs typeface="Arial" panose="020B0604020202020204" pitchFamily="34" charset="0"/>
              </a:defRPr>
            </a:lvl1pPr>
          </a:lstStyle>
          <a:p>
            <a:pPr algn="ctr"/>
            <a:r>
              <a:rPr lang="en-US" sz="1200" dirty="0">
                <a:solidFill>
                  <a:schemeClr val="accent1"/>
                </a:solidFill>
              </a:rPr>
              <a:t>Based on a comprehensive ‘totality of evidence’ data package, EMA and US FDA approvals confirm that there are </a:t>
            </a:r>
            <a:r>
              <a:rPr lang="en-US" sz="1200" b="1" dirty="0">
                <a:solidFill>
                  <a:schemeClr val="accent1"/>
                </a:solidFill>
              </a:rPr>
              <a:t>no clinically meaningful differences </a:t>
            </a:r>
            <a:r>
              <a:rPr lang="en-US" sz="1200" dirty="0">
                <a:solidFill>
                  <a:schemeClr val="accent1"/>
                </a:solidFill>
              </a:rPr>
              <a:t>in terms of efficacy, safety, and immunogenicity of a biosimilar compared to its EMA/US FDA-approved reference medicine</a:t>
            </a:r>
            <a:r>
              <a:rPr lang="en-US" sz="1200" baseline="30000" dirty="0">
                <a:solidFill>
                  <a:schemeClr val="accent1"/>
                </a:solidFill>
              </a:rPr>
              <a:t>2,3,4</a:t>
            </a:r>
          </a:p>
        </p:txBody>
      </p:sp>
      <p:sp>
        <p:nvSpPr>
          <p:cNvPr id="27" name="TextBox 26">
            <a:extLst>
              <a:ext uri="{FF2B5EF4-FFF2-40B4-BE49-F238E27FC236}">
                <a16:creationId xmlns:a16="http://schemas.microsoft.com/office/drawing/2014/main" id="{0D5F7DD1-6A38-927C-CEF3-1E53B5EA79F1}"/>
              </a:ext>
            </a:extLst>
          </p:cNvPr>
          <p:cNvSpPr txBox="1"/>
          <p:nvPr/>
        </p:nvSpPr>
        <p:spPr>
          <a:xfrm>
            <a:off x="5926998" y="2770498"/>
            <a:ext cx="2836046" cy="1015663"/>
          </a:xfrm>
          <a:prstGeom prst="rect">
            <a:avLst/>
          </a:prstGeom>
          <a:noFill/>
        </p:spPr>
        <p:txBody>
          <a:bodyPr wrap="square" lIns="228600" rIns="228600">
            <a:spAutoFit/>
          </a:bodyPr>
          <a:lstStyle>
            <a:defPPr>
              <a:defRPr lang="en-US"/>
            </a:defPPr>
            <a:lvl1pPr>
              <a:defRPr sz="1400">
                <a:cs typeface="Arial" panose="020B0604020202020204" pitchFamily="34" charset="0"/>
              </a:defRPr>
            </a:lvl1pPr>
          </a:lstStyle>
          <a:p>
            <a:pPr algn="ctr"/>
            <a:r>
              <a:rPr lang="en-US" sz="1200" dirty="0"/>
              <a:t>Biosimilar medicines are </a:t>
            </a:r>
            <a:r>
              <a:rPr lang="en-US" sz="1200" b="1" dirty="0"/>
              <a:t>approved based on the same standards of pharmaceutical </a:t>
            </a:r>
            <a:r>
              <a:rPr lang="en-US" sz="1200" dirty="0"/>
              <a:t>quality, safety, and efficacy as their </a:t>
            </a:r>
            <a:r>
              <a:rPr lang="en-US" sz="1200" b="1" dirty="0"/>
              <a:t>reference medicine</a:t>
            </a:r>
            <a:r>
              <a:rPr lang="en-US" sz="1200" b="1" baseline="30000" dirty="0"/>
              <a:t>2,3,4</a:t>
            </a:r>
          </a:p>
        </p:txBody>
      </p:sp>
      <p:pic>
        <p:nvPicPr>
          <p:cNvPr id="11" name="Picture 10" descr="A red stamp with white text&#10;&#10;Description automatically generated with medium confidence">
            <a:extLst>
              <a:ext uri="{FF2B5EF4-FFF2-40B4-BE49-F238E27FC236}">
                <a16:creationId xmlns:a16="http://schemas.microsoft.com/office/drawing/2014/main" id="{B1949CF8-C990-E32E-1609-C30B944CF110}"/>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158190" y="1550461"/>
            <a:ext cx="1029582" cy="865525"/>
          </a:xfrm>
          <a:prstGeom prst="rect">
            <a:avLst/>
          </a:prstGeom>
        </p:spPr>
      </p:pic>
      <p:sp>
        <p:nvSpPr>
          <p:cNvPr id="22" name="Oval 21">
            <a:extLst>
              <a:ext uri="{FF2B5EF4-FFF2-40B4-BE49-F238E27FC236}">
                <a16:creationId xmlns:a16="http://schemas.microsoft.com/office/drawing/2014/main" id="{5F415DDB-985F-8CD3-8AB9-CBCE6F091E83}"/>
              </a:ext>
            </a:extLst>
          </p:cNvPr>
          <p:cNvSpPr/>
          <p:nvPr/>
        </p:nvSpPr>
        <p:spPr>
          <a:xfrm>
            <a:off x="6742944" y="1369003"/>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26" name="Graphic 25">
            <a:extLst>
              <a:ext uri="{FF2B5EF4-FFF2-40B4-BE49-F238E27FC236}">
                <a16:creationId xmlns:a16="http://schemas.microsoft.com/office/drawing/2014/main" id="{D8B055B7-B644-8B67-01BC-CA6064A329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64589" y="1606522"/>
            <a:ext cx="759455" cy="759455"/>
          </a:xfrm>
          <a:prstGeom prst="rect">
            <a:avLst/>
          </a:prstGeom>
        </p:spPr>
      </p:pic>
      <p:sp>
        <p:nvSpPr>
          <p:cNvPr id="2" name="Footer Placeholder 1">
            <a:extLst>
              <a:ext uri="{FF2B5EF4-FFF2-40B4-BE49-F238E27FC236}">
                <a16:creationId xmlns:a16="http://schemas.microsoft.com/office/drawing/2014/main" id="{1F0DE6D4-6FE0-9C2D-FCBB-206CAEE98DD5}"/>
              </a:ext>
            </a:extLst>
          </p:cNvPr>
          <p:cNvSpPr>
            <a:spLocks noGrp="1"/>
          </p:cNvSpPr>
          <p:nvPr>
            <p:ph type="ftr" sz="quarter" idx="11"/>
          </p:nvPr>
        </p:nvSpPr>
        <p:spPr>
          <a:xfrm>
            <a:off x="420573" y="4827355"/>
            <a:ext cx="7525118" cy="134999"/>
          </a:xfrm>
        </p:spPr>
        <p:txBody>
          <a:bodyPr/>
          <a:lstStyle/>
          <a:p>
            <a:r>
              <a:rPr lang="en-US" sz="500" dirty="0"/>
              <a:t>EMA, European Medicines Agency; FDA, Food and Drug Administration.</a:t>
            </a:r>
          </a:p>
          <a:p>
            <a:r>
              <a:rPr lang="en-US" sz="500" dirty="0"/>
              <a:t>1. </a:t>
            </a:r>
            <a:r>
              <a:rPr lang="en-US" sz="500" dirty="0" err="1"/>
              <a:t>Skingle</a:t>
            </a:r>
            <a:r>
              <a:rPr lang="en-US" sz="500" dirty="0"/>
              <a:t> D. </a:t>
            </a:r>
            <a:r>
              <a:rPr lang="en-US" sz="500" i="1" dirty="0"/>
              <a:t>RMD Open </a:t>
            </a:r>
            <a:r>
              <a:rPr lang="en-US" sz="500" dirty="0"/>
              <a:t>2015;1(1):e000141; 2. EMA and EC. Biosimilars in the EU. 2019. Available at: https://www.ema.europa.eu/en/documents/leaflet/biosimilars-eu-information-guide-healthcare-professionals_en.pdf. </a:t>
            </a:r>
            <a:br>
              <a:rPr lang="en-US" sz="500" dirty="0"/>
            </a:br>
            <a:r>
              <a:rPr lang="en-US" sz="500" dirty="0"/>
              <a:t>Accessed August 2023; 3. US FDA. Biological product definition. Available at: https://www.fda.gov/files/drugs/published/Biological-Product-Definitions.pdf. Accessed June 2024; 4. US FDA. Overview of Biosimilar Products. Available at: https://www.fda.gov/media/151058/download. Accessed June 2024; 5. US FDA Biosimilar Development Process Available at: https://www.fda.gov/files/drugs/published/Biosimilar-Development-Process.pdf. Accessed June 2024</a:t>
            </a:r>
          </a:p>
        </p:txBody>
      </p:sp>
      <p:pic>
        <p:nvPicPr>
          <p:cNvPr id="3" name="Graphic 2">
            <a:extLst>
              <a:ext uri="{FF2B5EF4-FFF2-40B4-BE49-F238E27FC236}">
                <a16:creationId xmlns:a16="http://schemas.microsoft.com/office/drawing/2014/main" id="{B8B65265-309F-F947-7551-96F7E1DC1C9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14109" y="1244876"/>
            <a:ext cx="1450997" cy="1450997"/>
          </a:xfrm>
          <a:prstGeom prst="rect">
            <a:avLst/>
          </a:prstGeom>
        </p:spPr>
      </p:pic>
    </p:spTree>
    <p:extLst>
      <p:ext uri="{BB962C8B-B14F-4D97-AF65-F5344CB8AC3E}">
        <p14:creationId xmlns:p14="http://schemas.microsoft.com/office/powerpoint/2010/main" val="1567353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4A3A8-FF99-68B9-2FB2-B825F846E07A}"/>
              </a:ext>
            </a:extLst>
          </p:cNvPr>
          <p:cNvSpPr>
            <a:spLocks noGrp="1"/>
          </p:cNvSpPr>
          <p:nvPr>
            <p:ph type="ctrTitle"/>
          </p:nvPr>
        </p:nvSpPr>
        <p:spPr>
          <a:xfrm>
            <a:off x="6096000" y="1401510"/>
            <a:ext cx="2808685" cy="2697813"/>
          </a:xfrm>
        </p:spPr>
        <p:txBody>
          <a:bodyPr/>
          <a:lstStyle/>
          <a:p>
            <a:r>
              <a:rPr lang="en-US"/>
              <a:t>Biosimilar medicines: </a:t>
            </a:r>
            <a:br>
              <a:rPr lang="en-US"/>
            </a:br>
            <a:r>
              <a:rPr lang="en-US"/>
              <a:t>How long have they been around and why are they used?</a:t>
            </a:r>
          </a:p>
        </p:txBody>
      </p:sp>
    </p:spTree>
    <p:extLst>
      <p:ext uri="{BB962C8B-B14F-4D97-AF65-F5344CB8AC3E}">
        <p14:creationId xmlns:p14="http://schemas.microsoft.com/office/powerpoint/2010/main" val="4148027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775137B7-077A-3A59-6A85-F5F18A234C6C}"/>
              </a:ext>
            </a:extLst>
          </p:cNvPr>
          <p:cNvGrpSpPr/>
          <p:nvPr/>
        </p:nvGrpSpPr>
        <p:grpSpPr>
          <a:xfrm>
            <a:off x="220411" y="763775"/>
            <a:ext cx="8450584" cy="3392123"/>
            <a:chOff x="220411" y="806303"/>
            <a:chExt cx="8450584" cy="3392123"/>
          </a:xfrm>
        </p:grpSpPr>
        <p:sp>
          <p:nvSpPr>
            <p:cNvPr id="29" name="Rectangle 28">
              <a:extLst>
                <a:ext uri="{FF2B5EF4-FFF2-40B4-BE49-F238E27FC236}">
                  <a16:creationId xmlns:a16="http://schemas.microsoft.com/office/drawing/2014/main" id="{6F124183-F930-4037-D37D-D4B99E06D856}"/>
                </a:ext>
              </a:extLst>
            </p:cNvPr>
            <p:cNvSpPr/>
            <p:nvPr/>
          </p:nvSpPr>
          <p:spPr>
            <a:xfrm>
              <a:off x="557976" y="1471017"/>
              <a:ext cx="8113019" cy="246886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3" name="Oval 32">
              <a:extLst>
                <a:ext uri="{FF2B5EF4-FFF2-40B4-BE49-F238E27FC236}">
                  <a16:creationId xmlns:a16="http://schemas.microsoft.com/office/drawing/2014/main" id="{28499B2E-C2FA-5F6D-72A1-8461EB016A26}"/>
                </a:ext>
              </a:extLst>
            </p:cNvPr>
            <p:cNvSpPr/>
            <p:nvPr/>
          </p:nvSpPr>
          <p:spPr>
            <a:xfrm rot="21425074">
              <a:off x="1348349" y="806303"/>
              <a:ext cx="2561963" cy="13165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1" name="Oval 30">
              <a:extLst>
                <a:ext uri="{FF2B5EF4-FFF2-40B4-BE49-F238E27FC236}">
                  <a16:creationId xmlns:a16="http://schemas.microsoft.com/office/drawing/2014/main" id="{CEF8B7EC-C437-5297-E82D-9120FA1B22B9}"/>
                </a:ext>
              </a:extLst>
            </p:cNvPr>
            <p:cNvSpPr/>
            <p:nvPr/>
          </p:nvSpPr>
          <p:spPr>
            <a:xfrm rot="20267342">
              <a:off x="1142321" y="1221467"/>
              <a:ext cx="6698622" cy="216231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2" name="Rectangle 31">
              <a:extLst>
                <a:ext uri="{FF2B5EF4-FFF2-40B4-BE49-F238E27FC236}">
                  <a16:creationId xmlns:a16="http://schemas.microsoft.com/office/drawing/2014/main" id="{443450C9-6C83-52D9-D58F-0C46834E56A1}"/>
                </a:ext>
              </a:extLst>
            </p:cNvPr>
            <p:cNvSpPr/>
            <p:nvPr/>
          </p:nvSpPr>
          <p:spPr>
            <a:xfrm>
              <a:off x="220411" y="853065"/>
              <a:ext cx="1848526" cy="33453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grpSp>
      <p:sp>
        <p:nvSpPr>
          <p:cNvPr id="2" name="Title 1">
            <a:extLst>
              <a:ext uri="{FF2B5EF4-FFF2-40B4-BE49-F238E27FC236}">
                <a16:creationId xmlns:a16="http://schemas.microsoft.com/office/drawing/2014/main" id="{CE718029-3264-8303-556B-850F87F83A35}"/>
              </a:ext>
            </a:extLst>
          </p:cNvPr>
          <p:cNvSpPr>
            <a:spLocks noGrp="1"/>
          </p:cNvSpPr>
          <p:nvPr>
            <p:ph type="title"/>
          </p:nvPr>
        </p:nvSpPr>
        <p:spPr/>
        <p:txBody>
          <a:bodyPr>
            <a:normAutofit/>
          </a:bodyPr>
          <a:lstStyle/>
          <a:p>
            <a:r>
              <a:rPr lang="en-US" dirty="0"/>
              <a:t>A brief history of biosimilar medicine approvals worldwide</a:t>
            </a:r>
          </a:p>
        </p:txBody>
      </p:sp>
      <p:sp>
        <p:nvSpPr>
          <p:cNvPr id="9" name="TextBox 8">
            <a:extLst>
              <a:ext uri="{FF2B5EF4-FFF2-40B4-BE49-F238E27FC236}">
                <a16:creationId xmlns:a16="http://schemas.microsoft.com/office/drawing/2014/main" id="{E5117383-D06C-17A6-DA8F-A8D2BBAB2020}"/>
              </a:ext>
            </a:extLst>
          </p:cNvPr>
          <p:cNvSpPr txBox="1"/>
          <p:nvPr/>
        </p:nvSpPr>
        <p:spPr>
          <a:xfrm>
            <a:off x="439927" y="3898756"/>
            <a:ext cx="793448" cy="261610"/>
          </a:xfrm>
          <a:prstGeom prst="rect">
            <a:avLst/>
          </a:prstGeom>
          <a:noFill/>
        </p:spPr>
        <p:txBody>
          <a:bodyPr wrap="square" rtlCol="0">
            <a:spAutoFit/>
          </a:bodyPr>
          <a:lstStyle/>
          <a:p>
            <a:pPr algn="ctr"/>
            <a:r>
              <a:rPr lang="en-US" sz="1100" b="1">
                <a:solidFill>
                  <a:schemeClr val="tx2"/>
                </a:solidFill>
              </a:rPr>
              <a:t>2006</a:t>
            </a:r>
            <a:endParaRPr lang="en-GB" sz="1100" b="1">
              <a:solidFill>
                <a:schemeClr val="tx2"/>
              </a:solidFill>
            </a:endParaRPr>
          </a:p>
        </p:txBody>
      </p:sp>
      <p:sp>
        <p:nvSpPr>
          <p:cNvPr id="10" name="TextBox 9">
            <a:extLst>
              <a:ext uri="{FF2B5EF4-FFF2-40B4-BE49-F238E27FC236}">
                <a16:creationId xmlns:a16="http://schemas.microsoft.com/office/drawing/2014/main" id="{5CAED817-8415-9929-96AE-18272B9D7E97}"/>
              </a:ext>
            </a:extLst>
          </p:cNvPr>
          <p:cNvSpPr txBox="1"/>
          <p:nvPr/>
        </p:nvSpPr>
        <p:spPr>
          <a:xfrm>
            <a:off x="1678683" y="3898756"/>
            <a:ext cx="793448" cy="261610"/>
          </a:xfrm>
          <a:prstGeom prst="rect">
            <a:avLst/>
          </a:prstGeom>
          <a:noFill/>
        </p:spPr>
        <p:txBody>
          <a:bodyPr wrap="square" rtlCol="0">
            <a:spAutoFit/>
          </a:bodyPr>
          <a:lstStyle/>
          <a:p>
            <a:pPr algn="ctr"/>
            <a:r>
              <a:rPr lang="en-US" sz="1100" b="1">
                <a:solidFill>
                  <a:schemeClr val="tx2"/>
                </a:solidFill>
              </a:rPr>
              <a:t>2009</a:t>
            </a:r>
            <a:endParaRPr lang="en-GB" sz="1100" b="1">
              <a:solidFill>
                <a:schemeClr val="tx2"/>
              </a:solidFill>
            </a:endParaRPr>
          </a:p>
        </p:txBody>
      </p:sp>
      <p:sp>
        <p:nvSpPr>
          <p:cNvPr id="11" name="TextBox 10">
            <a:extLst>
              <a:ext uri="{FF2B5EF4-FFF2-40B4-BE49-F238E27FC236}">
                <a16:creationId xmlns:a16="http://schemas.microsoft.com/office/drawing/2014/main" id="{A4C143A4-FEE8-D27A-1075-D297809CDCB6}"/>
              </a:ext>
            </a:extLst>
          </p:cNvPr>
          <p:cNvSpPr txBox="1"/>
          <p:nvPr/>
        </p:nvSpPr>
        <p:spPr>
          <a:xfrm>
            <a:off x="2917439" y="3898756"/>
            <a:ext cx="793448" cy="261610"/>
          </a:xfrm>
          <a:prstGeom prst="rect">
            <a:avLst/>
          </a:prstGeom>
          <a:noFill/>
        </p:spPr>
        <p:txBody>
          <a:bodyPr wrap="square" rtlCol="0">
            <a:spAutoFit/>
          </a:bodyPr>
          <a:lstStyle/>
          <a:p>
            <a:pPr algn="ctr"/>
            <a:r>
              <a:rPr lang="en-US" sz="1100" b="1">
                <a:solidFill>
                  <a:schemeClr val="tx2"/>
                </a:solidFill>
              </a:rPr>
              <a:t>2015</a:t>
            </a:r>
            <a:endParaRPr lang="en-GB" sz="1100" b="1">
              <a:solidFill>
                <a:schemeClr val="tx2"/>
              </a:solidFill>
            </a:endParaRPr>
          </a:p>
        </p:txBody>
      </p:sp>
      <p:sp>
        <p:nvSpPr>
          <p:cNvPr id="12" name="TextBox 11">
            <a:extLst>
              <a:ext uri="{FF2B5EF4-FFF2-40B4-BE49-F238E27FC236}">
                <a16:creationId xmlns:a16="http://schemas.microsoft.com/office/drawing/2014/main" id="{21292010-5263-6CCF-398E-E4D143D0D450}"/>
              </a:ext>
            </a:extLst>
          </p:cNvPr>
          <p:cNvSpPr txBox="1"/>
          <p:nvPr/>
        </p:nvSpPr>
        <p:spPr>
          <a:xfrm>
            <a:off x="4156195" y="3898756"/>
            <a:ext cx="793448" cy="261610"/>
          </a:xfrm>
          <a:prstGeom prst="rect">
            <a:avLst/>
          </a:prstGeom>
          <a:noFill/>
        </p:spPr>
        <p:txBody>
          <a:bodyPr wrap="square" rtlCol="0">
            <a:spAutoFit/>
          </a:bodyPr>
          <a:lstStyle/>
          <a:p>
            <a:pPr algn="ctr"/>
            <a:r>
              <a:rPr lang="en-US" sz="1100" b="1">
                <a:solidFill>
                  <a:schemeClr val="tx2"/>
                </a:solidFill>
              </a:rPr>
              <a:t>2019</a:t>
            </a:r>
            <a:endParaRPr lang="en-GB" sz="1100" b="1">
              <a:solidFill>
                <a:schemeClr val="tx2"/>
              </a:solidFill>
            </a:endParaRPr>
          </a:p>
        </p:txBody>
      </p:sp>
      <p:sp>
        <p:nvSpPr>
          <p:cNvPr id="13" name="TextBox 12">
            <a:extLst>
              <a:ext uri="{FF2B5EF4-FFF2-40B4-BE49-F238E27FC236}">
                <a16:creationId xmlns:a16="http://schemas.microsoft.com/office/drawing/2014/main" id="{0DF90B19-17BF-D5DE-CCB1-8493DE52C653}"/>
              </a:ext>
            </a:extLst>
          </p:cNvPr>
          <p:cNvSpPr txBox="1"/>
          <p:nvPr/>
        </p:nvSpPr>
        <p:spPr>
          <a:xfrm>
            <a:off x="5394951" y="3898756"/>
            <a:ext cx="793448" cy="261610"/>
          </a:xfrm>
          <a:prstGeom prst="rect">
            <a:avLst/>
          </a:prstGeom>
          <a:noFill/>
        </p:spPr>
        <p:txBody>
          <a:bodyPr wrap="square" rtlCol="0">
            <a:spAutoFit/>
          </a:bodyPr>
          <a:lstStyle/>
          <a:p>
            <a:pPr algn="ctr"/>
            <a:r>
              <a:rPr lang="en-US" sz="1100" b="1">
                <a:solidFill>
                  <a:schemeClr val="tx2"/>
                </a:solidFill>
              </a:rPr>
              <a:t>2021</a:t>
            </a:r>
            <a:endParaRPr lang="en-GB" sz="1100" b="1">
              <a:solidFill>
                <a:schemeClr val="tx2"/>
              </a:solidFill>
            </a:endParaRPr>
          </a:p>
        </p:txBody>
      </p:sp>
      <p:sp>
        <p:nvSpPr>
          <p:cNvPr id="14" name="TextBox 13">
            <a:extLst>
              <a:ext uri="{FF2B5EF4-FFF2-40B4-BE49-F238E27FC236}">
                <a16:creationId xmlns:a16="http://schemas.microsoft.com/office/drawing/2014/main" id="{34C20AA0-F2C2-5AA6-22B6-27720F062029}"/>
              </a:ext>
            </a:extLst>
          </p:cNvPr>
          <p:cNvSpPr txBox="1"/>
          <p:nvPr/>
        </p:nvSpPr>
        <p:spPr>
          <a:xfrm>
            <a:off x="6633707" y="3898756"/>
            <a:ext cx="793448" cy="261610"/>
          </a:xfrm>
          <a:prstGeom prst="rect">
            <a:avLst/>
          </a:prstGeom>
          <a:noFill/>
        </p:spPr>
        <p:txBody>
          <a:bodyPr wrap="square" rtlCol="0">
            <a:spAutoFit/>
          </a:bodyPr>
          <a:lstStyle/>
          <a:p>
            <a:pPr algn="ctr"/>
            <a:r>
              <a:rPr lang="en-US" sz="1100" b="1">
                <a:solidFill>
                  <a:schemeClr val="tx2"/>
                </a:solidFill>
              </a:rPr>
              <a:t>2022</a:t>
            </a:r>
            <a:endParaRPr lang="en-GB" sz="1100" b="1">
              <a:solidFill>
                <a:schemeClr val="tx2"/>
              </a:solidFill>
            </a:endParaRPr>
          </a:p>
        </p:txBody>
      </p:sp>
      <p:sp>
        <p:nvSpPr>
          <p:cNvPr id="15" name="TextBox 14">
            <a:extLst>
              <a:ext uri="{FF2B5EF4-FFF2-40B4-BE49-F238E27FC236}">
                <a16:creationId xmlns:a16="http://schemas.microsoft.com/office/drawing/2014/main" id="{8C3F46FF-486B-09DD-7AE7-E61F67F4300F}"/>
              </a:ext>
            </a:extLst>
          </p:cNvPr>
          <p:cNvSpPr txBox="1"/>
          <p:nvPr/>
        </p:nvSpPr>
        <p:spPr>
          <a:xfrm>
            <a:off x="7872464" y="3898756"/>
            <a:ext cx="793448" cy="261610"/>
          </a:xfrm>
          <a:prstGeom prst="rect">
            <a:avLst/>
          </a:prstGeom>
          <a:noFill/>
        </p:spPr>
        <p:txBody>
          <a:bodyPr wrap="square" rtlCol="0">
            <a:spAutoFit/>
          </a:bodyPr>
          <a:lstStyle/>
          <a:p>
            <a:pPr algn="ctr"/>
            <a:r>
              <a:rPr lang="en-US" sz="1100" b="1">
                <a:solidFill>
                  <a:schemeClr val="tx2"/>
                </a:solidFill>
              </a:rPr>
              <a:t>2023*</a:t>
            </a:r>
            <a:endParaRPr lang="en-GB" sz="1100" b="1">
              <a:solidFill>
                <a:schemeClr val="tx2"/>
              </a:solidFill>
            </a:endParaRPr>
          </a:p>
        </p:txBody>
      </p:sp>
      <p:sp>
        <p:nvSpPr>
          <p:cNvPr id="16" name="Oval 15">
            <a:extLst>
              <a:ext uri="{FF2B5EF4-FFF2-40B4-BE49-F238E27FC236}">
                <a16:creationId xmlns:a16="http://schemas.microsoft.com/office/drawing/2014/main" id="{011A00D0-3E48-79E7-917F-1067F870BBC5}"/>
              </a:ext>
            </a:extLst>
          </p:cNvPr>
          <p:cNvSpPr>
            <a:spLocks noChangeAspect="1"/>
          </p:cNvSpPr>
          <p:nvPr/>
        </p:nvSpPr>
        <p:spPr>
          <a:xfrm>
            <a:off x="340909"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First </a:t>
            </a:r>
            <a:r>
              <a:rPr lang="en-US" sz="900">
                <a:solidFill>
                  <a:schemeClr val="bg1"/>
                </a:solidFill>
              </a:rPr>
              <a:t>biosimilar approved </a:t>
            </a:r>
            <a:br>
              <a:rPr lang="en-US" sz="900">
                <a:solidFill>
                  <a:schemeClr val="bg1"/>
                </a:solidFill>
              </a:rPr>
            </a:br>
            <a:r>
              <a:rPr lang="en-US" sz="900">
                <a:solidFill>
                  <a:schemeClr val="bg1"/>
                </a:solidFill>
              </a:rPr>
              <a:t>by EMA</a:t>
            </a:r>
            <a:r>
              <a:rPr lang="en-US" sz="900" baseline="30000">
                <a:solidFill>
                  <a:schemeClr val="bg1"/>
                </a:solidFill>
              </a:rPr>
              <a:t>1</a:t>
            </a:r>
            <a:endParaRPr lang="en-GB" sz="1200">
              <a:solidFill>
                <a:schemeClr val="bg1"/>
              </a:solidFill>
            </a:endParaRPr>
          </a:p>
        </p:txBody>
      </p:sp>
      <p:sp>
        <p:nvSpPr>
          <p:cNvPr id="17" name="Oval 16">
            <a:extLst>
              <a:ext uri="{FF2B5EF4-FFF2-40B4-BE49-F238E27FC236}">
                <a16:creationId xmlns:a16="http://schemas.microsoft.com/office/drawing/2014/main" id="{6869F65F-EF15-C8EF-6BA3-0DCB6E524A37}"/>
              </a:ext>
            </a:extLst>
          </p:cNvPr>
          <p:cNvSpPr>
            <a:spLocks noChangeAspect="1"/>
          </p:cNvSpPr>
          <p:nvPr/>
        </p:nvSpPr>
        <p:spPr>
          <a:xfrm>
            <a:off x="1602165"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First </a:t>
            </a:r>
            <a:r>
              <a:rPr lang="en-US" sz="900">
                <a:solidFill>
                  <a:schemeClr val="bg1"/>
                </a:solidFill>
              </a:rPr>
              <a:t>biosimilar approved by Japan PMDA</a:t>
            </a:r>
            <a:r>
              <a:rPr lang="en-US" sz="900" baseline="30000">
                <a:solidFill>
                  <a:schemeClr val="bg1"/>
                </a:solidFill>
              </a:rPr>
              <a:t>3</a:t>
            </a:r>
            <a:endParaRPr lang="en-GB" sz="1200">
              <a:solidFill>
                <a:schemeClr val="bg1"/>
              </a:solidFill>
            </a:endParaRPr>
          </a:p>
        </p:txBody>
      </p:sp>
      <p:sp>
        <p:nvSpPr>
          <p:cNvPr id="18" name="Oval 17">
            <a:extLst>
              <a:ext uri="{FF2B5EF4-FFF2-40B4-BE49-F238E27FC236}">
                <a16:creationId xmlns:a16="http://schemas.microsoft.com/office/drawing/2014/main" id="{7B401CC7-3229-F212-2354-5E5D940CECE7}"/>
              </a:ext>
            </a:extLst>
          </p:cNvPr>
          <p:cNvSpPr>
            <a:spLocks noChangeAspect="1"/>
          </p:cNvSpPr>
          <p:nvPr/>
        </p:nvSpPr>
        <p:spPr>
          <a:xfrm>
            <a:off x="2839177"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First </a:t>
            </a:r>
            <a:r>
              <a:rPr lang="en-US" sz="900">
                <a:solidFill>
                  <a:schemeClr val="bg1"/>
                </a:solidFill>
              </a:rPr>
              <a:t>biosimilar approved by US FDA</a:t>
            </a:r>
            <a:r>
              <a:rPr lang="en-US" sz="900" baseline="30000">
                <a:solidFill>
                  <a:schemeClr val="bg1"/>
                </a:solidFill>
              </a:rPr>
              <a:t>1</a:t>
            </a:r>
            <a:endParaRPr lang="en-GB" sz="1200">
              <a:solidFill>
                <a:schemeClr val="bg1"/>
              </a:solidFill>
            </a:endParaRPr>
          </a:p>
        </p:txBody>
      </p:sp>
      <p:sp>
        <p:nvSpPr>
          <p:cNvPr id="19" name="Oval 18">
            <a:extLst>
              <a:ext uri="{FF2B5EF4-FFF2-40B4-BE49-F238E27FC236}">
                <a16:creationId xmlns:a16="http://schemas.microsoft.com/office/drawing/2014/main" id="{A5C62FA8-F8D2-0DE0-61E1-8C54C84E6B36}"/>
              </a:ext>
            </a:extLst>
          </p:cNvPr>
          <p:cNvSpPr>
            <a:spLocks noChangeAspect="1"/>
          </p:cNvSpPr>
          <p:nvPr/>
        </p:nvSpPr>
        <p:spPr>
          <a:xfrm>
            <a:off x="4036428" y="2086566"/>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16 </a:t>
            </a:r>
            <a:r>
              <a:rPr lang="en-US" sz="900">
                <a:solidFill>
                  <a:schemeClr val="bg1"/>
                </a:solidFill>
              </a:rPr>
              <a:t>biosimilars approved by US FDA</a:t>
            </a:r>
            <a:r>
              <a:rPr lang="en-US" sz="900" baseline="30000">
                <a:solidFill>
                  <a:schemeClr val="bg1"/>
                </a:solidFill>
              </a:rPr>
              <a:t>1</a:t>
            </a:r>
            <a:endParaRPr lang="en-GB" sz="1200">
              <a:solidFill>
                <a:schemeClr val="bg1"/>
              </a:solidFill>
            </a:endParaRPr>
          </a:p>
        </p:txBody>
      </p:sp>
      <p:sp>
        <p:nvSpPr>
          <p:cNvPr id="21" name="Oval 20">
            <a:extLst>
              <a:ext uri="{FF2B5EF4-FFF2-40B4-BE49-F238E27FC236}">
                <a16:creationId xmlns:a16="http://schemas.microsoft.com/office/drawing/2014/main" id="{768FA024-7DD6-9ACE-1515-504C9DDE1C6C}"/>
              </a:ext>
            </a:extLst>
          </p:cNvPr>
          <p:cNvSpPr>
            <a:spLocks noChangeAspect="1"/>
          </p:cNvSpPr>
          <p:nvPr/>
        </p:nvSpPr>
        <p:spPr>
          <a:xfrm>
            <a:off x="4085249" y="104671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55 </a:t>
            </a:r>
            <a:r>
              <a:rPr lang="en-US" sz="900">
                <a:solidFill>
                  <a:schemeClr val="bg1"/>
                </a:solidFill>
              </a:rPr>
              <a:t>biosimilars approved </a:t>
            </a:r>
            <a:br>
              <a:rPr lang="en-US" sz="900">
                <a:solidFill>
                  <a:schemeClr val="bg1"/>
                </a:solidFill>
              </a:rPr>
            </a:br>
            <a:r>
              <a:rPr lang="en-US" sz="900">
                <a:solidFill>
                  <a:schemeClr val="bg1"/>
                </a:solidFill>
              </a:rPr>
              <a:t>by EMA</a:t>
            </a:r>
            <a:r>
              <a:rPr lang="en-US" sz="900" baseline="30000">
                <a:solidFill>
                  <a:schemeClr val="bg1"/>
                </a:solidFill>
              </a:rPr>
              <a:t>1</a:t>
            </a:r>
            <a:endParaRPr lang="en-GB" sz="1200">
              <a:solidFill>
                <a:schemeClr val="bg1"/>
              </a:solidFill>
            </a:endParaRPr>
          </a:p>
        </p:txBody>
      </p:sp>
      <p:sp>
        <p:nvSpPr>
          <p:cNvPr id="22" name="Oval 21">
            <a:extLst>
              <a:ext uri="{FF2B5EF4-FFF2-40B4-BE49-F238E27FC236}">
                <a16:creationId xmlns:a16="http://schemas.microsoft.com/office/drawing/2014/main" id="{95570277-DCD2-01D6-F747-8BA1F001F354}"/>
              </a:ext>
            </a:extLst>
          </p:cNvPr>
          <p:cNvSpPr>
            <a:spLocks noChangeAspect="1"/>
          </p:cNvSpPr>
          <p:nvPr/>
        </p:nvSpPr>
        <p:spPr>
          <a:xfrm>
            <a:off x="6332257" y="2086566"/>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40</a:t>
            </a:r>
            <a:r>
              <a:rPr lang="en-US" sz="1600" b="1">
                <a:solidFill>
                  <a:schemeClr val="bg1"/>
                </a:solidFill>
              </a:rPr>
              <a:t> </a:t>
            </a:r>
            <a:r>
              <a:rPr lang="en-US" sz="900">
                <a:solidFill>
                  <a:schemeClr val="bg1"/>
                </a:solidFill>
              </a:rPr>
              <a:t>biosimilars approved by US FDA</a:t>
            </a:r>
            <a:r>
              <a:rPr lang="en-US" sz="900" baseline="30000">
                <a:solidFill>
                  <a:schemeClr val="bg1"/>
                </a:solidFill>
              </a:rPr>
              <a:t>7</a:t>
            </a:r>
            <a:endParaRPr lang="en-GB" sz="1200">
              <a:solidFill>
                <a:schemeClr val="bg1"/>
              </a:solidFill>
            </a:endParaRPr>
          </a:p>
        </p:txBody>
      </p:sp>
      <p:sp>
        <p:nvSpPr>
          <p:cNvPr id="25" name="Oval 24">
            <a:extLst>
              <a:ext uri="{FF2B5EF4-FFF2-40B4-BE49-F238E27FC236}">
                <a16:creationId xmlns:a16="http://schemas.microsoft.com/office/drawing/2014/main" id="{5F1BF84E-687E-7B4B-771A-ECE660AB89A8}"/>
              </a:ext>
            </a:extLst>
          </p:cNvPr>
          <p:cNvSpPr>
            <a:spLocks noChangeAspect="1"/>
          </p:cNvSpPr>
          <p:nvPr/>
        </p:nvSpPr>
        <p:spPr>
          <a:xfrm>
            <a:off x="7619159" y="2086566"/>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45 </a:t>
            </a:r>
            <a:r>
              <a:rPr lang="en-US" sz="900">
                <a:solidFill>
                  <a:schemeClr val="bg1"/>
                </a:solidFill>
              </a:rPr>
              <a:t>biosimilars approved by US FDA</a:t>
            </a:r>
            <a:r>
              <a:rPr lang="en-US" sz="900" baseline="30000">
                <a:solidFill>
                  <a:schemeClr val="bg1"/>
                </a:solidFill>
              </a:rPr>
              <a:t>7</a:t>
            </a:r>
            <a:endParaRPr lang="en-GB" sz="1200">
              <a:solidFill>
                <a:schemeClr val="bg1"/>
              </a:solidFill>
            </a:endParaRPr>
          </a:p>
        </p:txBody>
      </p:sp>
      <p:sp>
        <p:nvSpPr>
          <p:cNvPr id="20" name="Oval 19">
            <a:extLst>
              <a:ext uri="{FF2B5EF4-FFF2-40B4-BE49-F238E27FC236}">
                <a16:creationId xmlns:a16="http://schemas.microsoft.com/office/drawing/2014/main" id="{E5FF24CA-8EEF-80BB-5EEB-88E7B942C661}"/>
              </a:ext>
            </a:extLst>
          </p:cNvPr>
          <p:cNvSpPr>
            <a:spLocks noChangeAspect="1"/>
          </p:cNvSpPr>
          <p:nvPr/>
        </p:nvSpPr>
        <p:spPr>
          <a:xfrm>
            <a:off x="4861521" y="1596557"/>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22</a:t>
            </a:r>
            <a:r>
              <a:rPr lang="en-US" sz="1200">
                <a:solidFill>
                  <a:schemeClr val="bg1"/>
                </a:solidFill>
              </a:rPr>
              <a:t> </a:t>
            </a:r>
            <a:r>
              <a:rPr lang="en-US" sz="900">
                <a:solidFill>
                  <a:schemeClr val="bg1"/>
                </a:solidFill>
              </a:rPr>
              <a:t>biosimilars approved by Japan’s PMDA</a:t>
            </a:r>
            <a:r>
              <a:rPr lang="en-US" sz="900" baseline="30000">
                <a:solidFill>
                  <a:schemeClr val="bg1"/>
                </a:solidFill>
              </a:rPr>
              <a:t>5</a:t>
            </a:r>
            <a:endParaRPr lang="en-GB" sz="1200">
              <a:solidFill>
                <a:schemeClr val="bg1"/>
              </a:solidFill>
            </a:endParaRPr>
          </a:p>
        </p:txBody>
      </p:sp>
      <p:sp>
        <p:nvSpPr>
          <p:cNvPr id="26" name="TextBox 25">
            <a:extLst>
              <a:ext uri="{FF2B5EF4-FFF2-40B4-BE49-F238E27FC236}">
                <a16:creationId xmlns:a16="http://schemas.microsoft.com/office/drawing/2014/main" id="{A928690D-1763-A4C8-83AE-68D87456BE2F}"/>
              </a:ext>
            </a:extLst>
          </p:cNvPr>
          <p:cNvSpPr txBox="1"/>
          <p:nvPr/>
        </p:nvSpPr>
        <p:spPr>
          <a:xfrm>
            <a:off x="62382" y="2547494"/>
            <a:ext cx="1461871" cy="877163"/>
          </a:xfrm>
          <a:prstGeom prst="rect">
            <a:avLst/>
          </a:prstGeom>
          <a:noFill/>
        </p:spPr>
        <p:txBody>
          <a:bodyPr wrap="square" rtlCol="0">
            <a:spAutoFit/>
          </a:bodyPr>
          <a:lstStyle/>
          <a:p>
            <a:pPr algn="ctr"/>
            <a:r>
              <a:rPr lang="en-US" sz="900" b="1" dirty="0">
                <a:solidFill>
                  <a:srgbClr val="000000"/>
                </a:solidFill>
              </a:rPr>
              <a:t>Brand:</a:t>
            </a:r>
            <a:r>
              <a:rPr lang="en-US" sz="900" dirty="0">
                <a:solidFill>
                  <a:srgbClr val="000000"/>
                </a:solidFill>
              </a:rPr>
              <a:t> </a:t>
            </a:r>
            <a:r>
              <a:rPr lang="en-US" sz="800" dirty="0" err="1">
                <a:solidFill>
                  <a:srgbClr val="000000"/>
                </a:solidFill>
              </a:rPr>
              <a:t>Omnitrope</a:t>
            </a:r>
            <a:r>
              <a:rPr lang="en-US" sz="800" baseline="30000" dirty="0">
                <a:solidFill>
                  <a:srgbClr val="000000"/>
                </a:solidFill>
              </a:rPr>
              <a:t>®</a:t>
            </a:r>
            <a:r>
              <a:rPr lang="en-US" sz="800" dirty="0">
                <a:solidFill>
                  <a:srgbClr val="000000"/>
                </a:solidFill>
              </a:rPr>
              <a:t> (somatropin)</a:t>
            </a:r>
            <a:r>
              <a:rPr lang="en-US" sz="800" baseline="30000" dirty="0">
                <a:solidFill>
                  <a:srgbClr val="000000"/>
                </a:solidFill>
              </a:rPr>
              <a:t>2</a:t>
            </a:r>
            <a:endParaRPr lang="en-US" sz="800" dirty="0">
              <a:solidFill>
                <a:srgbClr val="000000"/>
              </a:solidFill>
            </a:endParaRPr>
          </a:p>
          <a:p>
            <a:pPr algn="ctr"/>
            <a:r>
              <a:rPr lang="en-US" sz="900" b="1" dirty="0">
                <a:solidFill>
                  <a:srgbClr val="000000"/>
                </a:solidFill>
              </a:rPr>
              <a:t>Company:</a:t>
            </a:r>
            <a:r>
              <a:rPr lang="en-US" sz="900" dirty="0">
                <a:solidFill>
                  <a:srgbClr val="000000"/>
                </a:solidFill>
              </a:rPr>
              <a:t> </a:t>
            </a:r>
            <a:r>
              <a:rPr lang="en-US" sz="800" dirty="0">
                <a:solidFill>
                  <a:srgbClr val="000000"/>
                </a:solidFill>
              </a:rPr>
              <a:t>Sandoz</a:t>
            </a:r>
            <a:r>
              <a:rPr lang="en-US" sz="800" baseline="30000" dirty="0">
                <a:solidFill>
                  <a:srgbClr val="000000"/>
                </a:solidFill>
              </a:rPr>
              <a:t>2</a:t>
            </a:r>
            <a:endParaRPr lang="en-US" sz="900" dirty="0">
              <a:solidFill>
                <a:srgbClr val="000000"/>
              </a:solidFill>
            </a:endParaRPr>
          </a:p>
          <a:p>
            <a:pPr algn="ctr"/>
            <a:r>
              <a:rPr lang="en-US" sz="900" b="1" dirty="0">
                <a:solidFill>
                  <a:srgbClr val="000000"/>
                </a:solidFill>
              </a:rPr>
              <a:t>Treatment area:</a:t>
            </a:r>
            <a:r>
              <a:rPr lang="en-US" sz="900" dirty="0">
                <a:solidFill>
                  <a:srgbClr val="000000"/>
                </a:solidFill>
              </a:rPr>
              <a:t> </a:t>
            </a:r>
          </a:p>
          <a:p>
            <a:pPr algn="ctr"/>
            <a:r>
              <a:rPr lang="en-US" sz="800" dirty="0">
                <a:solidFill>
                  <a:srgbClr val="000000"/>
                </a:solidFill>
              </a:rPr>
              <a:t>Growth hormone deficiency</a:t>
            </a:r>
            <a:r>
              <a:rPr lang="en-US" sz="800" baseline="30000" dirty="0">
                <a:solidFill>
                  <a:srgbClr val="000000"/>
                </a:solidFill>
              </a:rPr>
              <a:t>2</a:t>
            </a:r>
            <a:endParaRPr lang="en-GB" sz="900" dirty="0">
              <a:solidFill>
                <a:srgbClr val="000000"/>
              </a:solidFill>
            </a:endParaRPr>
          </a:p>
        </p:txBody>
      </p:sp>
      <p:sp>
        <p:nvSpPr>
          <p:cNvPr id="27" name="TextBox 26">
            <a:extLst>
              <a:ext uri="{FF2B5EF4-FFF2-40B4-BE49-F238E27FC236}">
                <a16:creationId xmlns:a16="http://schemas.microsoft.com/office/drawing/2014/main" id="{1041CD0C-F801-CB37-530C-4EB4009C0E58}"/>
              </a:ext>
            </a:extLst>
          </p:cNvPr>
          <p:cNvSpPr txBox="1"/>
          <p:nvPr/>
        </p:nvSpPr>
        <p:spPr>
          <a:xfrm>
            <a:off x="1344471" y="2547493"/>
            <a:ext cx="1461871" cy="877163"/>
          </a:xfrm>
          <a:prstGeom prst="rect">
            <a:avLst/>
          </a:prstGeom>
          <a:noFill/>
        </p:spPr>
        <p:txBody>
          <a:bodyPr wrap="square" rtlCol="0">
            <a:spAutoFit/>
          </a:bodyPr>
          <a:lstStyle/>
          <a:p>
            <a:pPr algn="ctr"/>
            <a:r>
              <a:rPr lang="en-US" sz="900" b="1" dirty="0">
                <a:solidFill>
                  <a:srgbClr val="000000"/>
                </a:solidFill>
              </a:rPr>
              <a:t>Brand:</a:t>
            </a:r>
            <a:r>
              <a:rPr lang="en-US" sz="900" dirty="0">
                <a:solidFill>
                  <a:srgbClr val="000000"/>
                </a:solidFill>
              </a:rPr>
              <a:t> </a:t>
            </a:r>
            <a:r>
              <a:rPr lang="en-US" sz="800" dirty="0">
                <a:solidFill>
                  <a:srgbClr val="000000"/>
                </a:solidFill>
              </a:rPr>
              <a:t>Somatropin BS</a:t>
            </a:r>
            <a:r>
              <a:rPr lang="en-US" sz="800" baseline="30000" dirty="0">
                <a:solidFill>
                  <a:srgbClr val="000000"/>
                </a:solidFill>
              </a:rPr>
              <a:t>®</a:t>
            </a:r>
            <a:r>
              <a:rPr lang="en-US" sz="800" dirty="0">
                <a:solidFill>
                  <a:srgbClr val="000000"/>
                </a:solidFill>
              </a:rPr>
              <a:t> (somatropin)</a:t>
            </a:r>
            <a:r>
              <a:rPr lang="en-US" sz="800" baseline="30000" dirty="0">
                <a:solidFill>
                  <a:srgbClr val="000000"/>
                </a:solidFill>
              </a:rPr>
              <a:t>3</a:t>
            </a:r>
            <a:endParaRPr lang="en-US" sz="900" dirty="0">
              <a:solidFill>
                <a:srgbClr val="000000"/>
              </a:solidFill>
            </a:endParaRPr>
          </a:p>
          <a:p>
            <a:pPr algn="ctr"/>
            <a:r>
              <a:rPr lang="en-US" sz="900" b="1" dirty="0">
                <a:solidFill>
                  <a:srgbClr val="000000"/>
                </a:solidFill>
              </a:rPr>
              <a:t>Company:</a:t>
            </a:r>
            <a:r>
              <a:rPr lang="en-US" sz="900" dirty="0">
                <a:solidFill>
                  <a:srgbClr val="000000"/>
                </a:solidFill>
              </a:rPr>
              <a:t> </a:t>
            </a:r>
            <a:r>
              <a:rPr lang="en-US" sz="800" dirty="0">
                <a:solidFill>
                  <a:srgbClr val="000000"/>
                </a:solidFill>
              </a:rPr>
              <a:t>Sandoz</a:t>
            </a:r>
            <a:r>
              <a:rPr lang="en-US" sz="800" baseline="30000" dirty="0">
                <a:solidFill>
                  <a:srgbClr val="000000"/>
                </a:solidFill>
              </a:rPr>
              <a:t>3</a:t>
            </a:r>
            <a:endParaRPr lang="en-US" sz="900" dirty="0">
              <a:solidFill>
                <a:srgbClr val="000000"/>
              </a:solidFill>
            </a:endParaRPr>
          </a:p>
          <a:p>
            <a:pPr algn="ctr"/>
            <a:r>
              <a:rPr lang="en-US" sz="900" b="1" dirty="0">
                <a:solidFill>
                  <a:srgbClr val="000000"/>
                </a:solidFill>
              </a:rPr>
              <a:t>Treatment area:</a:t>
            </a:r>
            <a:r>
              <a:rPr lang="en-US" sz="900" dirty="0">
                <a:solidFill>
                  <a:srgbClr val="000000"/>
                </a:solidFill>
              </a:rPr>
              <a:t> </a:t>
            </a:r>
          </a:p>
          <a:p>
            <a:pPr algn="ctr"/>
            <a:r>
              <a:rPr lang="en-US" sz="800" dirty="0">
                <a:solidFill>
                  <a:srgbClr val="000000"/>
                </a:solidFill>
              </a:rPr>
              <a:t>Growth hormone deficiency</a:t>
            </a:r>
            <a:r>
              <a:rPr lang="en-US" sz="800" baseline="30000" dirty="0">
                <a:solidFill>
                  <a:srgbClr val="000000"/>
                </a:solidFill>
              </a:rPr>
              <a:t>3</a:t>
            </a:r>
            <a:endParaRPr lang="en-GB" sz="900" dirty="0">
              <a:solidFill>
                <a:srgbClr val="000000"/>
              </a:solidFill>
            </a:endParaRPr>
          </a:p>
        </p:txBody>
      </p:sp>
      <p:sp>
        <p:nvSpPr>
          <p:cNvPr id="28" name="TextBox 27">
            <a:extLst>
              <a:ext uri="{FF2B5EF4-FFF2-40B4-BE49-F238E27FC236}">
                <a16:creationId xmlns:a16="http://schemas.microsoft.com/office/drawing/2014/main" id="{200B47F8-131D-B25F-527C-76BD3F5D91E4}"/>
              </a:ext>
            </a:extLst>
          </p:cNvPr>
          <p:cNvSpPr txBox="1"/>
          <p:nvPr/>
        </p:nvSpPr>
        <p:spPr>
          <a:xfrm>
            <a:off x="2590621" y="2551633"/>
            <a:ext cx="1461871" cy="754053"/>
          </a:xfrm>
          <a:prstGeom prst="rect">
            <a:avLst/>
          </a:prstGeom>
          <a:noFill/>
        </p:spPr>
        <p:txBody>
          <a:bodyPr wrap="square" rtlCol="0">
            <a:spAutoFit/>
          </a:bodyPr>
          <a:lstStyle/>
          <a:p>
            <a:pPr algn="ctr"/>
            <a:r>
              <a:rPr lang="en-US" sz="900" b="1" dirty="0">
                <a:solidFill>
                  <a:srgbClr val="000000"/>
                </a:solidFill>
              </a:rPr>
              <a:t>Brand:</a:t>
            </a:r>
            <a:r>
              <a:rPr lang="en-US" sz="900" dirty="0">
                <a:solidFill>
                  <a:srgbClr val="000000"/>
                </a:solidFill>
              </a:rPr>
              <a:t> </a:t>
            </a:r>
            <a:r>
              <a:rPr lang="en-US" sz="800" dirty="0" err="1">
                <a:solidFill>
                  <a:srgbClr val="000000"/>
                </a:solidFill>
              </a:rPr>
              <a:t>Zarxio</a:t>
            </a:r>
            <a:r>
              <a:rPr lang="en-US" sz="800" baseline="30000" dirty="0">
                <a:solidFill>
                  <a:srgbClr val="000000"/>
                </a:solidFill>
              </a:rPr>
              <a:t>®</a:t>
            </a:r>
            <a:r>
              <a:rPr lang="en-US" sz="800" dirty="0">
                <a:solidFill>
                  <a:srgbClr val="000000"/>
                </a:solidFill>
              </a:rPr>
              <a:t> </a:t>
            </a:r>
          </a:p>
          <a:p>
            <a:pPr algn="ctr"/>
            <a:r>
              <a:rPr lang="en-US" sz="800" dirty="0">
                <a:solidFill>
                  <a:srgbClr val="000000"/>
                </a:solidFill>
              </a:rPr>
              <a:t>(filgrastim-</a:t>
            </a:r>
            <a:r>
              <a:rPr lang="en-US" sz="800" dirty="0" err="1">
                <a:solidFill>
                  <a:srgbClr val="000000"/>
                </a:solidFill>
              </a:rPr>
              <a:t>sndz</a:t>
            </a:r>
            <a:r>
              <a:rPr lang="en-US" sz="800" dirty="0">
                <a:solidFill>
                  <a:srgbClr val="000000"/>
                </a:solidFill>
              </a:rPr>
              <a:t>)</a:t>
            </a:r>
            <a:r>
              <a:rPr lang="en-US" sz="800" baseline="30000" dirty="0">
                <a:solidFill>
                  <a:srgbClr val="000000"/>
                </a:solidFill>
              </a:rPr>
              <a:t>4</a:t>
            </a:r>
            <a:endParaRPr lang="en-US" sz="900" dirty="0">
              <a:solidFill>
                <a:srgbClr val="000000"/>
              </a:solidFill>
            </a:endParaRPr>
          </a:p>
          <a:p>
            <a:pPr algn="ctr"/>
            <a:r>
              <a:rPr lang="en-US" sz="900" b="1" dirty="0">
                <a:solidFill>
                  <a:srgbClr val="000000"/>
                </a:solidFill>
              </a:rPr>
              <a:t>Company:</a:t>
            </a:r>
            <a:r>
              <a:rPr lang="en-US" sz="900" dirty="0">
                <a:solidFill>
                  <a:srgbClr val="000000"/>
                </a:solidFill>
              </a:rPr>
              <a:t> </a:t>
            </a:r>
            <a:r>
              <a:rPr lang="en-US" sz="800" dirty="0">
                <a:solidFill>
                  <a:srgbClr val="000000"/>
                </a:solidFill>
              </a:rPr>
              <a:t>Sandoz</a:t>
            </a:r>
            <a:r>
              <a:rPr lang="en-US" sz="800" baseline="30000" dirty="0">
                <a:solidFill>
                  <a:srgbClr val="000000"/>
                </a:solidFill>
              </a:rPr>
              <a:t>4</a:t>
            </a:r>
            <a:endParaRPr lang="en-US" sz="800" dirty="0">
              <a:solidFill>
                <a:srgbClr val="000000"/>
              </a:solidFill>
            </a:endParaRPr>
          </a:p>
          <a:p>
            <a:pPr algn="ctr"/>
            <a:r>
              <a:rPr lang="en-US" sz="900" b="1" dirty="0">
                <a:solidFill>
                  <a:srgbClr val="000000"/>
                </a:solidFill>
              </a:rPr>
              <a:t>Treatment area:</a:t>
            </a:r>
            <a:r>
              <a:rPr lang="en-US" sz="900" dirty="0">
                <a:solidFill>
                  <a:srgbClr val="000000"/>
                </a:solidFill>
              </a:rPr>
              <a:t> </a:t>
            </a:r>
            <a:r>
              <a:rPr lang="en-US" sz="800" dirty="0">
                <a:solidFill>
                  <a:srgbClr val="000000"/>
                </a:solidFill>
              </a:rPr>
              <a:t>Neutropenia</a:t>
            </a:r>
            <a:r>
              <a:rPr lang="en-US" sz="800" baseline="30000" dirty="0">
                <a:solidFill>
                  <a:srgbClr val="000000"/>
                </a:solidFill>
              </a:rPr>
              <a:t>4</a:t>
            </a:r>
            <a:endParaRPr lang="en-GB" sz="900" dirty="0">
              <a:solidFill>
                <a:srgbClr val="000000"/>
              </a:solidFill>
            </a:endParaRPr>
          </a:p>
        </p:txBody>
      </p:sp>
      <p:sp>
        <p:nvSpPr>
          <p:cNvPr id="23" name="Oval 22">
            <a:extLst>
              <a:ext uri="{FF2B5EF4-FFF2-40B4-BE49-F238E27FC236}">
                <a16:creationId xmlns:a16="http://schemas.microsoft.com/office/drawing/2014/main" id="{0720CF03-7E11-3930-505B-FACEA29897F1}"/>
              </a:ext>
            </a:extLst>
          </p:cNvPr>
          <p:cNvSpPr>
            <a:spLocks noChangeAspect="1"/>
          </p:cNvSpPr>
          <p:nvPr/>
        </p:nvSpPr>
        <p:spPr>
          <a:xfrm>
            <a:off x="6332257" y="104671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rPr>
              <a:t>74</a:t>
            </a:r>
            <a:r>
              <a:rPr lang="en-US" sz="1600" b="1">
                <a:solidFill>
                  <a:schemeClr val="bg1"/>
                </a:solidFill>
              </a:rPr>
              <a:t> </a:t>
            </a:r>
            <a:r>
              <a:rPr lang="en-US" sz="900">
                <a:solidFill>
                  <a:schemeClr val="bg1"/>
                </a:solidFill>
              </a:rPr>
              <a:t>biosimilars approved </a:t>
            </a:r>
            <a:br>
              <a:rPr lang="en-US" sz="900">
                <a:solidFill>
                  <a:schemeClr val="bg1"/>
                </a:solidFill>
              </a:rPr>
            </a:br>
            <a:r>
              <a:rPr lang="en-US" sz="900">
                <a:solidFill>
                  <a:schemeClr val="bg1"/>
                </a:solidFill>
              </a:rPr>
              <a:t>by EMA</a:t>
            </a:r>
            <a:r>
              <a:rPr lang="en-US" sz="900" baseline="30000">
                <a:solidFill>
                  <a:schemeClr val="bg1"/>
                </a:solidFill>
              </a:rPr>
              <a:t>6</a:t>
            </a:r>
            <a:endParaRPr lang="en-GB" sz="1200">
              <a:solidFill>
                <a:schemeClr val="bg1"/>
              </a:solidFill>
            </a:endParaRPr>
          </a:p>
        </p:txBody>
      </p:sp>
      <p:sp>
        <p:nvSpPr>
          <p:cNvPr id="24" name="Oval 23">
            <a:extLst>
              <a:ext uri="{FF2B5EF4-FFF2-40B4-BE49-F238E27FC236}">
                <a16:creationId xmlns:a16="http://schemas.microsoft.com/office/drawing/2014/main" id="{9244836E-EF5E-66F7-1845-38456A252936}"/>
              </a:ext>
            </a:extLst>
          </p:cNvPr>
          <p:cNvSpPr>
            <a:spLocks noChangeAspect="1"/>
          </p:cNvSpPr>
          <p:nvPr/>
        </p:nvSpPr>
        <p:spPr>
          <a:xfrm>
            <a:off x="7619159" y="104671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bg1"/>
                </a:solidFill>
              </a:rPr>
              <a:t>76</a:t>
            </a:r>
            <a:r>
              <a:rPr lang="en-US" sz="1400" dirty="0">
                <a:solidFill>
                  <a:schemeClr val="bg1"/>
                </a:solidFill>
              </a:rPr>
              <a:t> </a:t>
            </a:r>
            <a:r>
              <a:rPr lang="en-US" sz="900" dirty="0">
                <a:solidFill>
                  <a:schemeClr val="bg1"/>
                </a:solidFill>
              </a:rPr>
              <a:t>biosimilars approved </a:t>
            </a:r>
            <a:br>
              <a:rPr lang="en-US" sz="900" dirty="0">
                <a:solidFill>
                  <a:schemeClr val="bg1"/>
                </a:solidFill>
              </a:rPr>
            </a:br>
            <a:r>
              <a:rPr lang="en-US" sz="900" dirty="0">
                <a:solidFill>
                  <a:schemeClr val="bg1"/>
                </a:solidFill>
              </a:rPr>
              <a:t>by EMA</a:t>
            </a:r>
            <a:r>
              <a:rPr lang="en-US" sz="900" baseline="30000" dirty="0">
                <a:solidFill>
                  <a:schemeClr val="bg1"/>
                </a:solidFill>
              </a:rPr>
              <a:t>6</a:t>
            </a:r>
            <a:endParaRPr lang="en-GB" sz="1200" dirty="0">
              <a:solidFill>
                <a:schemeClr val="bg1"/>
              </a:solidFill>
            </a:endParaRPr>
          </a:p>
        </p:txBody>
      </p:sp>
      <p:cxnSp>
        <p:nvCxnSpPr>
          <p:cNvPr id="8" name="Straight Connector 7">
            <a:extLst>
              <a:ext uri="{FF2B5EF4-FFF2-40B4-BE49-F238E27FC236}">
                <a16:creationId xmlns:a16="http://schemas.microsoft.com/office/drawing/2014/main" id="{D96E2493-0173-7C53-91EC-91C7F8047739}"/>
              </a:ext>
            </a:extLst>
          </p:cNvPr>
          <p:cNvCxnSpPr>
            <a:cxnSpLocks/>
          </p:cNvCxnSpPr>
          <p:nvPr/>
        </p:nvCxnSpPr>
        <p:spPr>
          <a:xfrm>
            <a:off x="317251" y="3898615"/>
            <a:ext cx="83522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0C74C068-328C-8177-5D81-AB9482C8E15D}"/>
              </a:ext>
            </a:extLst>
          </p:cNvPr>
          <p:cNvSpPr>
            <a:spLocks noGrp="1"/>
          </p:cNvSpPr>
          <p:nvPr>
            <p:ph type="ftr" sz="quarter" idx="11"/>
          </p:nvPr>
        </p:nvSpPr>
        <p:spPr>
          <a:xfrm>
            <a:off x="420573" y="4574804"/>
            <a:ext cx="7451891" cy="397164"/>
          </a:xfrm>
        </p:spPr>
        <p:txBody>
          <a:bodyPr/>
          <a:lstStyle/>
          <a:p>
            <a:r>
              <a:rPr lang="en-GB" sz="500" dirty="0"/>
              <a:t>*As of December 2023.</a:t>
            </a:r>
            <a:br>
              <a:rPr lang="en-GB" sz="500" dirty="0"/>
            </a:br>
            <a:r>
              <a:rPr lang="en-US" sz="500" dirty="0"/>
              <a:t>EMA, European Medicines Agency; FDA, Food and Drug Administration; PMDA, Pharmaceuticals and Medical Devices Agency.</a:t>
            </a:r>
            <a:endParaRPr lang="en-GB" sz="500" dirty="0"/>
          </a:p>
          <a:p>
            <a:r>
              <a:rPr lang="en-GB" sz="500" dirty="0"/>
              <a:t>1. </a:t>
            </a:r>
            <a:r>
              <a:rPr lang="en-GB" sz="500" dirty="0" err="1"/>
              <a:t>Gherghescu</a:t>
            </a:r>
            <a:r>
              <a:rPr lang="en-GB" sz="500" dirty="0"/>
              <a:t> I, Delgado-Charro MB. </a:t>
            </a:r>
            <a:r>
              <a:rPr lang="en-GB" sz="500" i="1" dirty="0"/>
              <a:t>Pharmaceutics</a:t>
            </a:r>
            <a:r>
              <a:rPr lang="en-GB" sz="500" dirty="0"/>
              <a:t> 2021;13(1):48; 2. Sandoz. </a:t>
            </a:r>
            <a:r>
              <a:rPr lang="en-GB" sz="500" dirty="0" err="1"/>
              <a:t>Omnitrope</a:t>
            </a:r>
            <a:r>
              <a:rPr lang="en-GB" sz="500" baseline="30000" dirty="0"/>
              <a:t>®</a:t>
            </a:r>
            <a:r>
              <a:rPr lang="en-GB" sz="500" dirty="0"/>
              <a:t> (somatropin). SmPC, 2011. Available at: https://www.ema.europa.eu/en/documents/product-information/omnitrope-epar-product-information_en.pdf. Accessed March 2023; 3. Farhat F, et al. </a:t>
            </a:r>
            <a:r>
              <a:rPr lang="en-GB" sz="500" i="1" dirty="0"/>
              <a:t>Oncologist</a:t>
            </a:r>
            <a:r>
              <a:rPr lang="en-GB" sz="500" dirty="0"/>
              <a:t> 2018;23(3):346–352; 4. Sandoz. </a:t>
            </a:r>
            <a:r>
              <a:rPr lang="en-GB" sz="500" dirty="0" err="1"/>
              <a:t>Zarxio</a:t>
            </a:r>
            <a:r>
              <a:rPr lang="en-GB" sz="500" baseline="30000" dirty="0"/>
              <a:t>®</a:t>
            </a:r>
            <a:r>
              <a:rPr lang="en-GB" sz="500" dirty="0"/>
              <a:t> (filgrastim-</a:t>
            </a:r>
            <a:r>
              <a:rPr lang="en-GB" sz="500" dirty="0" err="1"/>
              <a:t>sndz</a:t>
            </a:r>
            <a:r>
              <a:rPr lang="en-GB" sz="500" dirty="0"/>
              <a:t>). PI, 2021. Available at: </a:t>
            </a:r>
            <a:r>
              <a:rPr lang="en-US" sz="500" dirty="0"/>
              <a:t>Available at: https://www.accessdata.fda.gov/drugsatfda_docs/label/2021/125553s023lbl.pdf.</a:t>
            </a:r>
            <a:r>
              <a:rPr lang="en-GB" sz="500" dirty="0"/>
              <a:t> Accessed March 2023; 5. Kang HN, et al. </a:t>
            </a:r>
            <a:r>
              <a:rPr lang="en-GB" sz="500" i="1" dirty="0"/>
              <a:t>Biologicals</a:t>
            </a:r>
            <a:r>
              <a:rPr lang="en-GB" sz="500" dirty="0"/>
              <a:t> 2020;65:1–9; 6. </a:t>
            </a:r>
            <a:r>
              <a:rPr lang="en-GB" sz="500" dirty="0" err="1"/>
              <a:t>GaBI</a:t>
            </a:r>
            <a:r>
              <a:rPr lang="en-GB" sz="500" dirty="0"/>
              <a:t>. Generics and Biosimilar Initiative. 2023. Available at: https://gabionline.net/biosimilars/general/. Accessed December 2023; 7. </a:t>
            </a:r>
            <a:r>
              <a:rPr lang="en-US" sz="500" dirty="0"/>
              <a:t>US FDA. Biosimilar Product Information. 2024. Available at: https://www.fda.gov/drugs/biosimilars/biosimilar-product-information. Accessed June 2024. </a:t>
            </a:r>
            <a:endParaRPr lang="en-GB" sz="500" dirty="0"/>
          </a:p>
        </p:txBody>
      </p:sp>
      <p:sp>
        <p:nvSpPr>
          <p:cNvPr id="7" name="Slide Number Placeholder 6">
            <a:extLst>
              <a:ext uri="{FF2B5EF4-FFF2-40B4-BE49-F238E27FC236}">
                <a16:creationId xmlns:a16="http://schemas.microsoft.com/office/drawing/2014/main" id="{95FD216A-4C12-B215-6AF9-A4A8E05B3421}"/>
              </a:ext>
            </a:extLst>
          </p:cNvPr>
          <p:cNvSpPr>
            <a:spLocks noGrp="1"/>
          </p:cNvSpPr>
          <p:nvPr>
            <p:ph type="sldNum" sz="quarter" idx="12"/>
          </p:nvPr>
        </p:nvSpPr>
        <p:spPr/>
        <p:txBody>
          <a:bodyPr/>
          <a:lstStyle/>
          <a:p>
            <a:fld id="{A31C51CB-94C2-40E2-B070-08CEE3D6A386}" type="slidenum">
              <a:rPr lang="en-GB" smtClean="0"/>
              <a:t>12</a:t>
            </a:fld>
            <a:endParaRPr lang="en-GB"/>
          </a:p>
        </p:txBody>
      </p:sp>
    </p:spTree>
    <p:extLst>
      <p:ext uri="{BB962C8B-B14F-4D97-AF65-F5344CB8AC3E}">
        <p14:creationId xmlns:p14="http://schemas.microsoft.com/office/powerpoint/2010/main" val="37779918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4787-871A-218A-F344-83545BF32CA4}"/>
              </a:ext>
            </a:extLst>
          </p:cNvPr>
          <p:cNvSpPr>
            <a:spLocks noGrp="1"/>
          </p:cNvSpPr>
          <p:nvPr>
            <p:ph type="title"/>
          </p:nvPr>
        </p:nvSpPr>
        <p:spPr>
          <a:xfrm>
            <a:off x="243000" y="181146"/>
            <a:ext cx="7424359" cy="1138067"/>
          </a:xfrm>
        </p:spPr>
        <p:txBody>
          <a:bodyPr>
            <a:normAutofit/>
          </a:bodyPr>
          <a:lstStyle/>
          <a:p>
            <a:r>
              <a:rPr lang="en-US"/>
              <a:t>What do biosimilars mean for healthcare systems?</a:t>
            </a:r>
            <a:endParaRPr lang="en-GB"/>
          </a:p>
        </p:txBody>
      </p:sp>
      <p:sp>
        <p:nvSpPr>
          <p:cNvPr id="53" name="Text Placeholder 52">
            <a:extLst>
              <a:ext uri="{FF2B5EF4-FFF2-40B4-BE49-F238E27FC236}">
                <a16:creationId xmlns:a16="http://schemas.microsoft.com/office/drawing/2014/main" id="{B05E6B14-3DBB-F0E6-05F5-96684F1E81ED}"/>
              </a:ext>
            </a:extLst>
          </p:cNvPr>
          <p:cNvSpPr>
            <a:spLocks noGrp="1"/>
          </p:cNvSpPr>
          <p:nvPr>
            <p:ph idx="1"/>
          </p:nvPr>
        </p:nvSpPr>
        <p:spPr>
          <a:xfrm>
            <a:off x="243000" y="776589"/>
            <a:ext cx="8169479" cy="398602"/>
          </a:xfrm>
        </p:spPr>
        <p:txBody>
          <a:bodyPr/>
          <a:lstStyle/>
          <a:p>
            <a:r>
              <a:rPr lang="en-US" sz="1400" b="1" dirty="0">
                <a:solidFill>
                  <a:schemeClr val="tx1"/>
                </a:solidFill>
              </a:rPr>
              <a:t>Biosimilar medicines have </a:t>
            </a:r>
            <a:r>
              <a:rPr lang="en-US" sz="1400" b="1" dirty="0">
                <a:solidFill>
                  <a:schemeClr val="accent1"/>
                </a:solidFill>
              </a:rPr>
              <a:t>been </a:t>
            </a:r>
            <a:r>
              <a:rPr lang="en-US" sz="1400" b="1" dirty="0">
                <a:solidFill>
                  <a:schemeClr val="tx1"/>
                </a:solidFill>
              </a:rPr>
              <a:t>shown to result in cost savings and increased treatment access in different therapy areas</a:t>
            </a:r>
          </a:p>
        </p:txBody>
      </p:sp>
      <p:sp>
        <p:nvSpPr>
          <p:cNvPr id="4" name="Slide Number Placeholder 3">
            <a:extLst>
              <a:ext uri="{FF2B5EF4-FFF2-40B4-BE49-F238E27FC236}">
                <a16:creationId xmlns:a16="http://schemas.microsoft.com/office/drawing/2014/main" id="{A515FCDF-0722-C81B-0AB2-A68B7BCCB075}"/>
              </a:ext>
            </a:extLst>
          </p:cNvPr>
          <p:cNvSpPr>
            <a:spLocks noGrp="1"/>
          </p:cNvSpPr>
          <p:nvPr>
            <p:ph type="sldNum" sz="quarter" idx="12"/>
          </p:nvPr>
        </p:nvSpPr>
        <p:spPr/>
        <p:txBody>
          <a:bodyPr/>
          <a:lstStyle/>
          <a:p>
            <a:fld id="{47547CF9-5B10-D24F-A8D7-45A9778164F7}" type="slidenum">
              <a:rPr lang="uk-UA" smtClean="0"/>
              <a:pPr/>
              <a:t>13</a:t>
            </a:fld>
            <a:endParaRPr lang="uk-UA"/>
          </a:p>
        </p:txBody>
      </p:sp>
      <p:sp>
        <p:nvSpPr>
          <p:cNvPr id="77" name="Freeform 11">
            <a:extLst>
              <a:ext uri="{FF2B5EF4-FFF2-40B4-BE49-F238E27FC236}">
                <a16:creationId xmlns:a16="http://schemas.microsoft.com/office/drawing/2014/main" id="{98C29111-889A-6721-0945-5F72A7186FD4}"/>
              </a:ext>
            </a:extLst>
          </p:cNvPr>
          <p:cNvSpPr>
            <a:spLocks noEditPoints="1"/>
          </p:cNvSpPr>
          <p:nvPr/>
        </p:nvSpPr>
        <p:spPr bwMode="auto">
          <a:xfrm rot="13254827">
            <a:off x="521897" y="1206294"/>
            <a:ext cx="855384" cy="1078710"/>
          </a:xfrm>
          <a:custGeom>
            <a:avLst/>
            <a:gdLst>
              <a:gd name="T0" fmla="*/ 258 w 258"/>
              <a:gd name="T1" fmla="*/ 129 h 325"/>
              <a:gd name="T2" fmla="*/ 129 w 258"/>
              <a:gd name="T3" fmla="*/ 0 h 325"/>
              <a:gd name="T4" fmla="*/ 0 w 258"/>
              <a:gd name="T5" fmla="*/ 129 h 325"/>
              <a:gd name="T6" fmla="*/ 41 w 258"/>
              <a:gd name="T7" fmla="*/ 224 h 325"/>
              <a:gd name="T8" fmla="*/ 129 w 258"/>
              <a:gd name="T9" fmla="*/ 325 h 325"/>
              <a:gd name="T10" fmla="*/ 217 w 258"/>
              <a:gd name="T11" fmla="*/ 224 h 325"/>
              <a:gd name="T12" fmla="*/ 258 w 258"/>
              <a:gd name="T13" fmla="*/ 129 h 325"/>
              <a:gd name="T14" fmla="*/ 129 w 258"/>
              <a:gd name="T15" fmla="*/ 30 h 325"/>
              <a:gd name="T16" fmla="*/ 228 w 258"/>
              <a:gd name="T17" fmla="*/ 129 h 325"/>
              <a:gd name="T18" fmla="*/ 129 w 258"/>
              <a:gd name="T19" fmla="*/ 228 h 325"/>
              <a:gd name="T20" fmla="*/ 30 w 258"/>
              <a:gd name="T21" fmla="*/ 129 h 325"/>
              <a:gd name="T22" fmla="*/ 129 w 258"/>
              <a:gd name="T23" fmla="*/ 3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325">
                <a:moveTo>
                  <a:pt x="258" y="129"/>
                </a:moveTo>
                <a:cubicBezTo>
                  <a:pt x="258" y="58"/>
                  <a:pt x="200" y="0"/>
                  <a:pt x="129" y="0"/>
                </a:cubicBezTo>
                <a:cubicBezTo>
                  <a:pt x="57" y="0"/>
                  <a:pt x="0" y="58"/>
                  <a:pt x="0" y="129"/>
                </a:cubicBezTo>
                <a:cubicBezTo>
                  <a:pt x="0" y="166"/>
                  <a:pt x="15" y="200"/>
                  <a:pt x="41" y="224"/>
                </a:cubicBezTo>
                <a:cubicBezTo>
                  <a:pt x="129" y="325"/>
                  <a:pt x="129" y="325"/>
                  <a:pt x="129" y="325"/>
                </a:cubicBezTo>
                <a:cubicBezTo>
                  <a:pt x="217" y="224"/>
                  <a:pt x="217" y="224"/>
                  <a:pt x="217" y="224"/>
                </a:cubicBezTo>
                <a:cubicBezTo>
                  <a:pt x="242" y="200"/>
                  <a:pt x="258" y="166"/>
                  <a:pt x="258" y="129"/>
                </a:cubicBezTo>
                <a:close/>
                <a:moveTo>
                  <a:pt x="129" y="30"/>
                </a:moveTo>
                <a:cubicBezTo>
                  <a:pt x="183" y="30"/>
                  <a:pt x="228" y="74"/>
                  <a:pt x="228" y="129"/>
                </a:cubicBezTo>
                <a:cubicBezTo>
                  <a:pt x="228" y="184"/>
                  <a:pt x="183" y="228"/>
                  <a:pt x="129" y="228"/>
                </a:cubicBezTo>
                <a:cubicBezTo>
                  <a:pt x="74" y="228"/>
                  <a:pt x="30" y="184"/>
                  <a:pt x="30" y="129"/>
                </a:cubicBezTo>
                <a:cubicBezTo>
                  <a:pt x="30" y="74"/>
                  <a:pt x="74" y="30"/>
                  <a:pt x="129" y="30"/>
                </a:cubicBezTo>
                <a:close/>
              </a:path>
            </a:pathLst>
          </a:custGeom>
          <a:solidFill>
            <a:schemeClr val="accent2"/>
          </a:solidFill>
          <a:ln w="3" cap="flat">
            <a:no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IN" sz="1350" kern="0">
              <a:solidFill>
                <a:srgbClr val="000000"/>
              </a:solidFill>
              <a:latin typeface="Arial" panose="020B0604020202020204" pitchFamily="34" charset="0"/>
              <a:cs typeface="Arial" panose="020B0604020202020204" pitchFamily="34" charset="0"/>
            </a:endParaRPr>
          </a:p>
        </p:txBody>
      </p:sp>
      <p:sp>
        <p:nvSpPr>
          <p:cNvPr id="80" name="Freeform 11">
            <a:extLst>
              <a:ext uri="{FF2B5EF4-FFF2-40B4-BE49-F238E27FC236}">
                <a16:creationId xmlns:a16="http://schemas.microsoft.com/office/drawing/2014/main" id="{94E0D55A-0C57-35C2-3B4B-DB8CEAD90B13}"/>
              </a:ext>
            </a:extLst>
          </p:cNvPr>
          <p:cNvSpPr>
            <a:spLocks noEditPoints="1"/>
          </p:cNvSpPr>
          <p:nvPr/>
        </p:nvSpPr>
        <p:spPr bwMode="auto">
          <a:xfrm rot="13253834" flipH="1">
            <a:off x="521897" y="2313602"/>
            <a:ext cx="855384" cy="1078710"/>
          </a:xfrm>
          <a:custGeom>
            <a:avLst/>
            <a:gdLst>
              <a:gd name="T0" fmla="*/ 258 w 258"/>
              <a:gd name="T1" fmla="*/ 129 h 325"/>
              <a:gd name="T2" fmla="*/ 129 w 258"/>
              <a:gd name="T3" fmla="*/ 0 h 325"/>
              <a:gd name="T4" fmla="*/ 0 w 258"/>
              <a:gd name="T5" fmla="*/ 129 h 325"/>
              <a:gd name="T6" fmla="*/ 41 w 258"/>
              <a:gd name="T7" fmla="*/ 224 h 325"/>
              <a:gd name="T8" fmla="*/ 129 w 258"/>
              <a:gd name="T9" fmla="*/ 325 h 325"/>
              <a:gd name="T10" fmla="*/ 217 w 258"/>
              <a:gd name="T11" fmla="*/ 224 h 325"/>
              <a:gd name="T12" fmla="*/ 258 w 258"/>
              <a:gd name="T13" fmla="*/ 129 h 325"/>
              <a:gd name="T14" fmla="*/ 129 w 258"/>
              <a:gd name="T15" fmla="*/ 30 h 325"/>
              <a:gd name="T16" fmla="*/ 228 w 258"/>
              <a:gd name="T17" fmla="*/ 129 h 325"/>
              <a:gd name="T18" fmla="*/ 129 w 258"/>
              <a:gd name="T19" fmla="*/ 228 h 325"/>
              <a:gd name="T20" fmla="*/ 30 w 258"/>
              <a:gd name="T21" fmla="*/ 129 h 325"/>
              <a:gd name="T22" fmla="*/ 129 w 258"/>
              <a:gd name="T23" fmla="*/ 3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325">
                <a:moveTo>
                  <a:pt x="258" y="129"/>
                </a:moveTo>
                <a:cubicBezTo>
                  <a:pt x="258" y="58"/>
                  <a:pt x="200" y="0"/>
                  <a:pt x="129" y="0"/>
                </a:cubicBezTo>
                <a:cubicBezTo>
                  <a:pt x="57" y="0"/>
                  <a:pt x="0" y="58"/>
                  <a:pt x="0" y="129"/>
                </a:cubicBezTo>
                <a:cubicBezTo>
                  <a:pt x="0" y="166"/>
                  <a:pt x="15" y="200"/>
                  <a:pt x="41" y="224"/>
                </a:cubicBezTo>
                <a:cubicBezTo>
                  <a:pt x="129" y="325"/>
                  <a:pt x="129" y="325"/>
                  <a:pt x="129" y="325"/>
                </a:cubicBezTo>
                <a:cubicBezTo>
                  <a:pt x="217" y="224"/>
                  <a:pt x="217" y="224"/>
                  <a:pt x="217" y="224"/>
                </a:cubicBezTo>
                <a:cubicBezTo>
                  <a:pt x="242" y="200"/>
                  <a:pt x="258" y="166"/>
                  <a:pt x="258" y="129"/>
                </a:cubicBezTo>
                <a:close/>
                <a:moveTo>
                  <a:pt x="129" y="30"/>
                </a:moveTo>
                <a:cubicBezTo>
                  <a:pt x="183" y="30"/>
                  <a:pt x="228" y="74"/>
                  <a:pt x="228" y="129"/>
                </a:cubicBezTo>
                <a:cubicBezTo>
                  <a:pt x="228" y="184"/>
                  <a:pt x="183" y="228"/>
                  <a:pt x="129" y="228"/>
                </a:cubicBezTo>
                <a:cubicBezTo>
                  <a:pt x="74" y="228"/>
                  <a:pt x="30" y="184"/>
                  <a:pt x="30" y="129"/>
                </a:cubicBezTo>
                <a:cubicBezTo>
                  <a:pt x="30" y="74"/>
                  <a:pt x="74" y="30"/>
                  <a:pt x="129" y="30"/>
                </a:cubicBezTo>
                <a:close/>
              </a:path>
            </a:pathLst>
          </a:custGeom>
          <a:solidFill>
            <a:schemeClr val="accent3"/>
          </a:solidFill>
          <a:ln w="3" cap="flat">
            <a:no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IN" sz="1350" kern="0">
              <a:solidFill>
                <a:srgbClr val="000000"/>
              </a:solidFill>
              <a:latin typeface="Arial" panose="020B0604020202020204" pitchFamily="34" charset="0"/>
              <a:cs typeface="Arial" panose="020B0604020202020204" pitchFamily="34" charset="0"/>
            </a:endParaRPr>
          </a:p>
        </p:txBody>
      </p:sp>
      <p:sp>
        <p:nvSpPr>
          <p:cNvPr id="85" name="Freeform 11">
            <a:extLst>
              <a:ext uri="{FF2B5EF4-FFF2-40B4-BE49-F238E27FC236}">
                <a16:creationId xmlns:a16="http://schemas.microsoft.com/office/drawing/2014/main" id="{6DA437FF-7EDF-7276-AEB6-326DDB2B6886}"/>
              </a:ext>
            </a:extLst>
          </p:cNvPr>
          <p:cNvSpPr>
            <a:spLocks noEditPoints="1"/>
          </p:cNvSpPr>
          <p:nvPr/>
        </p:nvSpPr>
        <p:spPr bwMode="auto">
          <a:xfrm rot="2462055" flipV="1">
            <a:off x="521897" y="3338860"/>
            <a:ext cx="855384" cy="1078710"/>
          </a:xfrm>
          <a:custGeom>
            <a:avLst/>
            <a:gdLst>
              <a:gd name="T0" fmla="*/ 258 w 258"/>
              <a:gd name="T1" fmla="*/ 129 h 325"/>
              <a:gd name="T2" fmla="*/ 129 w 258"/>
              <a:gd name="T3" fmla="*/ 0 h 325"/>
              <a:gd name="T4" fmla="*/ 0 w 258"/>
              <a:gd name="T5" fmla="*/ 129 h 325"/>
              <a:gd name="T6" fmla="*/ 41 w 258"/>
              <a:gd name="T7" fmla="*/ 224 h 325"/>
              <a:gd name="T8" fmla="*/ 129 w 258"/>
              <a:gd name="T9" fmla="*/ 325 h 325"/>
              <a:gd name="T10" fmla="*/ 217 w 258"/>
              <a:gd name="T11" fmla="*/ 224 h 325"/>
              <a:gd name="T12" fmla="*/ 258 w 258"/>
              <a:gd name="T13" fmla="*/ 129 h 325"/>
              <a:gd name="T14" fmla="*/ 129 w 258"/>
              <a:gd name="T15" fmla="*/ 30 h 325"/>
              <a:gd name="T16" fmla="*/ 228 w 258"/>
              <a:gd name="T17" fmla="*/ 129 h 325"/>
              <a:gd name="T18" fmla="*/ 129 w 258"/>
              <a:gd name="T19" fmla="*/ 228 h 325"/>
              <a:gd name="T20" fmla="*/ 30 w 258"/>
              <a:gd name="T21" fmla="*/ 129 h 325"/>
              <a:gd name="T22" fmla="*/ 129 w 258"/>
              <a:gd name="T23" fmla="*/ 3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325">
                <a:moveTo>
                  <a:pt x="258" y="129"/>
                </a:moveTo>
                <a:cubicBezTo>
                  <a:pt x="258" y="58"/>
                  <a:pt x="200" y="0"/>
                  <a:pt x="129" y="0"/>
                </a:cubicBezTo>
                <a:cubicBezTo>
                  <a:pt x="57" y="0"/>
                  <a:pt x="0" y="58"/>
                  <a:pt x="0" y="129"/>
                </a:cubicBezTo>
                <a:cubicBezTo>
                  <a:pt x="0" y="166"/>
                  <a:pt x="15" y="200"/>
                  <a:pt x="41" y="224"/>
                </a:cubicBezTo>
                <a:cubicBezTo>
                  <a:pt x="129" y="325"/>
                  <a:pt x="129" y="325"/>
                  <a:pt x="129" y="325"/>
                </a:cubicBezTo>
                <a:cubicBezTo>
                  <a:pt x="217" y="224"/>
                  <a:pt x="217" y="224"/>
                  <a:pt x="217" y="224"/>
                </a:cubicBezTo>
                <a:cubicBezTo>
                  <a:pt x="242" y="200"/>
                  <a:pt x="258" y="166"/>
                  <a:pt x="258" y="129"/>
                </a:cubicBezTo>
                <a:close/>
                <a:moveTo>
                  <a:pt x="129" y="30"/>
                </a:moveTo>
                <a:cubicBezTo>
                  <a:pt x="183" y="30"/>
                  <a:pt x="228" y="74"/>
                  <a:pt x="228" y="129"/>
                </a:cubicBezTo>
                <a:cubicBezTo>
                  <a:pt x="228" y="184"/>
                  <a:pt x="183" y="228"/>
                  <a:pt x="129" y="228"/>
                </a:cubicBezTo>
                <a:cubicBezTo>
                  <a:pt x="74" y="228"/>
                  <a:pt x="30" y="184"/>
                  <a:pt x="30" y="129"/>
                </a:cubicBezTo>
                <a:cubicBezTo>
                  <a:pt x="30" y="74"/>
                  <a:pt x="74" y="30"/>
                  <a:pt x="129" y="30"/>
                </a:cubicBezTo>
                <a:close/>
              </a:path>
            </a:pathLst>
          </a:custGeom>
          <a:solidFill>
            <a:schemeClr val="accent4"/>
          </a:solidFill>
          <a:ln w="3" cap="flat">
            <a:no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IN" sz="1350" kern="0">
              <a:solidFill>
                <a:srgbClr val="000000"/>
              </a:solidFill>
              <a:latin typeface="Arial" panose="020B0604020202020204" pitchFamily="34" charset="0"/>
              <a:cs typeface="Arial" panose="020B0604020202020204" pitchFamily="34" charset="0"/>
            </a:endParaRPr>
          </a:p>
        </p:txBody>
      </p:sp>
      <p:cxnSp>
        <p:nvCxnSpPr>
          <p:cNvPr id="83" name="Straight Connector 82">
            <a:extLst>
              <a:ext uri="{FF2B5EF4-FFF2-40B4-BE49-F238E27FC236}">
                <a16:creationId xmlns:a16="http://schemas.microsoft.com/office/drawing/2014/main" id="{392198CA-0188-F49B-EF2C-1BB3744D8A7A}"/>
              </a:ext>
            </a:extLst>
          </p:cNvPr>
          <p:cNvCxnSpPr/>
          <p:nvPr/>
        </p:nvCxnSpPr>
        <p:spPr>
          <a:xfrm>
            <a:off x="1352108" y="3471981"/>
            <a:ext cx="0" cy="470314"/>
          </a:xfrm>
          <a:prstGeom prst="line">
            <a:avLst/>
          </a:prstGeom>
          <a:solidFill>
            <a:schemeClr val="accent1"/>
          </a:solidFill>
          <a:ln w="6350" cap="flat" cmpd="sng" algn="ctr">
            <a:solidFill>
              <a:schemeClr val="accent6"/>
            </a:solidFill>
            <a:prstDash val="solid"/>
            <a:tailEnd type="none"/>
          </a:ln>
          <a:effectLst/>
        </p:spPr>
      </p:cxnSp>
      <p:cxnSp>
        <p:nvCxnSpPr>
          <p:cNvPr id="87" name="Straight Connector 86">
            <a:extLst>
              <a:ext uri="{FF2B5EF4-FFF2-40B4-BE49-F238E27FC236}">
                <a16:creationId xmlns:a16="http://schemas.microsoft.com/office/drawing/2014/main" id="{2E803288-0F21-64FB-C849-F988EDFAEF57}"/>
              </a:ext>
            </a:extLst>
          </p:cNvPr>
          <p:cNvCxnSpPr/>
          <p:nvPr/>
        </p:nvCxnSpPr>
        <p:spPr>
          <a:xfrm>
            <a:off x="1352108" y="2437334"/>
            <a:ext cx="0" cy="470314"/>
          </a:xfrm>
          <a:prstGeom prst="line">
            <a:avLst/>
          </a:prstGeom>
          <a:noFill/>
          <a:ln w="6350" cap="flat" cmpd="sng" algn="ctr">
            <a:solidFill>
              <a:schemeClr val="accent6"/>
            </a:solidFill>
            <a:prstDash val="solid"/>
            <a:tailEnd type="none"/>
          </a:ln>
          <a:effectLst/>
        </p:spPr>
      </p:cxnSp>
      <p:cxnSp>
        <p:nvCxnSpPr>
          <p:cNvPr id="86" name="Straight Connector 85">
            <a:extLst>
              <a:ext uri="{FF2B5EF4-FFF2-40B4-BE49-F238E27FC236}">
                <a16:creationId xmlns:a16="http://schemas.microsoft.com/office/drawing/2014/main" id="{CC6E3A0B-521C-51C9-A37E-481E113D3E04}"/>
              </a:ext>
            </a:extLst>
          </p:cNvPr>
          <p:cNvCxnSpPr/>
          <p:nvPr/>
        </p:nvCxnSpPr>
        <p:spPr>
          <a:xfrm>
            <a:off x="1352108" y="1330196"/>
            <a:ext cx="0" cy="473202"/>
          </a:xfrm>
          <a:prstGeom prst="line">
            <a:avLst/>
          </a:prstGeom>
          <a:noFill/>
          <a:ln w="6350" cap="flat" cmpd="sng" algn="ctr">
            <a:solidFill>
              <a:schemeClr val="accent6"/>
            </a:solidFill>
            <a:prstDash val="solid"/>
            <a:tailEnd type="none"/>
          </a:ln>
          <a:effectLst/>
        </p:spPr>
      </p:cxnSp>
      <p:sp>
        <p:nvSpPr>
          <p:cNvPr id="116" name="TextBox 115">
            <a:extLst>
              <a:ext uri="{FF2B5EF4-FFF2-40B4-BE49-F238E27FC236}">
                <a16:creationId xmlns:a16="http://schemas.microsoft.com/office/drawing/2014/main" id="{8AD31CBF-AB17-2A3D-8F35-2F3C8E78467A}"/>
              </a:ext>
            </a:extLst>
          </p:cNvPr>
          <p:cNvSpPr txBox="1"/>
          <p:nvPr/>
        </p:nvSpPr>
        <p:spPr>
          <a:xfrm>
            <a:off x="1476638" y="1295773"/>
            <a:ext cx="7166394" cy="807913"/>
          </a:xfrm>
          <a:prstGeom prst="rect">
            <a:avLst/>
          </a:prstGeom>
          <a:noFill/>
          <a:ln w="19050">
            <a:noFill/>
          </a:ln>
          <a:effectLst/>
        </p:spPr>
        <p:txBody>
          <a:bodyPr wrap="square" lIns="0" tIns="0" rIns="0" bIns="0" anchor="t">
            <a:spAutoFit/>
          </a:bodyPr>
          <a:lstStyle/>
          <a:p>
            <a:pPr defTabSz="685800">
              <a:spcAft>
                <a:spcPts val="300"/>
              </a:spcAft>
              <a:buSzPct val="125000"/>
              <a:defRPr/>
            </a:pPr>
            <a:r>
              <a:rPr lang="en-US" sz="900" b="1" spc="50" dirty="0">
                <a:solidFill>
                  <a:schemeClr val="accent2"/>
                </a:solidFill>
                <a:latin typeface="Arial" panose="020B0604020202020204"/>
              </a:rPr>
              <a:t>Gastroenterology</a:t>
            </a:r>
          </a:p>
          <a:p>
            <a:pPr marL="137160" indent="-137160" defTabSz="685800">
              <a:spcAft>
                <a:spcPts val="300"/>
              </a:spcAft>
              <a:buSzPct val="125000"/>
              <a:buFont typeface="Arial" panose="020B0604020202020204" pitchFamily="34" charset="0"/>
              <a:buChar char="•"/>
              <a:defRPr/>
            </a:pPr>
            <a:r>
              <a:rPr lang="en-US" sz="900" dirty="0">
                <a:latin typeface="Arial" panose="020B0604020202020204"/>
              </a:rPr>
              <a:t>A study in </a:t>
            </a:r>
            <a:r>
              <a:rPr lang="en-US" sz="900" b="1" dirty="0">
                <a:latin typeface="Arial" panose="020B0604020202020204"/>
              </a:rPr>
              <a:t>adult patients with IBD </a:t>
            </a:r>
            <a:r>
              <a:rPr lang="en-US" sz="900" dirty="0">
                <a:latin typeface="Arial" panose="020B0604020202020204"/>
              </a:rPr>
              <a:t>showed that</a:t>
            </a:r>
            <a:r>
              <a:rPr lang="en-US" sz="900" baseline="30000" dirty="0">
                <a:latin typeface="Arial" panose="020B0604020202020204"/>
              </a:rPr>
              <a:t>1</a:t>
            </a:r>
            <a:r>
              <a:rPr lang="en-US" sz="900" dirty="0">
                <a:latin typeface="Arial" panose="020B0604020202020204"/>
              </a:rPr>
              <a:t>:</a:t>
            </a:r>
            <a:endParaRPr lang="en-US" sz="900" baseline="30000" dirty="0">
              <a:latin typeface="Arial" panose="020B0604020202020204"/>
            </a:endParaRP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97%</a:t>
            </a:r>
            <a:r>
              <a:rPr lang="en-US" sz="900" dirty="0">
                <a:latin typeface="Arial" panose="020B0604020202020204"/>
              </a:rPr>
              <a:t> of patients </a:t>
            </a:r>
            <a:r>
              <a:rPr lang="en-US" sz="900" b="1" dirty="0">
                <a:latin typeface="Arial" panose="020B0604020202020204"/>
              </a:rPr>
              <a:t>successfully switched to biosimilar infliximab, </a:t>
            </a:r>
            <a:r>
              <a:rPr lang="en-US" sz="900" dirty="0">
                <a:latin typeface="Arial" panose="020B0604020202020204"/>
              </a:rPr>
              <a:t>and</a:t>
            </a:r>
            <a:r>
              <a:rPr lang="en-US" sz="900" b="1" dirty="0">
                <a:latin typeface="Arial" panose="020B0604020202020204"/>
              </a:rPr>
              <a:t> 83%</a:t>
            </a:r>
            <a:r>
              <a:rPr lang="en-US" sz="900" dirty="0">
                <a:latin typeface="Arial" panose="020B0604020202020204"/>
              </a:rPr>
              <a:t> of patients were still using </a:t>
            </a:r>
            <a:r>
              <a:rPr lang="en-US" sz="900" b="1" dirty="0">
                <a:latin typeface="Arial" panose="020B0604020202020204"/>
              </a:rPr>
              <a:t>biosimilar infliximab </a:t>
            </a:r>
            <a:br>
              <a:rPr lang="en-US" sz="900" b="1" dirty="0">
                <a:latin typeface="Arial" panose="020B0604020202020204"/>
              </a:rPr>
            </a:br>
            <a:r>
              <a:rPr lang="en-US" sz="900" b="1" dirty="0">
                <a:latin typeface="Arial" panose="020B0604020202020204"/>
              </a:rPr>
              <a:t>12–15 months after the switch</a:t>
            </a: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Estimated annual savings of around $500,000</a:t>
            </a:r>
            <a:r>
              <a:rPr lang="en-US" sz="900" dirty="0">
                <a:latin typeface="Arial" panose="020B0604020202020204"/>
              </a:rPr>
              <a:t> at a major US medical center</a:t>
            </a:r>
          </a:p>
        </p:txBody>
      </p:sp>
      <p:sp>
        <p:nvSpPr>
          <p:cNvPr id="118" name="TextBox 117">
            <a:extLst>
              <a:ext uri="{FF2B5EF4-FFF2-40B4-BE49-F238E27FC236}">
                <a16:creationId xmlns:a16="http://schemas.microsoft.com/office/drawing/2014/main" id="{39EB7F9E-2333-202A-0A29-03DEF2AB46F4}"/>
              </a:ext>
            </a:extLst>
          </p:cNvPr>
          <p:cNvSpPr txBox="1"/>
          <p:nvPr/>
        </p:nvSpPr>
        <p:spPr>
          <a:xfrm>
            <a:off x="1476639" y="2184024"/>
            <a:ext cx="7343417" cy="1161857"/>
          </a:xfrm>
          <a:prstGeom prst="rect">
            <a:avLst/>
          </a:prstGeom>
          <a:noFill/>
          <a:ln w="19050">
            <a:noFill/>
          </a:ln>
          <a:effectLst/>
        </p:spPr>
        <p:txBody>
          <a:bodyPr wrap="square" lIns="0" tIns="0" rIns="0" bIns="0" anchor="t">
            <a:spAutoFit/>
          </a:bodyPr>
          <a:lstStyle>
            <a:defPPr>
              <a:defRPr lang="en-US"/>
            </a:defPPr>
            <a:lvl1pPr marL="285750" indent="-285750">
              <a:spcAft>
                <a:spcPts val="300"/>
              </a:spcAft>
              <a:buFont typeface="Wingdings" panose="05000000000000000000" pitchFamily="2" charset="2"/>
              <a:buChar char="§"/>
              <a:defRPr sz="1600"/>
            </a:lvl1pPr>
          </a:lstStyle>
          <a:p>
            <a:pPr marL="0" indent="0" defTabSz="685800">
              <a:buSzPct val="125000"/>
              <a:buNone/>
              <a:defRPr/>
            </a:pPr>
            <a:r>
              <a:rPr lang="en-US" sz="900" b="1" spc="50" dirty="0">
                <a:solidFill>
                  <a:schemeClr val="accent3"/>
                </a:solidFill>
                <a:latin typeface="Arial" panose="020B0604020202020204"/>
              </a:rPr>
              <a:t>Oncology</a:t>
            </a:r>
          </a:p>
          <a:p>
            <a:pPr marL="137160" indent="-137160" defTabSz="685800">
              <a:buSzPct val="125000"/>
              <a:buFont typeface="Arial" panose="020B0604020202020204" pitchFamily="34" charset="0"/>
              <a:buChar char="•"/>
              <a:defRPr/>
            </a:pPr>
            <a:r>
              <a:rPr lang="en-US" sz="900" dirty="0">
                <a:latin typeface="Arial" panose="020B0604020202020204"/>
              </a:rPr>
              <a:t>In the US, </a:t>
            </a:r>
            <a:r>
              <a:rPr lang="en-US" sz="900" b="1" dirty="0">
                <a:latin typeface="Arial" panose="020B0604020202020204"/>
              </a:rPr>
              <a:t>biosimilar filgrastim </a:t>
            </a:r>
            <a:r>
              <a:rPr lang="en-US" sz="900" dirty="0">
                <a:latin typeface="Arial" panose="020B0604020202020204"/>
              </a:rPr>
              <a:t>gained </a:t>
            </a:r>
            <a:r>
              <a:rPr lang="en-US" sz="900" b="1" dirty="0">
                <a:latin typeface="Arial" panose="020B0604020202020204"/>
              </a:rPr>
              <a:t>widespread adoption</a:t>
            </a:r>
            <a:r>
              <a:rPr lang="en-US" sz="900" dirty="0">
                <a:latin typeface="Arial" panose="020B0604020202020204"/>
              </a:rPr>
              <a:t>, with ~ 50% of filgrastim claims in Medicare and ~39% in Medicaid populations</a:t>
            </a:r>
            <a:r>
              <a:rPr lang="en-US" sz="900" baseline="30000" dirty="0">
                <a:latin typeface="Arial" panose="020B0604020202020204"/>
              </a:rPr>
              <a:t>2</a:t>
            </a:r>
          </a:p>
          <a:p>
            <a:pPr marL="137160" indent="-137160" defTabSz="685800">
              <a:buSzPct val="125000"/>
              <a:buFont typeface="Arial" panose="020B0604020202020204" pitchFamily="34" charset="0"/>
              <a:buChar char="•"/>
              <a:defRPr/>
            </a:pPr>
            <a:r>
              <a:rPr lang="en-US" sz="900" dirty="0">
                <a:latin typeface="Arial" panose="020B0604020202020204"/>
              </a:rPr>
              <a:t>The </a:t>
            </a:r>
            <a:r>
              <a:rPr lang="en-US" sz="900" b="1" dirty="0">
                <a:latin typeface="Arial" panose="020B0604020202020204"/>
              </a:rPr>
              <a:t>introduction of biosimilar filgrastim </a:t>
            </a:r>
            <a:r>
              <a:rPr lang="en-US" sz="900" dirty="0">
                <a:latin typeface="Arial" panose="020B0604020202020204"/>
              </a:rPr>
              <a:t>in the European Union </a:t>
            </a:r>
            <a:r>
              <a:rPr lang="en-US" sz="900" b="1" dirty="0">
                <a:latin typeface="Arial" panose="020B0604020202020204"/>
              </a:rPr>
              <a:t>led to 44% increase</a:t>
            </a:r>
            <a:r>
              <a:rPr lang="en-US" sz="900" dirty="0">
                <a:latin typeface="Arial" panose="020B0604020202020204"/>
              </a:rPr>
              <a:t> in </a:t>
            </a:r>
            <a:r>
              <a:rPr lang="en-US" sz="900" b="1" dirty="0">
                <a:latin typeface="Arial" panose="020B0604020202020204"/>
              </a:rPr>
              <a:t>patient access between 2006 and 2013</a:t>
            </a:r>
            <a:r>
              <a:rPr lang="en-US" sz="900" baseline="30000" dirty="0">
                <a:latin typeface="Arial" panose="020B0604020202020204"/>
              </a:rPr>
              <a:t>3</a:t>
            </a:r>
          </a:p>
          <a:p>
            <a:pPr marL="137160" indent="-137160" defTabSz="914378">
              <a:buSzPct val="125000"/>
              <a:buFont typeface="Arial" panose="020B0604020202020204" pitchFamily="34" charset="0"/>
              <a:buChar char="•"/>
            </a:pPr>
            <a:r>
              <a:rPr lang="en-US" sz="900" dirty="0">
                <a:latin typeface="Arial" panose="020B0604020202020204"/>
              </a:rPr>
              <a:t>The introduction of </a:t>
            </a:r>
            <a:r>
              <a:rPr lang="en-US" sz="900" b="1" dirty="0">
                <a:latin typeface="Arial" panose="020B0604020202020204"/>
              </a:rPr>
              <a:t>biosimilar G-CSF </a:t>
            </a:r>
            <a:r>
              <a:rPr lang="en-US" sz="900" dirty="0">
                <a:latin typeface="Arial" panose="020B0604020202020204"/>
              </a:rPr>
              <a:t>medicines has had the following impacts: </a:t>
            </a: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5-fold increase in the use of a reimbursed G-CSF</a:t>
            </a:r>
            <a:r>
              <a:rPr lang="en-US" sz="900" dirty="0">
                <a:latin typeface="Arial" panose="020B0604020202020204"/>
              </a:rPr>
              <a:t> biologic medicine in Sweden</a:t>
            </a:r>
            <a:r>
              <a:rPr lang="en-US" sz="900" baseline="30000" dirty="0">
                <a:latin typeface="Arial" panose="020B0604020202020204"/>
              </a:rPr>
              <a:t>4</a:t>
            </a:r>
            <a:r>
              <a:rPr lang="en-US" sz="900" dirty="0">
                <a:latin typeface="Arial" panose="020B0604020202020204"/>
              </a:rPr>
              <a:t> </a:t>
            </a:r>
          </a:p>
          <a:p>
            <a:pPr marL="308610" lvl="1" indent="-171450" defTabSz="914378">
              <a:spcAft>
                <a:spcPts val="300"/>
              </a:spcAft>
              <a:buSzPct val="100000"/>
              <a:buFont typeface="Courier New" panose="02070309020205020404" pitchFamily="49" charset="0"/>
              <a:buChar char="o"/>
              <a:defRPr/>
            </a:pPr>
            <a:r>
              <a:rPr lang="en-US" sz="900" b="1" dirty="0">
                <a:latin typeface="Arial" panose="020B0604020202020204"/>
              </a:rPr>
              <a:t>Decrease in hospitalizations </a:t>
            </a:r>
            <a:r>
              <a:rPr lang="en-US" sz="900" dirty="0">
                <a:latin typeface="Arial" panose="020B0604020202020204"/>
              </a:rPr>
              <a:t>for chemotherapy-induced febrile neutropenia in breast cancer </a:t>
            </a:r>
            <a:r>
              <a:rPr lang="en-US" sz="900" b="1" dirty="0">
                <a:latin typeface="Arial" panose="020B0604020202020204"/>
              </a:rPr>
              <a:t>from 33% to &lt;7% </a:t>
            </a:r>
            <a:r>
              <a:rPr lang="en-US" sz="900" dirty="0">
                <a:latin typeface="Arial" panose="020B0604020202020204"/>
              </a:rPr>
              <a:t>in New Zealand</a:t>
            </a:r>
            <a:r>
              <a:rPr lang="en-US" sz="900" baseline="30000" dirty="0">
                <a:latin typeface="Arial" panose="020B0604020202020204"/>
              </a:rPr>
              <a:t>5</a:t>
            </a:r>
          </a:p>
        </p:txBody>
      </p:sp>
      <p:cxnSp>
        <p:nvCxnSpPr>
          <p:cNvPr id="126" name="Straight Connector 125">
            <a:extLst>
              <a:ext uri="{FF2B5EF4-FFF2-40B4-BE49-F238E27FC236}">
                <a16:creationId xmlns:a16="http://schemas.microsoft.com/office/drawing/2014/main" id="{465387FE-6C2E-D9AA-07AF-E05F0DB1912C}"/>
              </a:ext>
            </a:extLst>
          </p:cNvPr>
          <p:cNvCxnSpPr>
            <a:cxnSpLocks/>
          </p:cNvCxnSpPr>
          <p:nvPr/>
        </p:nvCxnSpPr>
        <p:spPr>
          <a:xfrm>
            <a:off x="1343382" y="2171427"/>
            <a:ext cx="7343419" cy="0"/>
          </a:xfrm>
          <a:prstGeom prst="line">
            <a:avLst/>
          </a:prstGeom>
          <a:noFill/>
          <a:ln w="6350" cap="flat" cmpd="sng" algn="ctr">
            <a:solidFill>
              <a:schemeClr val="accent6"/>
            </a:solidFill>
            <a:prstDash val="solid"/>
            <a:tailEnd type="none"/>
          </a:ln>
          <a:effectLst/>
        </p:spPr>
      </p:cxnSp>
      <p:cxnSp>
        <p:nvCxnSpPr>
          <p:cNvPr id="127" name="Straight Connector 126">
            <a:extLst>
              <a:ext uri="{FF2B5EF4-FFF2-40B4-BE49-F238E27FC236}">
                <a16:creationId xmlns:a16="http://schemas.microsoft.com/office/drawing/2014/main" id="{FDB05DDA-A749-7E69-B68B-CAC951B5CEA1}"/>
              </a:ext>
            </a:extLst>
          </p:cNvPr>
          <p:cNvCxnSpPr>
            <a:cxnSpLocks/>
          </p:cNvCxnSpPr>
          <p:nvPr/>
        </p:nvCxnSpPr>
        <p:spPr>
          <a:xfrm>
            <a:off x="1343382" y="3354680"/>
            <a:ext cx="7343419" cy="0"/>
          </a:xfrm>
          <a:prstGeom prst="line">
            <a:avLst/>
          </a:prstGeom>
          <a:noFill/>
          <a:ln w="6350" cap="flat" cmpd="sng" algn="ctr">
            <a:solidFill>
              <a:schemeClr val="accent6"/>
            </a:solidFill>
            <a:prstDash val="solid"/>
            <a:tailEnd type="none"/>
          </a:ln>
          <a:effectLst/>
        </p:spPr>
      </p:cxnSp>
      <p:sp>
        <p:nvSpPr>
          <p:cNvPr id="6" name="Content Placeholder 5">
            <a:extLst>
              <a:ext uri="{FF2B5EF4-FFF2-40B4-BE49-F238E27FC236}">
                <a16:creationId xmlns:a16="http://schemas.microsoft.com/office/drawing/2014/main" id="{FDBEF10B-DD2D-0F40-63A9-CCD5BB010098}"/>
              </a:ext>
            </a:extLst>
          </p:cNvPr>
          <p:cNvSpPr txBox="1">
            <a:spLocks/>
          </p:cNvSpPr>
          <p:nvPr/>
        </p:nvSpPr>
        <p:spPr>
          <a:xfrm>
            <a:off x="1476638" y="3481855"/>
            <a:ext cx="7245849" cy="832856"/>
          </a:xfrm>
          <a:prstGeom prst="rect">
            <a:avLst/>
          </a:prstGeom>
        </p:spPr>
        <p:txBody>
          <a:bodyPr vert="horz" lIns="0" tIns="0" rIns="0" bIns="0" spcCol="182880" rtlCol="0">
            <a:normAutofit/>
          </a:bodyPr>
          <a:lstStyle>
            <a:lvl1pPr marL="231775" indent="-231775" algn="l" defTabSz="1219170" rtl="0" eaLnBrk="1" latinLnBrk="0" hangingPunct="1">
              <a:spcBef>
                <a:spcPts val="600"/>
              </a:spcBef>
              <a:buClrTx/>
              <a:buSzPct val="100000"/>
              <a:buFontTx/>
              <a:buBlip>
                <a:blip r:embed="rId3">
                  <a:extLst>
                    <a:ext uri="{96DAC541-7B7A-43D3-8B79-37D633B846F1}">
                      <asvg:svgBlip xmlns:asvg="http://schemas.microsoft.com/office/drawing/2016/SVG/main" r:embed="rId4"/>
                    </a:ext>
                  </a:extLst>
                </a:blip>
              </a:buBlip>
              <a:tabLst>
                <a:tab pos="5330825" algn="r"/>
                <a:tab pos="10971213" algn="r"/>
              </a:tabLst>
              <a:defRPr sz="1600" b="0" i="0" kern="1200" spc="0" baseline="0">
                <a:solidFill>
                  <a:srgbClr val="4D4D4D"/>
                </a:solidFill>
                <a:latin typeface="+mn-lt"/>
                <a:ea typeface="+mn-ea"/>
                <a:cs typeface="+mn-cs"/>
              </a:defRPr>
            </a:lvl1pPr>
            <a:lvl2pPr marL="460375" indent="-228600" algn="l" defTabSz="1219170" rtl="0" eaLnBrk="1" latinLnBrk="0" hangingPunct="1">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kern="1200" spc="0" baseline="0">
                <a:solidFill>
                  <a:srgbClr val="4D4D4D"/>
                </a:solidFill>
                <a:latin typeface="+mn-lt"/>
                <a:ea typeface="+mn-ea"/>
                <a:cs typeface="+mn-cs"/>
              </a:defRPr>
            </a:lvl2pPr>
            <a:lvl3pPr marL="687388" indent="-227013" algn="l" defTabSz="1219170" rtl="0" eaLnBrk="1" latinLnBrk="0" hangingPunct="1">
              <a:spcBef>
                <a:spcPts val="600"/>
              </a:spcBef>
              <a:buClrTx/>
              <a:buSzPct val="100000"/>
              <a:buFontTx/>
              <a:buBlip>
                <a:blip r:embed="rId7">
                  <a:extLst>
                    <a:ext uri="{96DAC541-7B7A-43D3-8B79-37D633B846F1}">
                      <asvg:svgBlip xmlns:asvg="http://schemas.microsoft.com/office/drawing/2016/SVG/main" r:embed="rId8"/>
                    </a:ext>
                  </a:extLst>
                </a:blip>
              </a:buBlip>
              <a:tabLst/>
              <a:defRPr sz="1600" b="0" i="0" kern="1200" spc="0" baseline="0">
                <a:solidFill>
                  <a:srgbClr val="4D4D4D"/>
                </a:solidFill>
                <a:latin typeface="+mn-lt"/>
                <a:ea typeface="+mn-ea"/>
                <a:cs typeface="+mn-cs"/>
              </a:defRPr>
            </a:lvl3pPr>
            <a:lvl4pPr marL="914378" indent="0" algn="l" defTabSz="1219170" rtl="0" eaLnBrk="1" latinLnBrk="0" hangingPunct="1">
              <a:spcBef>
                <a:spcPts val="400"/>
              </a:spcBef>
              <a:buClrTx/>
              <a:buSzPct val="100000"/>
              <a:buFont typeface="Arial" pitchFamily="34" charset="0"/>
              <a:buNone/>
              <a:defRPr sz="1600" b="0" i="0" kern="1200" spc="0" baseline="0">
                <a:solidFill>
                  <a:schemeClr val="tx2"/>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2"/>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defTabSz="685800">
              <a:spcBef>
                <a:spcPts val="450"/>
              </a:spcBef>
              <a:spcAft>
                <a:spcPts val="300"/>
              </a:spcAft>
              <a:buSzPct val="125000"/>
              <a:buNone/>
              <a:tabLst>
                <a:tab pos="3998119" algn="r"/>
                <a:tab pos="8228410" algn="r"/>
              </a:tabLst>
              <a:defRPr/>
            </a:pPr>
            <a:r>
              <a:rPr lang="en-GB" sz="900" b="1" spc="50">
                <a:solidFill>
                  <a:schemeClr val="accent4">
                    <a:lumMod val="75000"/>
                  </a:schemeClr>
                </a:solidFill>
                <a:latin typeface="Arial" panose="020B0604020202020204"/>
              </a:rPr>
              <a:t>Rheumatology</a:t>
            </a:r>
          </a:p>
          <a:p>
            <a:pPr marL="137160" indent="-137160" defTabSz="914378">
              <a:spcBef>
                <a:spcPts val="450"/>
              </a:spcBef>
              <a:buFont typeface="Arial" panose="020B0604020202020204" pitchFamily="34" charset="0"/>
              <a:buChar char="•"/>
              <a:tabLst>
                <a:tab pos="3998119" algn="r"/>
                <a:tab pos="8228410" algn="r"/>
              </a:tabLst>
            </a:pPr>
            <a:r>
              <a:rPr lang="en-US" sz="900">
                <a:solidFill>
                  <a:schemeClr val="tx1"/>
                </a:solidFill>
                <a:latin typeface="Arial" panose="020B0604020202020204"/>
              </a:rPr>
              <a:t>The introduction of </a:t>
            </a:r>
            <a:r>
              <a:rPr lang="en-US" sz="900" b="1">
                <a:solidFill>
                  <a:schemeClr val="tx1"/>
                </a:solidFill>
                <a:latin typeface="Arial" panose="020B0604020202020204"/>
              </a:rPr>
              <a:t>biosimilar TNF-</a:t>
            </a:r>
            <a:r>
              <a:rPr lang="el-GR" sz="900" b="1">
                <a:solidFill>
                  <a:schemeClr val="tx1"/>
                </a:solidFill>
                <a:latin typeface="Arial" panose="020B0604020202020204"/>
              </a:rPr>
              <a:t>α</a:t>
            </a:r>
            <a:r>
              <a:rPr lang="en-US" sz="900" b="1">
                <a:solidFill>
                  <a:schemeClr val="tx1"/>
                </a:solidFill>
                <a:latin typeface="Arial" panose="020B0604020202020204"/>
              </a:rPr>
              <a:t> inhibitors </a:t>
            </a:r>
            <a:r>
              <a:rPr lang="en-US" sz="900">
                <a:solidFill>
                  <a:schemeClr val="tx1"/>
                </a:solidFill>
                <a:latin typeface="Arial" panose="020B0604020202020204"/>
              </a:rPr>
              <a:t>for rheumatoid arthritis in Europe </a:t>
            </a:r>
            <a:r>
              <a:rPr lang="en-US" sz="900" b="1">
                <a:solidFill>
                  <a:schemeClr val="tx1"/>
                </a:solidFill>
                <a:latin typeface="Arial" panose="020B0604020202020204"/>
              </a:rPr>
              <a:t>led to</a:t>
            </a:r>
            <a:r>
              <a:rPr lang="en-US" sz="900" baseline="30000">
                <a:solidFill>
                  <a:schemeClr val="tx1"/>
                </a:solidFill>
                <a:latin typeface="Arial" panose="020B0604020202020204"/>
              </a:rPr>
              <a:t>6</a:t>
            </a:r>
            <a:r>
              <a:rPr lang="en-US" sz="900" b="1">
                <a:solidFill>
                  <a:schemeClr val="tx1"/>
                </a:solidFill>
                <a:latin typeface="Arial" panose="020B0604020202020204"/>
              </a:rPr>
              <a:t>:</a:t>
            </a:r>
            <a:endParaRPr lang="en-US" sz="900" baseline="30000">
              <a:solidFill>
                <a:schemeClr val="tx1"/>
              </a:solidFill>
              <a:latin typeface="Arial" panose="020B0604020202020204"/>
            </a:endParaRPr>
          </a:p>
          <a:p>
            <a:pPr marL="308610" lvl="1" indent="-171450" defTabSz="914378">
              <a:spcBef>
                <a:spcPts val="450"/>
              </a:spcBef>
              <a:buFont typeface="Courier New" panose="02070309020205020404" pitchFamily="49" charset="0"/>
              <a:buChar char="o"/>
            </a:pPr>
            <a:r>
              <a:rPr lang="en-US" sz="900" b="1">
                <a:solidFill>
                  <a:schemeClr val="tx1"/>
                </a:solidFill>
                <a:latin typeface="Arial" panose="020B0604020202020204"/>
              </a:rPr>
              <a:t>A 19% increase</a:t>
            </a:r>
            <a:r>
              <a:rPr lang="en-US" sz="900">
                <a:solidFill>
                  <a:schemeClr val="tx1"/>
                </a:solidFill>
                <a:latin typeface="Arial" panose="020B0604020202020204"/>
              </a:rPr>
              <a:t> in the </a:t>
            </a:r>
            <a:r>
              <a:rPr lang="en-US" sz="900" b="1">
                <a:solidFill>
                  <a:schemeClr val="tx1"/>
                </a:solidFill>
                <a:latin typeface="Arial" panose="020B0604020202020204"/>
              </a:rPr>
              <a:t>use of TNF-</a:t>
            </a:r>
            <a:r>
              <a:rPr lang="el-GR" sz="900" b="1">
                <a:solidFill>
                  <a:schemeClr val="tx1"/>
                </a:solidFill>
                <a:latin typeface="Arial" panose="020B0604020202020204"/>
              </a:rPr>
              <a:t>α</a:t>
            </a:r>
            <a:r>
              <a:rPr lang="en-US" sz="900" b="1">
                <a:solidFill>
                  <a:schemeClr val="tx1"/>
                </a:solidFill>
                <a:latin typeface="Arial" panose="020B0604020202020204"/>
              </a:rPr>
              <a:t> inhibitors </a:t>
            </a:r>
            <a:r>
              <a:rPr lang="en-US" sz="900">
                <a:solidFill>
                  <a:schemeClr val="tx1"/>
                </a:solidFill>
                <a:latin typeface="Arial" panose="020B0604020202020204"/>
              </a:rPr>
              <a:t>per treatment day, compared with 1 year prior to their market release</a:t>
            </a:r>
            <a:endParaRPr lang="en-US" sz="900" baseline="30000">
              <a:solidFill>
                <a:schemeClr val="tx1"/>
              </a:solidFill>
              <a:latin typeface="Arial" panose="020B0604020202020204"/>
            </a:endParaRPr>
          </a:p>
          <a:p>
            <a:pPr marL="308610" lvl="1" indent="-171450" defTabSz="914378">
              <a:spcBef>
                <a:spcPts val="450"/>
              </a:spcBef>
              <a:buFont typeface="Courier New" panose="02070309020205020404" pitchFamily="49" charset="0"/>
              <a:buChar char="o"/>
            </a:pPr>
            <a:r>
              <a:rPr lang="en-US" sz="900" b="1">
                <a:solidFill>
                  <a:schemeClr val="tx1"/>
                </a:solidFill>
                <a:latin typeface="Arial" panose="020B0604020202020204"/>
              </a:rPr>
              <a:t>A 13% decrease </a:t>
            </a:r>
            <a:r>
              <a:rPr lang="en-US" sz="900">
                <a:solidFill>
                  <a:schemeClr val="tx1"/>
                </a:solidFill>
                <a:latin typeface="Arial" panose="020B0604020202020204"/>
              </a:rPr>
              <a:t>in the </a:t>
            </a:r>
            <a:r>
              <a:rPr lang="en-US" sz="900" b="1">
                <a:solidFill>
                  <a:schemeClr val="tx1"/>
                </a:solidFill>
                <a:latin typeface="Arial" panose="020B0604020202020204"/>
              </a:rPr>
              <a:t>price of treatment per day</a:t>
            </a:r>
            <a:r>
              <a:rPr lang="en-US" sz="900">
                <a:solidFill>
                  <a:schemeClr val="tx1"/>
                </a:solidFill>
                <a:latin typeface="Arial" panose="020B0604020202020204"/>
              </a:rPr>
              <a:t>, compared with 1 year prior to their market release</a:t>
            </a:r>
          </a:p>
          <a:p>
            <a:pPr marL="173831" indent="-173831" defTabSz="914378">
              <a:spcBef>
                <a:spcPts val="450"/>
              </a:spcBef>
              <a:tabLst>
                <a:tab pos="3998119" algn="r"/>
                <a:tab pos="8228410" algn="r"/>
              </a:tabLst>
            </a:pPr>
            <a:endParaRPr lang="en-US" sz="900">
              <a:solidFill>
                <a:schemeClr val="tx1"/>
              </a:solidFill>
              <a:latin typeface="Arial" panose="020B0604020202020204"/>
            </a:endParaRPr>
          </a:p>
        </p:txBody>
      </p:sp>
      <p:sp>
        <p:nvSpPr>
          <p:cNvPr id="10" name="Footer Placeholder 66">
            <a:extLst>
              <a:ext uri="{FF2B5EF4-FFF2-40B4-BE49-F238E27FC236}">
                <a16:creationId xmlns:a16="http://schemas.microsoft.com/office/drawing/2014/main" id="{F2374353-0129-0FE9-3701-CA923B7914C0}"/>
              </a:ext>
            </a:extLst>
          </p:cNvPr>
          <p:cNvSpPr txBox="1">
            <a:spLocks/>
          </p:cNvSpPr>
          <p:nvPr/>
        </p:nvSpPr>
        <p:spPr>
          <a:xfrm>
            <a:off x="420574" y="4550229"/>
            <a:ext cx="7097350" cy="277125"/>
          </a:xfrm>
          <a:prstGeom prst="rect">
            <a:avLst/>
          </a:prstGeom>
        </p:spPr>
        <p:txBody>
          <a:bodyPr vert="horz" lIns="0" tIns="0" rIns="0" bIns="0" rtlCol="0" anchor="t" anchorCtr="0"/>
          <a:lstStyle>
            <a:defPPr>
              <a:defRPr lang="en-US"/>
            </a:defPPr>
            <a:lvl1pPr marL="0" algn="l" defTabSz="914400" rtl="0" eaLnBrk="1" latinLnBrk="0" hangingPunct="1">
              <a:defRPr sz="675"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 b="0" dirty="0">
                <a:solidFill>
                  <a:srgbClr val="4D4D57"/>
                </a:solidFill>
              </a:rPr>
              <a:t>G-CSF, granulocyte colony-stimulating factor; IBD, inflammatory bowel disease; TNF, tumor necrosis factor.</a:t>
            </a:r>
          </a:p>
          <a:p>
            <a:r>
              <a:rPr lang="en-US" sz="500" b="0" dirty="0">
                <a:solidFill>
                  <a:srgbClr val="4D4D57"/>
                </a:solidFill>
              </a:rPr>
              <a:t>1. Bhat S, et al. </a:t>
            </a:r>
            <a:r>
              <a:rPr lang="en-US" sz="500" b="0" i="1" dirty="0">
                <a:solidFill>
                  <a:srgbClr val="4D4D57"/>
                </a:solidFill>
              </a:rPr>
              <a:t>J </a:t>
            </a:r>
            <a:r>
              <a:rPr lang="en-US" sz="500" b="0" i="1" dirty="0" err="1">
                <a:solidFill>
                  <a:srgbClr val="4D4D57"/>
                </a:solidFill>
              </a:rPr>
              <a:t>Manag</a:t>
            </a:r>
            <a:r>
              <a:rPr lang="en-US" sz="500" b="0" i="1" dirty="0">
                <a:solidFill>
                  <a:srgbClr val="4D4D57"/>
                </a:solidFill>
              </a:rPr>
              <a:t> Care Spec Pharm</a:t>
            </a:r>
            <a:r>
              <a:rPr lang="en-US" sz="500" b="0" dirty="0">
                <a:solidFill>
                  <a:srgbClr val="4D4D57"/>
                </a:solidFill>
              </a:rPr>
              <a:t> 2020;26(4):410–416; 2. Qian J. </a:t>
            </a:r>
            <a:r>
              <a:rPr lang="en-US" sz="500" b="0" i="1" dirty="0">
                <a:solidFill>
                  <a:srgbClr val="4D4D57"/>
                </a:solidFill>
              </a:rPr>
              <a:t>J </a:t>
            </a:r>
            <a:r>
              <a:rPr lang="en-US" sz="500" b="0" i="1" dirty="0" err="1">
                <a:solidFill>
                  <a:srgbClr val="4D4D57"/>
                </a:solidFill>
              </a:rPr>
              <a:t>Manag</a:t>
            </a:r>
            <a:r>
              <a:rPr lang="en-US" sz="500" b="0" i="1" dirty="0">
                <a:solidFill>
                  <a:srgbClr val="4D4D57"/>
                </a:solidFill>
              </a:rPr>
              <a:t> Care Spec Pharm </a:t>
            </a:r>
            <a:r>
              <a:rPr lang="en-US" sz="500" b="0" dirty="0">
                <a:solidFill>
                  <a:srgbClr val="4D4D57"/>
                </a:solidFill>
              </a:rPr>
              <a:t>2021;27(5):660–666; 3. Medicines for Europe. Factsheet on biosimilar medicine. Available at: https://www.medicinesforeurope.com/wp-content/uploads/2016/04/6.-Biosimilar-Medicines_On-Biosimilar-Medicines.pdf. Accessed December 2023; </a:t>
            </a:r>
            <a:r>
              <a:rPr lang="da-DK" sz="500" b="0" dirty="0">
                <a:solidFill>
                  <a:srgbClr val="4D4D57"/>
                </a:solidFill>
                <a:ea typeface="Calibri" panose="020F0502020204030204" pitchFamily="34" charset="0"/>
                <a:cs typeface="Times New Roman" panose="02020603050405020304" pitchFamily="18" charset="0"/>
              </a:rPr>
              <a:t>4. </a:t>
            </a:r>
            <a:r>
              <a:rPr lang="da-DK" sz="500" b="0" dirty="0" err="1">
                <a:solidFill>
                  <a:srgbClr val="4D4D57"/>
                </a:solidFill>
                <a:ea typeface="Calibri" panose="020F0502020204030204" pitchFamily="34" charset="0"/>
                <a:cs typeface="Times New Roman" panose="02020603050405020304" pitchFamily="18" charset="0"/>
              </a:rPr>
              <a:t>Gascon</a:t>
            </a:r>
            <a:r>
              <a:rPr lang="da-DK" sz="500" b="0" dirty="0">
                <a:solidFill>
                  <a:srgbClr val="4D4D57"/>
                </a:solidFill>
                <a:ea typeface="Calibri" panose="020F0502020204030204" pitchFamily="34" charset="0"/>
                <a:cs typeface="Times New Roman" panose="02020603050405020304" pitchFamily="18" charset="0"/>
              </a:rPr>
              <a:t> P, et al. </a:t>
            </a:r>
            <a:r>
              <a:rPr lang="da-DK" sz="500" b="0" i="1" dirty="0">
                <a:solidFill>
                  <a:srgbClr val="4D4D57"/>
                </a:solidFill>
                <a:ea typeface="Calibri" panose="020F0502020204030204" pitchFamily="34" charset="0"/>
                <a:cs typeface="Times New Roman" panose="02020603050405020304" pitchFamily="18" charset="0"/>
              </a:rPr>
              <a:t>Support Care Cancer </a:t>
            </a:r>
            <a:r>
              <a:rPr lang="da-DK" sz="500" b="0" dirty="0">
                <a:solidFill>
                  <a:srgbClr val="4D4D57"/>
                </a:solidFill>
                <a:ea typeface="Calibri" panose="020F0502020204030204" pitchFamily="34" charset="0"/>
                <a:cs typeface="Times New Roman" panose="02020603050405020304" pitchFamily="18" charset="0"/>
              </a:rPr>
              <a:t>2013;21:2925–2931; 5. </a:t>
            </a:r>
            <a:r>
              <a:rPr lang="da-DK" sz="500" b="0" dirty="0" err="1">
                <a:solidFill>
                  <a:srgbClr val="4D4D57"/>
                </a:solidFill>
                <a:ea typeface="Calibri" panose="020F0502020204030204" pitchFamily="34" charset="0"/>
                <a:cs typeface="Times New Roman" panose="02020603050405020304" pitchFamily="18" charset="0"/>
              </a:rPr>
              <a:t>Cornes</a:t>
            </a:r>
            <a:r>
              <a:rPr lang="da-DK" sz="500" b="0" dirty="0">
                <a:solidFill>
                  <a:srgbClr val="4D4D57"/>
                </a:solidFill>
                <a:ea typeface="Calibri" panose="020F0502020204030204" pitchFamily="34" charset="0"/>
                <a:cs typeface="Times New Roman" panose="02020603050405020304" pitchFamily="18" charset="0"/>
              </a:rPr>
              <a:t> P, et al. </a:t>
            </a:r>
            <a:r>
              <a:rPr lang="da-DK" sz="500" b="0" i="1" dirty="0" err="1">
                <a:solidFill>
                  <a:srgbClr val="4D4D57"/>
                </a:solidFill>
                <a:ea typeface="Calibri" panose="020F0502020204030204" pitchFamily="34" charset="0"/>
                <a:cs typeface="Times New Roman" panose="02020603050405020304" pitchFamily="18" charset="0"/>
              </a:rPr>
              <a:t>BioDrugs</a:t>
            </a:r>
            <a:r>
              <a:rPr lang="da-DK" sz="500" b="0" dirty="0">
                <a:solidFill>
                  <a:srgbClr val="4D4D57"/>
                </a:solidFill>
                <a:ea typeface="Calibri" panose="020F0502020204030204" pitchFamily="34" charset="0"/>
                <a:cs typeface="Times New Roman" panose="02020603050405020304" pitchFamily="18" charset="0"/>
              </a:rPr>
              <a:t> 2020;34:255–263;</a:t>
            </a:r>
            <a:r>
              <a:rPr lang="en-US" sz="500" b="0" dirty="0">
                <a:solidFill>
                  <a:srgbClr val="4D4D57"/>
                </a:solidFill>
              </a:rPr>
              <a:t> 6. </a:t>
            </a:r>
            <a:r>
              <a:rPr lang="nl-NL" sz="500" b="0" dirty="0" err="1">
                <a:solidFill>
                  <a:srgbClr val="4D4D57"/>
                </a:solidFill>
              </a:rPr>
              <a:t>Smolen</a:t>
            </a:r>
            <a:r>
              <a:rPr lang="nl-NL" sz="500" b="0" dirty="0">
                <a:solidFill>
                  <a:srgbClr val="4D4D57"/>
                </a:solidFill>
              </a:rPr>
              <a:t> JS, et al. </a:t>
            </a:r>
            <a:r>
              <a:rPr lang="nl-NL" sz="500" b="0" i="1" dirty="0">
                <a:solidFill>
                  <a:srgbClr val="4D4D57"/>
                </a:solidFill>
              </a:rPr>
              <a:t>RMD Open </a:t>
            </a:r>
            <a:r>
              <a:rPr lang="nl-NL" sz="500" b="0" dirty="0">
                <a:solidFill>
                  <a:srgbClr val="4D4D57"/>
                </a:solidFill>
              </a:rPr>
              <a:t>2019;5:e000900.</a:t>
            </a:r>
            <a:endParaRPr lang="en-US" sz="500" b="0" dirty="0">
              <a:solidFill>
                <a:srgbClr val="4D4D57"/>
              </a:solidFill>
            </a:endParaRPr>
          </a:p>
        </p:txBody>
      </p:sp>
      <p:sp>
        <p:nvSpPr>
          <p:cNvPr id="22" name="Freeform 23">
            <a:extLst>
              <a:ext uri="{FF2B5EF4-FFF2-40B4-BE49-F238E27FC236}">
                <a16:creationId xmlns:a16="http://schemas.microsoft.com/office/drawing/2014/main" id="{CBF86594-1CCE-97F8-53DD-5E93BA6E4EB8}"/>
              </a:ext>
            </a:extLst>
          </p:cNvPr>
          <p:cNvSpPr>
            <a:spLocks/>
          </p:cNvSpPr>
          <p:nvPr/>
        </p:nvSpPr>
        <p:spPr bwMode="auto">
          <a:xfrm>
            <a:off x="680267" y="1631979"/>
            <a:ext cx="389253" cy="389253"/>
          </a:xfrm>
          <a:custGeom>
            <a:avLst/>
            <a:gdLst>
              <a:gd name="T0" fmla="*/ 170 w 192"/>
              <a:gd name="T1" fmla="*/ 0 h 192"/>
              <a:gd name="T2" fmla="*/ 116 w 192"/>
              <a:gd name="T3" fmla="*/ 22 h 192"/>
              <a:gd name="T4" fmla="*/ 61 w 192"/>
              <a:gd name="T5" fmla="*/ 18 h 192"/>
              <a:gd name="T6" fmla="*/ 35 w 192"/>
              <a:gd name="T7" fmla="*/ 12 h 192"/>
              <a:gd name="T8" fmla="*/ 4 w 192"/>
              <a:gd name="T9" fmla="*/ 42 h 192"/>
              <a:gd name="T10" fmla="*/ 0 w 192"/>
              <a:gd name="T11" fmla="*/ 78 h 192"/>
              <a:gd name="T12" fmla="*/ 20 w 192"/>
              <a:gd name="T13" fmla="*/ 128 h 192"/>
              <a:gd name="T14" fmla="*/ 28 w 192"/>
              <a:gd name="T15" fmla="*/ 140 h 192"/>
              <a:gd name="T16" fmla="*/ 42 w 192"/>
              <a:gd name="T17" fmla="*/ 88 h 192"/>
              <a:gd name="T18" fmla="*/ 44 w 192"/>
              <a:gd name="T19" fmla="*/ 55 h 192"/>
              <a:gd name="T20" fmla="*/ 71 w 192"/>
              <a:gd name="T21" fmla="*/ 60 h 192"/>
              <a:gd name="T22" fmla="*/ 108 w 192"/>
              <a:gd name="T23" fmla="*/ 64 h 192"/>
              <a:gd name="T24" fmla="*/ 148 w 192"/>
              <a:gd name="T25" fmla="*/ 51 h 192"/>
              <a:gd name="T26" fmla="*/ 148 w 192"/>
              <a:gd name="T27" fmla="*/ 70 h 192"/>
              <a:gd name="T28" fmla="*/ 152 w 192"/>
              <a:gd name="T29" fmla="*/ 106 h 192"/>
              <a:gd name="T30" fmla="*/ 126 w 192"/>
              <a:gd name="T31" fmla="*/ 120 h 192"/>
              <a:gd name="T32" fmla="*/ 76 w 192"/>
              <a:gd name="T33" fmla="*/ 136 h 192"/>
              <a:gd name="T34" fmla="*/ 89 w 192"/>
              <a:gd name="T35" fmla="*/ 192 h 192"/>
              <a:gd name="T36" fmla="*/ 96 w 192"/>
              <a:gd name="T37" fmla="*/ 124 h 192"/>
              <a:gd name="T38" fmla="*/ 122 w 192"/>
              <a:gd name="T39" fmla="*/ 126 h 192"/>
              <a:gd name="T40" fmla="*/ 151 w 192"/>
              <a:gd name="T41" fmla="*/ 125 h 192"/>
              <a:gd name="T42" fmla="*/ 156 w 192"/>
              <a:gd name="T43" fmla="*/ 118 h 192"/>
              <a:gd name="T44" fmla="*/ 156 w 192"/>
              <a:gd name="T45" fmla="*/ 94 h 192"/>
              <a:gd name="T46" fmla="*/ 156 w 192"/>
              <a:gd name="T47" fmla="*/ 70 h 192"/>
              <a:gd name="T48" fmla="*/ 157 w 192"/>
              <a:gd name="T49" fmla="*/ 52 h 192"/>
              <a:gd name="T50" fmla="*/ 164 w 192"/>
              <a:gd name="T51" fmla="*/ 40 h 192"/>
              <a:gd name="T52" fmla="*/ 125 w 192"/>
              <a:gd name="T53" fmla="*/ 51 h 192"/>
              <a:gd name="T54" fmla="*/ 92 w 192"/>
              <a:gd name="T55" fmla="*/ 54 h 192"/>
              <a:gd name="T56" fmla="*/ 51 w 192"/>
              <a:gd name="T57" fmla="*/ 49 h 192"/>
              <a:gd name="T58" fmla="*/ 22 w 192"/>
              <a:gd name="T59" fmla="*/ 44 h 192"/>
              <a:gd name="T60" fmla="*/ 34 w 192"/>
              <a:gd name="T61" fmla="*/ 62 h 192"/>
              <a:gd name="T62" fmla="*/ 35 w 192"/>
              <a:gd name="T63" fmla="*/ 84 h 192"/>
              <a:gd name="T64" fmla="*/ 28 w 192"/>
              <a:gd name="T65" fmla="*/ 120 h 192"/>
              <a:gd name="T66" fmla="*/ 20 w 192"/>
              <a:gd name="T67" fmla="*/ 112 h 192"/>
              <a:gd name="T68" fmla="*/ 11 w 192"/>
              <a:gd name="T69" fmla="*/ 95 h 192"/>
              <a:gd name="T70" fmla="*/ 10 w 192"/>
              <a:gd name="T71" fmla="*/ 70 h 192"/>
              <a:gd name="T72" fmla="*/ 10 w 192"/>
              <a:gd name="T73" fmla="*/ 46 h 192"/>
              <a:gd name="T74" fmla="*/ 22 w 192"/>
              <a:gd name="T75" fmla="*/ 16 h 192"/>
              <a:gd name="T76" fmla="*/ 38 w 192"/>
              <a:gd name="T77" fmla="*/ 20 h 192"/>
              <a:gd name="T78" fmla="*/ 70 w 192"/>
              <a:gd name="T79" fmla="*/ 29 h 192"/>
              <a:gd name="T80" fmla="*/ 100 w 192"/>
              <a:gd name="T81" fmla="*/ 30 h 192"/>
              <a:gd name="T82" fmla="*/ 134 w 192"/>
              <a:gd name="T83" fmla="*/ 24 h 192"/>
              <a:gd name="T84" fmla="*/ 154 w 192"/>
              <a:gd name="T85" fmla="*/ 16 h 192"/>
              <a:gd name="T86" fmla="*/ 170 w 192"/>
              <a:gd name="T87" fmla="*/ 8 h 192"/>
              <a:gd name="T88" fmla="*/ 182 w 192"/>
              <a:gd name="T89" fmla="*/ 38 h 192"/>
              <a:gd name="T90" fmla="*/ 182 w 192"/>
              <a:gd name="T91" fmla="*/ 62 h 192"/>
              <a:gd name="T92" fmla="*/ 182 w 192"/>
              <a:gd name="T93" fmla="*/ 86 h 192"/>
              <a:gd name="T94" fmla="*/ 182 w 192"/>
              <a:gd name="T95" fmla="*/ 110 h 192"/>
              <a:gd name="T96" fmla="*/ 176 w 192"/>
              <a:gd name="T97" fmla="*/ 133 h 192"/>
              <a:gd name="T98" fmla="*/ 156 w 192"/>
              <a:gd name="T99" fmla="*/ 147 h 192"/>
              <a:gd name="T100" fmla="*/ 122 w 192"/>
              <a:gd name="T101" fmla="*/ 150 h 192"/>
              <a:gd name="T102" fmla="*/ 96 w 192"/>
              <a:gd name="T103" fmla="*/ 141 h 192"/>
              <a:gd name="T104" fmla="*/ 105 w 192"/>
              <a:gd name="T105" fmla="*/ 158 h 192"/>
              <a:gd name="T106" fmla="*/ 104 w 192"/>
              <a:gd name="T107" fmla="*/ 192 h 192"/>
              <a:gd name="T108" fmla="*/ 114 w 192"/>
              <a:gd name="T109" fmla="*/ 160 h 192"/>
              <a:gd name="T110" fmla="*/ 153 w 192"/>
              <a:gd name="T111" fmla="*/ 154 h 192"/>
              <a:gd name="T112" fmla="*/ 192 w 192"/>
              <a:gd name="T113" fmla="*/ 118 h 192"/>
              <a:gd name="T114" fmla="*/ 188 w 192"/>
              <a:gd name="T115" fmla="*/ 82 h 192"/>
              <a:gd name="T116" fmla="*/ 192 w 192"/>
              <a:gd name="T117" fmla="*/ 4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188" y="34"/>
                </a:moveTo>
                <a:cubicBezTo>
                  <a:pt x="191" y="30"/>
                  <a:pt x="192" y="26"/>
                  <a:pt x="192" y="22"/>
                </a:cubicBezTo>
                <a:cubicBezTo>
                  <a:pt x="192" y="10"/>
                  <a:pt x="182" y="0"/>
                  <a:pt x="170" y="0"/>
                </a:cubicBezTo>
                <a:cubicBezTo>
                  <a:pt x="163" y="0"/>
                  <a:pt x="157" y="3"/>
                  <a:pt x="153" y="8"/>
                </a:cubicBezTo>
                <a:cubicBezTo>
                  <a:pt x="146" y="8"/>
                  <a:pt x="141" y="11"/>
                  <a:pt x="137" y="17"/>
                </a:cubicBezTo>
                <a:cubicBezTo>
                  <a:pt x="129" y="15"/>
                  <a:pt x="121" y="17"/>
                  <a:pt x="116" y="22"/>
                </a:cubicBezTo>
                <a:cubicBezTo>
                  <a:pt x="110" y="19"/>
                  <a:pt x="102" y="20"/>
                  <a:pt x="96" y="23"/>
                </a:cubicBezTo>
                <a:cubicBezTo>
                  <a:pt x="90" y="19"/>
                  <a:pt x="81" y="19"/>
                  <a:pt x="75" y="22"/>
                </a:cubicBezTo>
                <a:cubicBezTo>
                  <a:pt x="71" y="20"/>
                  <a:pt x="66" y="18"/>
                  <a:pt x="61" y="18"/>
                </a:cubicBezTo>
                <a:cubicBezTo>
                  <a:pt x="59" y="18"/>
                  <a:pt x="56" y="18"/>
                  <a:pt x="54" y="19"/>
                </a:cubicBezTo>
                <a:cubicBezTo>
                  <a:pt x="50" y="15"/>
                  <a:pt x="44" y="12"/>
                  <a:pt x="38" y="12"/>
                </a:cubicBezTo>
                <a:cubicBezTo>
                  <a:pt x="37" y="12"/>
                  <a:pt x="36" y="12"/>
                  <a:pt x="35" y="12"/>
                </a:cubicBezTo>
                <a:cubicBezTo>
                  <a:pt x="31" y="9"/>
                  <a:pt x="27" y="8"/>
                  <a:pt x="22" y="8"/>
                </a:cubicBezTo>
                <a:cubicBezTo>
                  <a:pt x="10" y="8"/>
                  <a:pt x="0" y="18"/>
                  <a:pt x="0" y="30"/>
                </a:cubicBezTo>
                <a:cubicBezTo>
                  <a:pt x="0" y="34"/>
                  <a:pt x="1" y="38"/>
                  <a:pt x="4" y="42"/>
                </a:cubicBezTo>
                <a:cubicBezTo>
                  <a:pt x="1" y="46"/>
                  <a:pt x="0" y="50"/>
                  <a:pt x="0" y="54"/>
                </a:cubicBezTo>
                <a:cubicBezTo>
                  <a:pt x="0" y="58"/>
                  <a:pt x="1" y="62"/>
                  <a:pt x="4" y="66"/>
                </a:cubicBezTo>
                <a:cubicBezTo>
                  <a:pt x="1" y="70"/>
                  <a:pt x="0" y="74"/>
                  <a:pt x="0" y="78"/>
                </a:cubicBezTo>
                <a:cubicBezTo>
                  <a:pt x="0" y="83"/>
                  <a:pt x="1" y="87"/>
                  <a:pt x="4" y="91"/>
                </a:cubicBezTo>
                <a:cubicBezTo>
                  <a:pt x="1" y="95"/>
                  <a:pt x="0" y="99"/>
                  <a:pt x="0" y="104"/>
                </a:cubicBezTo>
                <a:cubicBezTo>
                  <a:pt x="0" y="119"/>
                  <a:pt x="7" y="126"/>
                  <a:pt x="20" y="128"/>
                </a:cubicBezTo>
                <a:cubicBezTo>
                  <a:pt x="20" y="140"/>
                  <a:pt x="20" y="140"/>
                  <a:pt x="20" y="140"/>
                </a:cubicBezTo>
                <a:cubicBezTo>
                  <a:pt x="20" y="142"/>
                  <a:pt x="22" y="144"/>
                  <a:pt x="24" y="144"/>
                </a:cubicBezTo>
                <a:cubicBezTo>
                  <a:pt x="26" y="144"/>
                  <a:pt x="28" y="142"/>
                  <a:pt x="28" y="140"/>
                </a:cubicBezTo>
                <a:cubicBezTo>
                  <a:pt x="28" y="128"/>
                  <a:pt x="28" y="128"/>
                  <a:pt x="28" y="128"/>
                </a:cubicBezTo>
                <a:cubicBezTo>
                  <a:pt x="41" y="126"/>
                  <a:pt x="48" y="119"/>
                  <a:pt x="48" y="104"/>
                </a:cubicBezTo>
                <a:cubicBezTo>
                  <a:pt x="48" y="98"/>
                  <a:pt x="46" y="92"/>
                  <a:pt x="42" y="88"/>
                </a:cubicBezTo>
                <a:cubicBezTo>
                  <a:pt x="43" y="85"/>
                  <a:pt x="44" y="81"/>
                  <a:pt x="44" y="78"/>
                </a:cubicBezTo>
                <a:cubicBezTo>
                  <a:pt x="44" y="74"/>
                  <a:pt x="43" y="70"/>
                  <a:pt x="40" y="66"/>
                </a:cubicBezTo>
                <a:cubicBezTo>
                  <a:pt x="43" y="63"/>
                  <a:pt x="44" y="59"/>
                  <a:pt x="44" y="55"/>
                </a:cubicBezTo>
                <a:cubicBezTo>
                  <a:pt x="44" y="55"/>
                  <a:pt x="45" y="55"/>
                  <a:pt x="45" y="55"/>
                </a:cubicBezTo>
                <a:cubicBezTo>
                  <a:pt x="49" y="59"/>
                  <a:pt x="55" y="62"/>
                  <a:pt x="61" y="62"/>
                </a:cubicBezTo>
                <a:cubicBezTo>
                  <a:pt x="65" y="62"/>
                  <a:pt x="68" y="61"/>
                  <a:pt x="71" y="60"/>
                </a:cubicBezTo>
                <a:cubicBezTo>
                  <a:pt x="75" y="62"/>
                  <a:pt x="80" y="64"/>
                  <a:pt x="84" y="64"/>
                </a:cubicBezTo>
                <a:cubicBezTo>
                  <a:pt x="89" y="64"/>
                  <a:pt x="93" y="63"/>
                  <a:pt x="96" y="61"/>
                </a:cubicBezTo>
                <a:cubicBezTo>
                  <a:pt x="99" y="63"/>
                  <a:pt x="103" y="64"/>
                  <a:pt x="108" y="64"/>
                </a:cubicBezTo>
                <a:cubicBezTo>
                  <a:pt x="113" y="64"/>
                  <a:pt x="118" y="62"/>
                  <a:pt x="122" y="58"/>
                </a:cubicBezTo>
                <a:cubicBezTo>
                  <a:pt x="125" y="59"/>
                  <a:pt x="128" y="60"/>
                  <a:pt x="131" y="60"/>
                </a:cubicBezTo>
                <a:cubicBezTo>
                  <a:pt x="138" y="60"/>
                  <a:pt x="144" y="57"/>
                  <a:pt x="148" y="51"/>
                </a:cubicBezTo>
                <a:cubicBezTo>
                  <a:pt x="148" y="51"/>
                  <a:pt x="149" y="51"/>
                  <a:pt x="149" y="51"/>
                </a:cubicBezTo>
                <a:cubicBezTo>
                  <a:pt x="149" y="54"/>
                  <a:pt x="150" y="56"/>
                  <a:pt x="152" y="58"/>
                </a:cubicBezTo>
                <a:cubicBezTo>
                  <a:pt x="149" y="62"/>
                  <a:pt x="148" y="66"/>
                  <a:pt x="148" y="70"/>
                </a:cubicBezTo>
                <a:cubicBezTo>
                  <a:pt x="148" y="74"/>
                  <a:pt x="149" y="78"/>
                  <a:pt x="152" y="82"/>
                </a:cubicBezTo>
                <a:cubicBezTo>
                  <a:pt x="149" y="86"/>
                  <a:pt x="148" y="90"/>
                  <a:pt x="148" y="94"/>
                </a:cubicBezTo>
                <a:cubicBezTo>
                  <a:pt x="148" y="98"/>
                  <a:pt x="149" y="102"/>
                  <a:pt x="152" y="106"/>
                </a:cubicBezTo>
                <a:cubicBezTo>
                  <a:pt x="149" y="109"/>
                  <a:pt x="148" y="113"/>
                  <a:pt x="148" y="117"/>
                </a:cubicBezTo>
                <a:cubicBezTo>
                  <a:pt x="148" y="117"/>
                  <a:pt x="147" y="118"/>
                  <a:pt x="147" y="118"/>
                </a:cubicBezTo>
                <a:cubicBezTo>
                  <a:pt x="140" y="115"/>
                  <a:pt x="132" y="116"/>
                  <a:pt x="126" y="120"/>
                </a:cubicBezTo>
                <a:cubicBezTo>
                  <a:pt x="120" y="115"/>
                  <a:pt x="111" y="115"/>
                  <a:pt x="105" y="118"/>
                </a:cubicBezTo>
                <a:cubicBezTo>
                  <a:pt x="102" y="117"/>
                  <a:pt x="99" y="116"/>
                  <a:pt x="96" y="116"/>
                </a:cubicBezTo>
                <a:cubicBezTo>
                  <a:pt x="85" y="116"/>
                  <a:pt x="76" y="125"/>
                  <a:pt x="76" y="136"/>
                </a:cubicBezTo>
                <a:cubicBezTo>
                  <a:pt x="76" y="145"/>
                  <a:pt x="84" y="187"/>
                  <a:pt x="84" y="189"/>
                </a:cubicBezTo>
                <a:cubicBezTo>
                  <a:pt x="84" y="191"/>
                  <a:pt x="86" y="192"/>
                  <a:pt x="88" y="192"/>
                </a:cubicBezTo>
                <a:cubicBezTo>
                  <a:pt x="88" y="192"/>
                  <a:pt x="88" y="192"/>
                  <a:pt x="89" y="192"/>
                </a:cubicBezTo>
                <a:cubicBezTo>
                  <a:pt x="91" y="192"/>
                  <a:pt x="92" y="189"/>
                  <a:pt x="92" y="187"/>
                </a:cubicBezTo>
                <a:cubicBezTo>
                  <a:pt x="90" y="175"/>
                  <a:pt x="84" y="143"/>
                  <a:pt x="84" y="136"/>
                </a:cubicBezTo>
                <a:cubicBezTo>
                  <a:pt x="84" y="129"/>
                  <a:pt x="89" y="124"/>
                  <a:pt x="96" y="124"/>
                </a:cubicBezTo>
                <a:cubicBezTo>
                  <a:pt x="98" y="124"/>
                  <a:pt x="100" y="124"/>
                  <a:pt x="101" y="125"/>
                </a:cubicBezTo>
                <a:cubicBezTo>
                  <a:pt x="103" y="126"/>
                  <a:pt x="106" y="126"/>
                  <a:pt x="108" y="125"/>
                </a:cubicBezTo>
                <a:cubicBezTo>
                  <a:pt x="113" y="123"/>
                  <a:pt x="118" y="124"/>
                  <a:pt x="122" y="126"/>
                </a:cubicBezTo>
                <a:cubicBezTo>
                  <a:pt x="124" y="128"/>
                  <a:pt x="128" y="128"/>
                  <a:pt x="130" y="126"/>
                </a:cubicBezTo>
                <a:cubicBezTo>
                  <a:pt x="135" y="123"/>
                  <a:pt x="141" y="123"/>
                  <a:pt x="146" y="126"/>
                </a:cubicBezTo>
                <a:cubicBezTo>
                  <a:pt x="147" y="127"/>
                  <a:pt x="150" y="127"/>
                  <a:pt x="151" y="125"/>
                </a:cubicBezTo>
                <a:cubicBezTo>
                  <a:pt x="152" y="124"/>
                  <a:pt x="153" y="123"/>
                  <a:pt x="154" y="122"/>
                </a:cubicBezTo>
                <a:cubicBezTo>
                  <a:pt x="156" y="122"/>
                  <a:pt x="156" y="120"/>
                  <a:pt x="156" y="119"/>
                </a:cubicBezTo>
                <a:cubicBezTo>
                  <a:pt x="156" y="119"/>
                  <a:pt x="156" y="118"/>
                  <a:pt x="156" y="118"/>
                </a:cubicBezTo>
                <a:cubicBezTo>
                  <a:pt x="156" y="115"/>
                  <a:pt x="157" y="113"/>
                  <a:pt x="158" y="110"/>
                </a:cubicBezTo>
                <a:cubicBezTo>
                  <a:pt x="160" y="108"/>
                  <a:pt x="160" y="104"/>
                  <a:pt x="158" y="102"/>
                </a:cubicBezTo>
                <a:cubicBezTo>
                  <a:pt x="157" y="99"/>
                  <a:pt x="156" y="97"/>
                  <a:pt x="156" y="94"/>
                </a:cubicBezTo>
                <a:cubicBezTo>
                  <a:pt x="156" y="91"/>
                  <a:pt x="157" y="89"/>
                  <a:pt x="158" y="86"/>
                </a:cubicBezTo>
                <a:cubicBezTo>
                  <a:pt x="160" y="84"/>
                  <a:pt x="160" y="80"/>
                  <a:pt x="158" y="78"/>
                </a:cubicBezTo>
                <a:cubicBezTo>
                  <a:pt x="157" y="75"/>
                  <a:pt x="156" y="73"/>
                  <a:pt x="156" y="70"/>
                </a:cubicBezTo>
                <a:cubicBezTo>
                  <a:pt x="156" y="67"/>
                  <a:pt x="157" y="65"/>
                  <a:pt x="158" y="62"/>
                </a:cubicBezTo>
                <a:cubicBezTo>
                  <a:pt x="160" y="60"/>
                  <a:pt x="160" y="56"/>
                  <a:pt x="158" y="54"/>
                </a:cubicBezTo>
                <a:cubicBezTo>
                  <a:pt x="158" y="53"/>
                  <a:pt x="158" y="52"/>
                  <a:pt x="157" y="52"/>
                </a:cubicBezTo>
                <a:cubicBezTo>
                  <a:pt x="162" y="51"/>
                  <a:pt x="166" y="49"/>
                  <a:pt x="170" y="46"/>
                </a:cubicBezTo>
                <a:cubicBezTo>
                  <a:pt x="171" y="44"/>
                  <a:pt x="171" y="41"/>
                  <a:pt x="170" y="40"/>
                </a:cubicBezTo>
                <a:cubicBezTo>
                  <a:pt x="168" y="38"/>
                  <a:pt x="165" y="38"/>
                  <a:pt x="164" y="40"/>
                </a:cubicBezTo>
                <a:cubicBezTo>
                  <a:pt x="160" y="43"/>
                  <a:pt x="155" y="45"/>
                  <a:pt x="150" y="44"/>
                </a:cubicBezTo>
                <a:cubicBezTo>
                  <a:pt x="147" y="43"/>
                  <a:pt x="144" y="44"/>
                  <a:pt x="142" y="46"/>
                </a:cubicBezTo>
                <a:cubicBezTo>
                  <a:pt x="138" y="51"/>
                  <a:pt x="131" y="53"/>
                  <a:pt x="125" y="51"/>
                </a:cubicBezTo>
                <a:cubicBezTo>
                  <a:pt x="123" y="50"/>
                  <a:pt x="119" y="50"/>
                  <a:pt x="117" y="52"/>
                </a:cubicBezTo>
                <a:cubicBezTo>
                  <a:pt x="112" y="56"/>
                  <a:pt x="105" y="57"/>
                  <a:pt x="100" y="54"/>
                </a:cubicBezTo>
                <a:cubicBezTo>
                  <a:pt x="98" y="52"/>
                  <a:pt x="94" y="52"/>
                  <a:pt x="92" y="54"/>
                </a:cubicBezTo>
                <a:cubicBezTo>
                  <a:pt x="87" y="57"/>
                  <a:pt x="80" y="57"/>
                  <a:pt x="76" y="53"/>
                </a:cubicBezTo>
                <a:cubicBezTo>
                  <a:pt x="74" y="51"/>
                  <a:pt x="70" y="51"/>
                  <a:pt x="68" y="52"/>
                </a:cubicBezTo>
                <a:cubicBezTo>
                  <a:pt x="62" y="55"/>
                  <a:pt x="55" y="54"/>
                  <a:pt x="51" y="49"/>
                </a:cubicBezTo>
                <a:cubicBezTo>
                  <a:pt x="49" y="47"/>
                  <a:pt x="45" y="46"/>
                  <a:pt x="42" y="47"/>
                </a:cubicBezTo>
                <a:cubicBezTo>
                  <a:pt x="37" y="49"/>
                  <a:pt x="32" y="48"/>
                  <a:pt x="28" y="44"/>
                </a:cubicBezTo>
                <a:cubicBezTo>
                  <a:pt x="27" y="42"/>
                  <a:pt x="24" y="42"/>
                  <a:pt x="22" y="44"/>
                </a:cubicBezTo>
                <a:cubicBezTo>
                  <a:pt x="21" y="45"/>
                  <a:pt x="21" y="48"/>
                  <a:pt x="22" y="50"/>
                </a:cubicBezTo>
                <a:cubicBezTo>
                  <a:pt x="26" y="53"/>
                  <a:pt x="31" y="55"/>
                  <a:pt x="36" y="56"/>
                </a:cubicBezTo>
                <a:cubicBezTo>
                  <a:pt x="36" y="58"/>
                  <a:pt x="35" y="60"/>
                  <a:pt x="34" y="62"/>
                </a:cubicBezTo>
                <a:cubicBezTo>
                  <a:pt x="32" y="64"/>
                  <a:pt x="32" y="68"/>
                  <a:pt x="34" y="70"/>
                </a:cubicBezTo>
                <a:cubicBezTo>
                  <a:pt x="35" y="73"/>
                  <a:pt x="36" y="75"/>
                  <a:pt x="36" y="78"/>
                </a:cubicBezTo>
                <a:cubicBezTo>
                  <a:pt x="36" y="80"/>
                  <a:pt x="36" y="82"/>
                  <a:pt x="35" y="84"/>
                </a:cubicBezTo>
                <a:cubicBezTo>
                  <a:pt x="33" y="87"/>
                  <a:pt x="33" y="91"/>
                  <a:pt x="36" y="93"/>
                </a:cubicBezTo>
                <a:cubicBezTo>
                  <a:pt x="38" y="96"/>
                  <a:pt x="40" y="100"/>
                  <a:pt x="40" y="104"/>
                </a:cubicBezTo>
                <a:cubicBezTo>
                  <a:pt x="40" y="114"/>
                  <a:pt x="36" y="119"/>
                  <a:pt x="28" y="120"/>
                </a:cubicBezTo>
                <a:cubicBezTo>
                  <a:pt x="28" y="112"/>
                  <a:pt x="28" y="112"/>
                  <a:pt x="28" y="112"/>
                </a:cubicBezTo>
                <a:cubicBezTo>
                  <a:pt x="28" y="110"/>
                  <a:pt x="26" y="108"/>
                  <a:pt x="24" y="108"/>
                </a:cubicBezTo>
                <a:cubicBezTo>
                  <a:pt x="22" y="108"/>
                  <a:pt x="20" y="110"/>
                  <a:pt x="20" y="112"/>
                </a:cubicBezTo>
                <a:cubicBezTo>
                  <a:pt x="20" y="120"/>
                  <a:pt x="20" y="120"/>
                  <a:pt x="20" y="120"/>
                </a:cubicBezTo>
                <a:cubicBezTo>
                  <a:pt x="12" y="119"/>
                  <a:pt x="8" y="114"/>
                  <a:pt x="8" y="104"/>
                </a:cubicBezTo>
                <a:cubicBezTo>
                  <a:pt x="8" y="101"/>
                  <a:pt x="9" y="98"/>
                  <a:pt x="11" y="95"/>
                </a:cubicBezTo>
                <a:cubicBezTo>
                  <a:pt x="13" y="92"/>
                  <a:pt x="13" y="89"/>
                  <a:pt x="11" y="86"/>
                </a:cubicBezTo>
                <a:cubicBezTo>
                  <a:pt x="9" y="84"/>
                  <a:pt x="8" y="81"/>
                  <a:pt x="8" y="78"/>
                </a:cubicBezTo>
                <a:cubicBezTo>
                  <a:pt x="8" y="75"/>
                  <a:pt x="9" y="73"/>
                  <a:pt x="10" y="70"/>
                </a:cubicBezTo>
                <a:cubicBezTo>
                  <a:pt x="12" y="68"/>
                  <a:pt x="12" y="64"/>
                  <a:pt x="10" y="62"/>
                </a:cubicBezTo>
                <a:cubicBezTo>
                  <a:pt x="9" y="59"/>
                  <a:pt x="8" y="57"/>
                  <a:pt x="8" y="54"/>
                </a:cubicBezTo>
                <a:cubicBezTo>
                  <a:pt x="8" y="51"/>
                  <a:pt x="9" y="49"/>
                  <a:pt x="10" y="46"/>
                </a:cubicBezTo>
                <a:cubicBezTo>
                  <a:pt x="12" y="44"/>
                  <a:pt x="12" y="40"/>
                  <a:pt x="10" y="38"/>
                </a:cubicBezTo>
                <a:cubicBezTo>
                  <a:pt x="9" y="35"/>
                  <a:pt x="8" y="33"/>
                  <a:pt x="8" y="30"/>
                </a:cubicBezTo>
                <a:cubicBezTo>
                  <a:pt x="8" y="22"/>
                  <a:pt x="14" y="16"/>
                  <a:pt x="22" y="16"/>
                </a:cubicBezTo>
                <a:cubicBezTo>
                  <a:pt x="26" y="16"/>
                  <a:pt x="29" y="18"/>
                  <a:pt x="31" y="20"/>
                </a:cubicBezTo>
                <a:cubicBezTo>
                  <a:pt x="32" y="20"/>
                  <a:pt x="34" y="21"/>
                  <a:pt x="35" y="20"/>
                </a:cubicBezTo>
                <a:cubicBezTo>
                  <a:pt x="36" y="20"/>
                  <a:pt x="37" y="20"/>
                  <a:pt x="38" y="20"/>
                </a:cubicBezTo>
                <a:cubicBezTo>
                  <a:pt x="42" y="20"/>
                  <a:pt x="46" y="22"/>
                  <a:pt x="48" y="25"/>
                </a:cubicBezTo>
                <a:cubicBezTo>
                  <a:pt x="50" y="27"/>
                  <a:pt x="54" y="28"/>
                  <a:pt x="57" y="27"/>
                </a:cubicBezTo>
                <a:cubicBezTo>
                  <a:pt x="61" y="25"/>
                  <a:pt x="66" y="26"/>
                  <a:pt x="70" y="29"/>
                </a:cubicBezTo>
                <a:cubicBezTo>
                  <a:pt x="72" y="31"/>
                  <a:pt x="75" y="31"/>
                  <a:pt x="78" y="30"/>
                </a:cubicBezTo>
                <a:cubicBezTo>
                  <a:pt x="82" y="27"/>
                  <a:pt x="88" y="28"/>
                  <a:pt x="92" y="30"/>
                </a:cubicBezTo>
                <a:cubicBezTo>
                  <a:pt x="94" y="32"/>
                  <a:pt x="98" y="32"/>
                  <a:pt x="100" y="30"/>
                </a:cubicBezTo>
                <a:cubicBezTo>
                  <a:pt x="104" y="28"/>
                  <a:pt x="109" y="27"/>
                  <a:pt x="113" y="29"/>
                </a:cubicBezTo>
                <a:cubicBezTo>
                  <a:pt x="116" y="30"/>
                  <a:pt x="119" y="30"/>
                  <a:pt x="121" y="28"/>
                </a:cubicBezTo>
                <a:cubicBezTo>
                  <a:pt x="125" y="24"/>
                  <a:pt x="130" y="23"/>
                  <a:pt x="134" y="24"/>
                </a:cubicBezTo>
                <a:cubicBezTo>
                  <a:pt x="138" y="25"/>
                  <a:pt x="141" y="24"/>
                  <a:pt x="143" y="22"/>
                </a:cubicBezTo>
                <a:cubicBezTo>
                  <a:pt x="146" y="18"/>
                  <a:pt x="150" y="16"/>
                  <a:pt x="154" y="16"/>
                </a:cubicBezTo>
                <a:cubicBezTo>
                  <a:pt x="154" y="16"/>
                  <a:pt x="154" y="16"/>
                  <a:pt x="154" y="16"/>
                </a:cubicBezTo>
                <a:cubicBezTo>
                  <a:pt x="154" y="16"/>
                  <a:pt x="155" y="16"/>
                  <a:pt x="155" y="16"/>
                </a:cubicBezTo>
                <a:cubicBezTo>
                  <a:pt x="156" y="16"/>
                  <a:pt x="158" y="15"/>
                  <a:pt x="158" y="14"/>
                </a:cubicBezTo>
                <a:cubicBezTo>
                  <a:pt x="161" y="10"/>
                  <a:pt x="165" y="8"/>
                  <a:pt x="170" y="8"/>
                </a:cubicBezTo>
                <a:cubicBezTo>
                  <a:pt x="178" y="8"/>
                  <a:pt x="184" y="14"/>
                  <a:pt x="184" y="22"/>
                </a:cubicBezTo>
                <a:cubicBezTo>
                  <a:pt x="184" y="25"/>
                  <a:pt x="183" y="27"/>
                  <a:pt x="182" y="30"/>
                </a:cubicBezTo>
                <a:cubicBezTo>
                  <a:pt x="180" y="32"/>
                  <a:pt x="180" y="36"/>
                  <a:pt x="182" y="38"/>
                </a:cubicBezTo>
                <a:cubicBezTo>
                  <a:pt x="183" y="41"/>
                  <a:pt x="184" y="43"/>
                  <a:pt x="184" y="46"/>
                </a:cubicBezTo>
                <a:cubicBezTo>
                  <a:pt x="184" y="49"/>
                  <a:pt x="183" y="51"/>
                  <a:pt x="182" y="54"/>
                </a:cubicBezTo>
                <a:cubicBezTo>
                  <a:pt x="180" y="56"/>
                  <a:pt x="180" y="60"/>
                  <a:pt x="182" y="62"/>
                </a:cubicBezTo>
                <a:cubicBezTo>
                  <a:pt x="183" y="65"/>
                  <a:pt x="184" y="67"/>
                  <a:pt x="184" y="70"/>
                </a:cubicBezTo>
                <a:cubicBezTo>
                  <a:pt x="184" y="73"/>
                  <a:pt x="183" y="75"/>
                  <a:pt x="182" y="78"/>
                </a:cubicBezTo>
                <a:cubicBezTo>
                  <a:pt x="180" y="80"/>
                  <a:pt x="180" y="84"/>
                  <a:pt x="182" y="86"/>
                </a:cubicBezTo>
                <a:cubicBezTo>
                  <a:pt x="183" y="89"/>
                  <a:pt x="184" y="91"/>
                  <a:pt x="184" y="94"/>
                </a:cubicBezTo>
                <a:cubicBezTo>
                  <a:pt x="184" y="97"/>
                  <a:pt x="183" y="99"/>
                  <a:pt x="182" y="102"/>
                </a:cubicBezTo>
                <a:cubicBezTo>
                  <a:pt x="180" y="104"/>
                  <a:pt x="180" y="108"/>
                  <a:pt x="182" y="110"/>
                </a:cubicBezTo>
                <a:cubicBezTo>
                  <a:pt x="183" y="113"/>
                  <a:pt x="184" y="115"/>
                  <a:pt x="184" y="118"/>
                </a:cubicBezTo>
                <a:cubicBezTo>
                  <a:pt x="184" y="123"/>
                  <a:pt x="182" y="127"/>
                  <a:pt x="178" y="130"/>
                </a:cubicBezTo>
                <a:cubicBezTo>
                  <a:pt x="177" y="130"/>
                  <a:pt x="176" y="132"/>
                  <a:pt x="176" y="133"/>
                </a:cubicBezTo>
                <a:cubicBezTo>
                  <a:pt x="176" y="133"/>
                  <a:pt x="176" y="134"/>
                  <a:pt x="176" y="134"/>
                </a:cubicBezTo>
                <a:cubicBezTo>
                  <a:pt x="176" y="142"/>
                  <a:pt x="170" y="148"/>
                  <a:pt x="162" y="148"/>
                </a:cubicBezTo>
                <a:cubicBezTo>
                  <a:pt x="160" y="148"/>
                  <a:pt x="158" y="148"/>
                  <a:pt x="156" y="147"/>
                </a:cubicBezTo>
                <a:cubicBezTo>
                  <a:pt x="153" y="145"/>
                  <a:pt x="150" y="146"/>
                  <a:pt x="148" y="148"/>
                </a:cubicBezTo>
                <a:cubicBezTo>
                  <a:pt x="143" y="153"/>
                  <a:pt x="136" y="153"/>
                  <a:pt x="130" y="150"/>
                </a:cubicBezTo>
                <a:cubicBezTo>
                  <a:pt x="128" y="148"/>
                  <a:pt x="124" y="148"/>
                  <a:pt x="122" y="150"/>
                </a:cubicBezTo>
                <a:cubicBezTo>
                  <a:pt x="116" y="153"/>
                  <a:pt x="109" y="152"/>
                  <a:pt x="104" y="148"/>
                </a:cubicBezTo>
                <a:cubicBezTo>
                  <a:pt x="103" y="147"/>
                  <a:pt x="102" y="145"/>
                  <a:pt x="101" y="143"/>
                </a:cubicBezTo>
                <a:cubicBezTo>
                  <a:pt x="100" y="141"/>
                  <a:pt x="98" y="140"/>
                  <a:pt x="96" y="141"/>
                </a:cubicBezTo>
                <a:cubicBezTo>
                  <a:pt x="94" y="142"/>
                  <a:pt x="93" y="145"/>
                  <a:pt x="94" y="147"/>
                </a:cubicBezTo>
                <a:cubicBezTo>
                  <a:pt x="95" y="149"/>
                  <a:pt x="96" y="152"/>
                  <a:pt x="98" y="154"/>
                </a:cubicBezTo>
                <a:cubicBezTo>
                  <a:pt x="100" y="155"/>
                  <a:pt x="103" y="157"/>
                  <a:pt x="105" y="158"/>
                </a:cubicBezTo>
                <a:cubicBezTo>
                  <a:pt x="102" y="172"/>
                  <a:pt x="100" y="187"/>
                  <a:pt x="100" y="187"/>
                </a:cubicBezTo>
                <a:cubicBezTo>
                  <a:pt x="100" y="190"/>
                  <a:pt x="101" y="192"/>
                  <a:pt x="103" y="192"/>
                </a:cubicBezTo>
                <a:cubicBezTo>
                  <a:pt x="104" y="192"/>
                  <a:pt x="104" y="192"/>
                  <a:pt x="104" y="192"/>
                </a:cubicBezTo>
                <a:cubicBezTo>
                  <a:pt x="106" y="192"/>
                  <a:pt x="108" y="191"/>
                  <a:pt x="108" y="189"/>
                </a:cubicBezTo>
                <a:cubicBezTo>
                  <a:pt x="108" y="188"/>
                  <a:pt x="110" y="174"/>
                  <a:pt x="113" y="160"/>
                </a:cubicBezTo>
                <a:cubicBezTo>
                  <a:pt x="113" y="160"/>
                  <a:pt x="114" y="160"/>
                  <a:pt x="114" y="160"/>
                </a:cubicBezTo>
                <a:cubicBezTo>
                  <a:pt x="118" y="160"/>
                  <a:pt x="122" y="159"/>
                  <a:pt x="126" y="156"/>
                </a:cubicBezTo>
                <a:cubicBezTo>
                  <a:pt x="130" y="159"/>
                  <a:pt x="134" y="160"/>
                  <a:pt x="138" y="160"/>
                </a:cubicBezTo>
                <a:cubicBezTo>
                  <a:pt x="144" y="160"/>
                  <a:pt x="149" y="158"/>
                  <a:pt x="153" y="154"/>
                </a:cubicBezTo>
                <a:cubicBezTo>
                  <a:pt x="156" y="155"/>
                  <a:pt x="159" y="156"/>
                  <a:pt x="162" y="156"/>
                </a:cubicBezTo>
                <a:cubicBezTo>
                  <a:pt x="174" y="156"/>
                  <a:pt x="183" y="147"/>
                  <a:pt x="184" y="135"/>
                </a:cubicBezTo>
                <a:cubicBezTo>
                  <a:pt x="189" y="131"/>
                  <a:pt x="192" y="125"/>
                  <a:pt x="192" y="118"/>
                </a:cubicBezTo>
                <a:cubicBezTo>
                  <a:pt x="192" y="114"/>
                  <a:pt x="191" y="110"/>
                  <a:pt x="188" y="106"/>
                </a:cubicBezTo>
                <a:cubicBezTo>
                  <a:pt x="191" y="102"/>
                  <a:pt x="192" y="98"/>
                  <a:pt x="192" y="94"/>
                </a:cubicBezTo>
                <a:cubicBezTo>
                  <a:pt x="192" y="90"/>
                  <a:pt x="191" y="86"/>
                  <a:pt x="188" y="82"/>
                </a:cubicBezTo>
                <a:cubicBezTo>
                  <a:pt x="191" y="78"/>
                  <a:pt x="192" y="74"/>
                  <a:pt x="192" y="70"/>
                </a:cubicBezTo>
                <a:cubicBezTo>
                  <a:pt x="192" y="66"/>
                  <a:pt x="191" y="62"/>
                  <a:pt x="188" y="58"/>
                </a:cubicBezTo>
                <a:cubicBezTo>
                  <a:pt x="191" y="54"/>
                  <a:pt x="192" y="50"/>
                  <a:pt x="192" y="46"/>
                </a:cubicBezTo>
                <a:cubicBezTo>
                  <a:pt x="192" y="42"/>
                  <a:pt x="191" y="38"/>
                  <a:pt x="188" y="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 name="Group 22">
            <a:extLst>
              <a:ext uri="{FF2B5EF4-FFF2-40B4-BE49-F238E27FC236}">
                <a16:creationId xmlns:a16="http://schemas.microsoft.com/office/drawing/2014/main" id="{1FBFFF78-257B-E00F-89F7-DEDD16E76E5C}"/>
              </a:ext>
            </a:extLst>
          </p:cNvPr>
          <p:cNvGrpSpPr/>
          <p:nvPr/>
        </p:nvGrpSpPr>
        <p:grpSpPr>
          <a:xfrm>
            <a:off x="645149" y="3742196"/>
            <a:ext cx="441996" cy="441996"/>
            <a:chOff x="9177338" y="1854200"/>
            <a:chExt cx="1122363" cy="1122363"/>
          </a:xfrm>
          <a:solidFill>
            <a:schemeClr val="accent4">
              <a:lumMod val="75000"/>
            </a:schemeClr>
          </a:solidFill>
        </p:grpSpPr>
        <p:sp>
          <p:nvSpPr>
            <p:cNvPr id="24" name="Freeform 238">
              <a:extLst>
                <a:ext uri="{FF2B5EF4-FFF2-40B4-BE49-F238E27FC236}">
                  <a16:creationId xmlns:a16="http://schemas.microsoft.com/office/drawing/2014/main" id="{46401B10-C0C9-4EF9-5374-AC7DE4BC48DC}"/>
                </a:ext>
              </a:extLst>
            </p:cNvPr>
            <p:cNvSpPr>
              <a:spLocks noEditPoints="1"/>
            </p:cNvSpPr>
            <p:nvPr/>
          </p:nvSpPr>
          <p:spPr bwMode="auto">
            <a:xfrm>
              <a:off x="9471025" y="1854200"/>
              <a:ext cx="528638" cy="534988"/>
            </a:xfrm>
            <a:custGeom>
              <a:avLst/>
              <a:gdLst>
                <a:gd name="T0" fmla="*/ 234 w 333"/>
                <a:gd name="T1" fmla="*/ 337 h 337"/>
                <a:gd name="T2" fmla="*/ 197 w 333"/>
                <a:gd name="T3" fmla="*/ 333 h 337"/>
                <a:gd name="T4" fmla="*/ 168 w 333"/>
                <a:gd name="T5" fmla="*/ 312 h 337"/>
                <a:gd name="T6" fmla="*/ 152 w 333"/>
                <a:gd name="T7" fmla="*/ 325 h 337"/>
                <a:gd name="T8" fmla="*/ 115 w 333"/>
                <a:gd name="T9" fmla="*/ 337 h 337"/>
                <a:gd name="T10" fmla="*/ 94 w 333"/>
                <a:gd name="T11" fmla="*/ 337 h 337"/>
                <a:gd name="T12" fmla="*/ 49 w 333"/>
                <a:gd name="T13" fmla="*/ 320 h 337"/>
                <a:gd name="T14" fmla="*/ 16 w 333"/>
                <a:gd name="T15" fmla="*/ 292 h 337"/>
                <a:gd name="T16" fmla="*/ 4 w 333"/>
                <a:gd name="T17" fmla="*/ 263 h 337"/>
                <a:gd name="T18" fmla="*/ 4 w 333"/>
                <a:gd name="T19" fmla="*/ 205 h 337"/>
                <a:gd name="T20" fmla="*/ 20 w 333"/>
                <a:gd name="T21" fmla="*/ 177 h 337"/>
                <a:gd name="T22" fmla="*/ 66 w 333"/>
                <a:gd name="T23" fmla="*/ 140 h 337"/>
                <a:gd name="T24" fmla="*/ 74 w 333"/>
                <a:gd name="T25" fmla="*/ 135 h 337"/>
                <a:gd name="T26" fmla="*/ 86 w 333"/>
                <a:gd name="T27" fmla="*/ 115 h 337"/>
                <a:gd name="T28" fmla="*/ 90 w 333"/>
                <a:gd name="T29" fmla="*/ 8 h 337"/>
                <a:gd name="T30" fmla="*/ 90 w 333"/>
                <a:gd name="T31" fmla="*/ 0 h 337"/>
                <a:gd name="T32" fmla="*/ 234 w 333"/>
                <a:gd name="T33" fmla="*/ 0 h 337"/>
                <a:gd name="T34" fmla="*/ 242 w 333"/>
                <a:gd name="T35" fmla="*/ 0 h 337"/>
                <a:gd name="T36" fmla="*/ 247 w 333"/>
                <a:gd name="T37" fmla="*/ 103 h 337"/>
                <a:gd name="T38" fmla="*/ 247 w 333"/>
                <a:gd name="T39" fmla="*/ 115 h 337"/>
                <a:gd name="T40" fmla="*/ 259 w 333"/>
                <a:gd name="T41" fmla="*/ 135 h 337"/>
                <a:gd name="T42" fmla="*/ 271 w 333"/>
                <a:gd name="T43" fmla="*/ 140 h 337"/>
                <a:gd name="T44" fmla="*/ 316 w 333"/>
                <a:gd name="T45" fmla="*/ 177 h 337"/>
                <a:gd name="T46" fmla="*/ 329 w 333"/>
                <a:gd name="T47" fmla="*/ 205 h 337"/>
                <a:gd name="T48" fmla="*/ 329 w 333"/>
                <a:gd name="T49" fmla="*/ 263 h 337"/>
                <a:gd name="T50" fmla="*/ 316 w 333"/>
                <a:gd name="T51" fmla="*/ 292 h 337"/>
                <a:gd name="T52" fmla="*/ 284 w 333"/>
                <a:gd name="T53" fmla="*/ 320 h 337"/>
                <a:gd name="T54" fmla="*/ 242 w 333"/>
                <a:gd name="T55" fmla="*/ 337 h 337"/>
                <a:gd name="T56" fmla="*/ 234 w 333"/>
                <a:gd name="T57" fmla="*/ 337 h 337"/>
                <a:gd name="T58" fmla="*/ 168 w 333"/>
                <a:gd name="T59" fmla="*/ 292 h 337"/>
                <a:gd name="T60" fmla="*/ 177 w 333"/>
                <a:gd name="T61" fmla="*/ 292 h 337"/>
                <a:gd name="T62" fmla="*/ 189 w 333"/>
                <a:gd name="T63" fmla="*/ 304 h 337"/>
                <a:gd name="T64" fmla="*/ 222 w 333"/>
                <a:gd name="T65" fmla="*/ 316 h 337"/>
                <a:gd name="T66" fmla="*/ 242 w 333"/>
                <a:gd name="T67" fmla="*/ 316 h 337"/>
                <a:gd name="T68" fmla="*/ 275 w 333"/>
                <a:gd name="T69" fmla="*/ 304 h 337"/>
                <a:gd name="T70" fmla="*/ 300 w 333"/>
                <a:gd name="T71" fmla="*/ 279 h 337"/>
                <a:gd name="T72" fmla="*/ 312 w 333"/>
                <a:gd name="T73" fmla="*/ 259 h 337"/>
                <a:gd name="T74" fmla="*/ 308 w 333"/>
                <a:gd name="T75" fmla="*/ 209 h 337"/>
                <a:gd name="T76" fmla="*/ 300 w 333"/>
                <a:gd name="T77" fmla="*/ 189 h 337"/>
                <a:gd name="T78" fmla="*/ 263 w 333"/>
                <a:gd name="T79" fmla="*/ 160 h 337"/>
                <a:gd name="T80" fmla="*/ 247 w 333"/>
                <a:gd name="T81" fmla="*/ 152 h 337"/>
                <a:gd name="T82" fmla="*/ 230 w 333"/>
                <a:gd name="T83" fmla="*/ 119 h 337"/>
                <a:gd name="T84" fmla="*/ 226 w 333"/>
                <a:gd name="T85" fmla="*/ 20 h 337"/>
                <a:gd name="T86" fmla="*/ 111 w 333"/>
                <a:gd name="T87" fmla="*/ 103 h 337"/>
                <a:gd name="T88" fmla="*/ 107 w 333"/>
                <a:gd name="T89" fmla="*/ 119 h 337"/>
                <a:gd name="T90" fmla="*/ 86 w 333"/>
                <a:gd name="T91" fmla="*/ 152 h 337"/>
                <a:gd name="T92" fmla="*/ 74 w 333"/>
                <a:gd name="T93" fmla="*/ 160 h 337"/>
                <a:gd name="T94" fmla="*/ 37 w 333"/>
                <a:gd name="T95" fmla="*/ 189 h 337"/>
                <a:gd name="T96" fmla="*/ 24 w 333"/>
                <a:gd name="T97" fmla="*/ 209 h 337"/>
                <a:gd name="T98" fmla="*/ 24 w 333"/>
                <a:gd name="T99" fmla="*/ 259 h 337"/>
                <a:gd name="T100" fmla="*/ 33 w 333"/>
                <a:gd name="T101" fmla="*/ 279 h 337"/>
                <a:gd name="T102" fmla="*/ 61 w 333"/>
                <a:gd name="T103" fmla="*/ 304 h 337"/>
                <a:gd name="T104" fmla="*/ 94 w 333"/>
                <a:gd name="T105" fmla="*/ 316 h 337"/>
                <a:gd name="T106" fmla="*/ 115 w 333"/>
                <a:gd name="T107" fmla="*/ 316 h 337"/>
                <a:gd name="T108" fmla="*/ 148 w 333"/>
                <a:gd name="T109" fmla="*/ 304 h 337"/>
                <a:gd name="T110" fmla="*/ 160 w 333"/>
                <a:gd name="T111" fmla="*/ 292 h 337"/>
                <a:gd name="T112" fmla="*/ 168 w 333"/>
                <a:gd name="T113" fmla="*/ 29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337">
                  <a:moveTo>
                    <a:pt x="234" y="337"/>
                  </a:moveTo>
                  <a:lnTo>
                    <a:pt x="234" y="337"/>
                  </a:lnTo>
                  <a:lnTo>
                    <a:pt x="214" y="337"/>
                  </a:lnTo>
                  <a:lnTo>
                    <a:pt x="197" y="333"/>
                  </a:lnTo>
                  <a:lnTo>
                    <a:pt x="181" y="325"/>
                  </a:lnTo>
                  <a:lnTo>
                    <a:pt x="168" y="312"/>
                  </a:lnTo>
                  <a:lnTo>
                    <a:pt x="168" y="312"/>
                  </a:lnTo>
                  <a:lnTo>
                    <a:pt x="152" y="325"/>
                  </a:lnTo>
                  <a:lnTo>
                    <a:pt x="131" y="333"/>
                  </a:lnTo>
                  <a:lnTo>
                    <a:pt x="115" y="337"/>
                  </a:lnTo>
                  <a:lnTo>
                    <a:pt x="94" y="337"/>
                  </a:lnTo>
                  <a:lnTo>
                    <a:pt x="94" y="337"/>
                  </a:lnTo>
                  <a:lnTo>
                    <a:pt x="70" y="333"/>
                  </a:lnTo>
                  <a:lnTo>
                    <a:pt x="49" y="320"/>
                  </a:lnTo>
                  <a:lnTo>
                    <a:pt x="33" y="308"/>
                  </a:lnTo>
                  <a:lnTo>
                    <a:pt x="16" y="292"/>
                  </a:lnTo>
                  <a:lnTo>
                    <a:pt x="16" y="292"/>
                  </a:lnTo>
                  <a:lnTo>
                    <a:pt x="4" y="263"/>
                  </a:lnTo>
                  <a:lnTo>
                    <a:pt x="0" y="234"/>
                  </a:lnTo>
                  <a:lnTo>
                    <a:pt x="4" y="205"/>
                  </a:lnTo>
                  <a:lnTo>
                    <a:pt x="20" y="177"/>
                  </a:lnTo>
                  <a:lnTo>
                    <a:pt x="20" y="177"/>
                  </a:lnTo>
                  <a:lnTo>
                    <a:pt x="41" y="156"/>
                  </a:lnTo>
                  <a:lnTo>
                    <a:pt x="66" y="140"/>
                  </a:lnTo>
                  <a:lnTo>
                    <a:pt x="66" y="140"/>
                  </a:lnTo>
                  <a:lnTo>
                    <a:pt x="74" y="135"/>
                  </a:lnTo>
                  <a:lnTo>
                    <a:pt x="82" y="127"/>
                  </a:lnTo>
                  <a:lnTo>
                    <a:pt x="86" y="115"/>
                  </a:lnTo>
                  <a:lnTo>
                    <a:pt x="90" y="103"/>
                  </a:lnTo>
                  <a:lnTo>
                    <a:pt x="90" y="8"/>
                  </a:lnTo>
                  <a:lnTo>
                    <a:pt x="90" y="8"/>
                  </a:lnTo>
                  <a:lnTo>
                    <a:pt x="90" y="0"/>
                  </a:lnTo>
                  <a:lnTo>
                    <a:pt x="98" y="0"/>
                  </a:lnTo>
                  <a:lnTo>
                    <a:pt x="234" y="0"/>
                  </a:lnTo>
                  <a:lnTo>
                    <a:pt x="234" y="0"/>
                  </a:lnTo>
                  <a:lnTo>
                    <a:pt x="242" y="0"/>
                  </a:lnTo>
                  <a:lnTo>
                    <a:pt x="247" y="8"/>
                  </a:lnTo>
                  <a:lnTo>
                    <a:pt x="247" y="103"/>
                  </a:lnTo>
                  <a:lnTo>
                    <a:pt x="247" y="103"/>
                  </a:lnTo>
                  <a:lnTo>
                    <a:pt x="247" y="115"/>
                  </a:lnTo>
                  <a:lnTo>
                    <a:pt x="255" y="127"/>
                  </a:lnTo>
                  <a:lnTo>
                    <a:pt x="259" y="135"/>
                  </a:lnTo>
                  <a:lnTo>
                    <a:pt x="271" y="140"/>
                  </a:lnTo>
                  <a:lnTo>
                    <a:pt x="271" y="140"/>
                  </a:lnTo>
                  <a:lnTo>
                    <a:pt x="296" y="156"/>
                  </a:lnTo>
                  <a:lnTo>
                    <a:pt x="316" y="177"/>
                  </a:lnTo>
                  <a:lnTo>
                    <a:pt x="316" y="177"/>
                  </a:lnTo>
                  <a:lnTo>
                    <a:pt x="329" y="205"/>
                  </a:lnTo>
                  <a:lnTo>
                    <a:pt x="333" y="234"/>
                  </a:lnTo>
                  <a:lnTo>
                    <a:pt x="329" y="263"/>
                  </a:lnTo>
                  <a:lnTo>
                    <a:pt x="316" y="292"/>
                  </a:lnTo>
                  <a:lnTo>
                    <a:pt x="316" y="292"/>
                  </a:lnTo>
                  <a:lnTo>
                    <a:pt x="304" y="308"/>
                  </a:lnTo>
                  <a:lnTo>
                    <a:pt x="284" y="320"/>
                  </a:lnTo>
                  <a:lnTo>
                    <a:pt x="267" y="333"/>
                  </a:lnTo>
                  <a:lnTo>
                    <a:pt x="242" y="337"/>
                  </a:lnTo>
                  <a:lnTo>
                    <a:pt x="242" y="337"/>
                  </a:lnTo>
                  <a:lnTo>
                    <a:pt x="234" y="337"/>
                  </a:lnTo>
                  <a:lnTo>
                    <a:pt x="234" y="337"/>
                  </a:lnTo>
                  <a:close/>
                  <a:moveTo>
                    <a:pt x="168" y="292"/>
                  </a:moveTo>
                  <a:lnTo>
                    <a:pt x="168" y="292"/>
                  </a:lnTo>
                  <a:lnTo>
                    <a:pt x="177" y="292"/>
                  </a:lnTo>
                  <a:lnTo>
                    <a:pt x="177" y="292"/>
                  </a:lnTo>
                  <a:lnTo>
                    <a:pt x="189" y="304"/>
                  </a:lnTo>
                  <a:lnTo>
                    <a:pt x="205" y="312"/>
                  </a:lnTo>
                  <a:lnTo>
                    <a:pt x="222" y="316"/>
                  </a:lnTo>
                  <a:lnTo>
                    <a:pt x="242" y="316"/>
                  </a:lnTo>
                  <a:lnTo>
                    <a:pt x="242" y="316"/>
                  </a:lnTo>
                  <a:lnTo>
                    <a:pt x="259" y="312"/>
                  </a:lnTo>
                  <a:lnTo>
                    <a:pt x="275" y="304"/>
                  </a:lnTo>
                  <a:lnTo>
                    <a:pt x="288" y="292"/>
                  </a:lnTo>
                  <a:lnTo>
                    <a:pt x="300" y="279"/>
                  </a:lnTo>
                  <a:lnTo>
                    <a:pt x="300" y="279"/>
                  </a:lnTo>
                  <a:lnTo>
                    <a:pt x="312" y="259"/>
                  </a:lnTo>
                  <a:lnTo>
                    <a:pt x="312" y="234"/>
                  </a:lnTo>
                  <a:lnTo>
                    <a:pt x="308" y="209"/>
                  </a:lnTo>
                  <a:lnTo>
                    <a:pt x="300" y="189"/>
                  </a:lnTo>
                  <a:lnTo>
                    <a:pt x="300" y="189"/>
                  </a:lnTo>
                  <a:lnTo>
                    <a:pt x="284" y="172"/>
                  </a:lnTo>
                  <a:lnTo>
                    <a:pt x="263" y="160"/>
                  </a:lnTo>
                  <a:lnTo>
                    <a:pt x="263" y="160"/>
                  </a:lnTo>
                  <a:lnTo>
                    <a:pt x="247" y="152"/>
                  </a:lnTo>
                  <a:lnTo>
                    <a:pt x="234" y="140"/>
                  </a:lnTo>
                  <a:lnTo>
                    <a:pt x="230" y="119"/>
                  </a:lnTo>
                  <a:lnTo>
                    <a:pt x="226" y="103"/>
                  </a:lnTo>
                  <a:lnTo>
                    <a:pt x="226" y="20"/>
                  </a:lnTo>
                  <a:lnTo>
                    <a:pt x="111" y="20"/>
                  </a:lnTo>
                  <a:lnTo>
                    <a:pt x="111" y="103"/>
                  </a:lnTo>
                  <a:lnTo>
                    <a:pt x="111" y="103"/>
                  </a:lnTo>
                  <a:lnTo>
                    <a:pt x="107" y="119"/>
                  </a:lnTo>
                  <a:lnTo>
                    <a:pt x="98" y="140"/>
                  </a:lnTo>
                  <a:lnTo>
                    <a:pt x="86" y="152"/>
                  </a:lnTo>
                  <a:lnTo>
                    <a:pt x="74" y="160"/>
                  </a:lnTo>
                  <a:lnTo>
                    <a:pt x="74" y="160"/>
                  </a:lnTo>
                  <a:lnTo>
                    <a:pt x="53" y="172"/>
                  </a:lnTo>
                  <a:lnTo>
                    <a:pt x="37" y="189"/>
                  </a:lnTo>
                  <a:lnTo>
                    <a:pt x="37" y="189"/>
                  </a:lnTo>
                  <a:lnTo>
                    <a:pt x="24" y="209"/>
                  </a:lnTo>
                  <a:lnTo>
                    <a:pt x="20" y="234"/>
                  </a:lnTo>
                  <a:lnTo>
                    <a:pt x="24" y="259"/>
                  </a:lnTo>
                  <a:lnTo>
                    <a:pt x="33" y="279"/>
                  </a:lnTo>
                  <a:lnTo>
                    <a:pt x="33" y="279"/>
                  </a:lnTo>
                  <a:lnTo>
                    <a:pt x="45" y="292"/>
                  </a:lnTo>
                  <a:lnTo>
                    <a:pt x="61" y="304"/>
                  </a:lnTo>
                  <a:lnTo>
                    <a:pt x="78" y="312"/>
                  </a:lnTo>
                  <a:lnTo>
                    <a:pt x="94" y="316"/>
                  </a:lnTo>
                  <a:lnTo>
                    <a:pt x="94" y="316"/>
                  </a:lnTo>
                  <a:lnTo>
                    <a:pt x="115" y="316"/>
                  </a:lnTo>
                  <a:lnTo>
                    <a:pt x="131" y="312"/>
                  </a:lnTo>
                  <a:lnTo>
                    <a:pt x="148" y="304"/>
                  </a:lnTo>
                  <a:lnTo>
                    <a:pt x="160" y="292"/>
                  </a:lnTo>
                  <a:lnTo>
                    <a:pt x="160" y="292"/>
                  </a:lnTo>
                  <a:lnTo>
                    <a:pt x="168" y="292"/>
                  </a:lnTo>
                  <a:lnTo>
                    <a:pt x="168"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5" name="Freeform 239">
              <a:extLst>
                <a:ext uri="{FF2B5EF4-FFF2-40B4-BE49-F238E27FC236}">
                  <a16:creationId xmlns:a16="http://schemas.microsoft.com/office/drawing/2014/main" id="{A1FA00D5-7B48-191E-D26E-1A69CED8D68C}"/>
                </a:ext>
              </a:extLst>
            </p:cNvPr>
            <p:cNvSpPr>
              <a:spLocks noEditPoints="1"/>
            </p:cNvSpPr>
            <p:nvPr/>
          </p:nvSpPr>
          <p:spPr bwMode="auto">
            <a:xfrm>
              <a:off x="9471025" y="2441575"/>
              <a:ext cx="528638" cy="534988"/>
            </a:xfrm>
            <a:custGeom>
              <a:avLst/>
              <a:gdLst>
                <a:gd name="T0" fmla="*/ 98 w 333"/>
                <a:gd name="T1" fmla="*/ 337 h 337"/>
                <a:gd name="T2" fmla="*/ 90 w 333"/>
                <a:gd name="T3" fmla="*/ 333 h 337"/>
                <a:gd name="T4" fmla="*/ 90 w 333"/>
                <a:gd name="T5" fmla="*/ 234 h 337"/>
                <a:gd name="T6" fmla="*/ 86 w 333"/>
                <a:gd name="T7" fmla="*/ 222 h 337"/>
                <a:gd name="T8" fmla="*/ 74 w 333"/>
                <a:gd name="T9" fmla="*/ 201 h 337"/>
                <a:gd name="T10" fmla="*/ 66 w 333"/>
                <a:gd name="T11" fmla="*/ 193 h 337"/>
                <a:gd name="T12" fmla="*/ 20 w 333"/>
                <a:gd name="T13" fmla="*/ 156 h 337"/>
                <a:gd name="T14" fmla="*/ 4 w 333"/>
                <a:gd name="T15" fmla="*/ 131 h 337"/>
                <a:gd name="T16" fmla="*/ 4 w 333"/>
                <a:gd name="T17" fmla="*/ 70 h 337"/>
                <a:gd name="T18" fmla="*/ 16 w 333"/>
                <a:gd name="T19" fmla="*/ 45 h 337"/>
                <a:gd name="T20" fmla="*/ 49 w 333"/>
                <a:gd name="T21" fmla="*/ 12 h 337"/>
                <a:gd name="T22" fmla="*/ 94 w 333"/>
                <a:gd name="T23" fmla="*/ 0 h 337"/>
                <a:gd name="T24" fmla="*/ 115 w 333"/>
                <a:gd name="T25" fmla="*/ 0 h 337"/>
                <a:gd name="T26" fmla="*/ 152 w 333"/>
                <a:gd name="T27" fmla="*/ 8 h 337"/>
                <a:gd name="T28" fmla="*/ 168 w 333"/>
                <a:gd name="T29" fmla="*/ 20 h 337"/>
                <a:gd name="T30" fmla="*/ 201 w 333"/>
                <a:gd name="T31" fmla="*/ 4 h 337"/>
                <a:gd name="T32" fmla="*/ 242 w 333"/>
                <a:gd name="T33" fmla="*/ 0 h 337"/>
                <a:gd name="T34" fmla="*/ 267 w 333"/>
                <a:gd name="T35" fmla="*/ 4 h 337"/>
                <a:gd name="T36" fmla="*/ 304 w 333"/>
                <a:gd name="T37" fmla="*/ 29 h 337"/>
                <a:gd name="T38" fmla="*/ 316 w 333"/>
                <a:gd name="T39" fmla="*/ 45 h 337"/>
                <a:gd name="T40" fmla="*/ 333 w 333"/>
                <a:gd name="T41" fmla="*/ 103 h 337"/>
                <a:gd name="T42" fmla="*/ 316 w 333"/>
                <a:gd name="T43" fmla="*/ 156 h 337"/>
                <a:gd name="T44" fmla="*/ 296 w 333"/>
                <a:gd name="T45" fmla="*/ 181 h 337"/>
                <a:gd name="T46" fmla="*/ 271 w 333"/>
                <a:gd name="T47" fmla="*/ 193 h 337"/>
                <a:gd name="T48" fmla="*/ 255 w 333"/>
                <a:gd name="T49" fmla="*/ 209 h 337"/>
                <a:gd name="T50" fmla="*/ 247 w 333"/>
                <a:gd name="T51" fmla="*/ 234 h 337"/>
                <a:gd name="T52" fmla="*/ 247 w 333"/>
                <a:gd name="T53" fmla="*/ 329 h 337"/>
                <a:gd name="T54" fmla="*/ 234 w 333"/>
                <a:gd name="T55" fmla="*/ 337 h 337"/>
                <a:gd name="T56" fmla="*/ 111 w 333"/>
                <a:gd name="T57" fmla="*/ 316 h 337"/>
                <a:gd name="T58" fmla="*/ 226 w 333"/>
                <a:gd name="T59" fmla="*/ 234 h 337"/>
                <a:gd name="T60" fmla="*/ 230 w 333"/>
                <a:gd name="T61" fmla="*/ 214 h 337"/>
                <a:gd name="T62" fmla="*/ 247 w 333"/>
                <a:gd name="T63" fmla="*/ 185 h 337"/>
                <a:gd name="T64" fmla="*/ 263 w 333"/>
                <a:gd name="T65" fmla="*/ 177 h 337"/>
                <a:gd name="T66" fmla="*/ 300 w 333"/>
                <a:gd name="T67" fmla="*/ 144 h 337"/>
                <a:gd name="T68" fmla="*/ 308 w 333"/>
                <a:gd name="T69" fmla="*/ 123 h 337"/>
                <a:gd name="T70" fmla="*/ 312 w 333"/>
                <a:gd name="T71" fmla="*/ 78 h 337"/>
                <a:gd name="T72" fmla="*/ 300 w 333"/>
                <a:gd name="T73" fmla="*/ 57 h 337"/>
                <a:gd name="T74" fmla="*/ 275 w 333"/>
                <a:gd name="T75" fmla="*/ 29 h 337"/>
                <a:gd name="T76" fmla="*/ 242 w 333"/>
                <a:gd name="T77" fmla="*/ 20 h 337"/>
                <a:gd name="T78" fmla="*/ 222 w 333"/>
                <a:gd name="T79" fmla="*/ 20 h 337"/>
                <a:gd name="T80" fmla="*/ 189 w 333"/>
                <a:gd name="T81" fmla="*/ 33 h 337"/>
                <a:gd name="T82" fmla="*/ 177 w 333"/>
                <a:gd name="T83" fmla="*/ 41 h 337"/>
                <a:gd name="T84" fmla="*/ 160 w 333"/>
                <a:gd name="T85" fmla="*/ 41 h 337"/>
                <a:gd name="T86" fmla="*/ 148 w 333"/>
                <a:gd name="T87" fmla="*/ 33 h 337"/>
                <a:gd name="T88" fmla="*/ 115 w 333"/>
                <a:gd name="T89" fmla="*/ 20 h 337"/>
                <a:gd name="T90" fmla="*/ 94 w 333"/>
                <a:gd name="T91" fmla="*/ 20 h 337"/>
                <a:gd name="T92" fmla="*/ 61 w 333"/>
                <a:gd name="T93" fmla="*/ 29 h 337"/>
                <a:gd name="T94" fmla="*/ 33 w 333"/>
                <a:gd name="T95" fmla="*/ 57 h 337"/>
                <a:gd name="T96" fmla="*/ 24 w 333"/>
                <a:gd name="T97" fmla="*/ 78 h 337"/>
                <a:gd name="T98" fmla="*/ 24 w 333"/>
                <a:gd name="T99" fmla="*/ 123 h 337"/>
                <a:gd name="T100" fmla="*/ 37 w 333"/>
                <a:gd name="T101" fmla="*/ 144 h 337"/>
                <a:gd name="T102" fmla="*/ 74 w 333"/>
                <a:gd name="T103" fmla="*/ 177 h 337"/>
                <a:gd name="T104" fmla="*/ 86 w 333"/>
                <a:gd name="T105" fmla="*/ 185 h 337"/>
                <a:gd name="T106" fmla="*/ 107 w 333"/>
                <a:gd name="T107" fmla="*/ 214 h 337"/>
                <a:gd name="T108" fmla="*/ 111 w 333"/>
                <a:gd name="T109" fmla="*/ 31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3" h="337">
                  <a:moveTo>
                    <a:pt x="234" y="337"/>
                  </a:moveTo>
                  <a:lnTo>
                    <a:pt x="98" y="337"/>
                  </a:lnTo>
                  <a:lnTo>
                    <a:pt x="98" y="337"/>
                  </a:lnTo>
                  <a:lnTo>
                    <a:pt x="90" y="333"/>
                  </a:lnTo>
                  <a:lnTo>
                    <a:pt x="90" y="329"/>
                  </a:lnTo>
                  <a:lnTo>
                    <a:pt x="90" y="234"/>
                  </a:lnTo>
                  <a:lnTo>
                    <a:pt x="90" y="234"/>
                  </a:lnTo>
                  <a:lnTo>
                    <a:pt x="86" y="222"/>
                  </a:lnTo>
                  <a:lnTo>
                    <a:pt x="82" y="209"/>
                  </a:lnTo>
                  <a:lnTo>
                    <a:pt x="74" y="201"/>
                  </a:lnTo>
                  <a:lnTo>
                    <a:pt x="66" y="193"/>
                  </a:lnTo>
                  <a:lnTo>
                    <a:pt x="66" y="193"/>
                  </a:lnTo>
                  <a:lnTo>
                    <a:pt x="41" y="181"/>
                  </a:lnTo>
                  <a:lnTo>
                    <a:pt x="20" y="156"/>
                  </a:lnTo>
                  <a:lnTo>
                    <a:pt x="20" y="156"/>
                  </a:lnTo>
                  <a:lnTo>
                    <a:pt x="4" y="131"/>
                  </a:lnTo>
                  <a:lnTo>
                    <a:pt x="0" y="103"/>
                  </a:lnTo>
                  <a:lnTo>
                    <a:pt x="4" y="70"/>
                  </a:lnTo>
                  <a:lnTo>
                    <a:pt x="16" y="45"/>
                  </a:lnTo>
                  <a:lnTo>
                    <a:pt x="16" y="45"/>
                  </a:lnTo>
                  <a:lnTo>
                    <a:pt x="33" y="29"/>
                  </a:lnTo>
                  <a:lnTo>
                    <a:pt x="49" y="12"/>
                  </a:lnTo>
                  <a:lnTo>
                    <a:pt x="70" y="4"/>
                  </a:lnTo>
                  <a:lnTo>
                    <a:pt x="94" y="0"/>
                  </a:lnTo>
                  <a:lnTo>
                    <a:pt x="94" y="0"/>
                  </a:lnTo>
                  <a:lnTo>
                    <a:pt x="115" y="0"/>
                  </a:lnTo>
                  <a:lnTo>
                    <a:pt x="131" y="4"/>
                  </a:lnTo>
                  <a:lnTo>
                    <a:pt x="152" y="8"/>
                  </a:lnTo>
                  <a:lnTo>
                    <a:pt x="168" y="20"/>
                  </a:lnTo>
                  <a:lnTo>
                    <a:pt x="168" y="20"/>
                  </a:lnTo>
                  <a:lnTo>
                    <a:pt x="185" y="8"/>
                  </a:lnTo>
                  <a:lnTo>
                    <a:pt x="201" y="4"/>
                  </a:lnTo>
                  <a:lnTo>
                    <a:pt x="222" y="0"/>
                  </a:lnTo>
                  <a:lnTo>
                    <a:pt x="242" y="0"/>
                  </a:lnTo>
                  <a:lnTo>
                    <a:pt x="242" y="0"/>
                  </a:lnTo>
                  <a:lnTo>
                    <a:pt x="267" y="4"/>
                  </a:lnTo>
                  <a:lnTo>
                    <a:pt x="284" y="12"/>
                  </a:lnTo>
                  <a:lnTo>
                    <a:pt x="304" y="29"/>
                  </a:lnTo>
                  <a:lnTo>
                    <a:pt x="316" y="45"/>
                  </a:lnTo>
                  <a:lnTo>
                    <a:pt x="316" y="45"/>
                  </a:lnTo>
                  <a:lnTo>
                    <a:pt x="329" y="70"/>
                  </a:lnTo>
                  <a:lnTo>
                    <a:pt x="333" y="103"/>
                  </a:lnTo>
                  <a:lnTo>
                    <a:pt x="329" y="131"/>
                  </a:lnTo>
                  <a:lnTo>
                    <a:pt x="316" y="156"/>
                  </a:lnTo>
                  <a:lnTo>
                    <a:pt x="316" y="156"/>
                  </a:lnTo>
                  <a:lnTo>
                    <a:pt x="296" y="181"/>
                  </a:lnTo>
                  <a:lnTo>
                    <a:pt x="271" y="193"/>
                  </a:lnTo>
                  <a:lnTo>
                    <a:pt x="271" y="193"/>
                  </a:lnTo>
                  <a:lnTo>
                    <a:pt x="259" y="201"/>
                  </a:lnTo>
                  <a:lnTo>
                    <a:pt x="255" y="209"/>
                  </a:lnTo>
                  <a:lnTo>
                    <a:pt x="247" y="222"/>
                  </a:lnTo>
                  <a:lnTo>
                    <a:pt x="247" y="234"/>
                  </a:lnTo>
                  <a:lnTo>
                    <a:pt x="247" y="329"/>
                  </a:lnTo>
                  <a:lnTo>
                    <a:pt x="247" y="329"/>
                  </a:lnTo>
                  <a:lnTo>
                    <a:pt x="242" y="333"/>
                  </a:lnTo>
                  <a:lnTo>
                    <a:pt x="234" y="337"/>
                  </a:lnTo>
                  <a:lnTo>
                    <a:pt x="234" y="337"/>
                  </a:lnTo>
                  <a:close/>
                  <a:moveTo>
                    <a:pt x="111" y="316"/>
                  </a:moveTo>
                  <a:lnTo>
                    <a:pt x="226" y="316"/>
                  </a:lnTo>
                  <a:lnTo>
                    <a:pt x="226" y="234"/>
                  </a:lnTo>
                  <a:lnTo>
                    <a:pt x="226" y="234"/>
                  </a:lnTo>
                  <a:lnTo>
                    <a:pt x="230" y="214"/>
                  </a:lnTo>
                  <a:lnTo>
                    <a:pt x="234" y="197"/>
                  </a:lnTo>
                  <a:lnTo>
                    <a:pt x="247" y="185"/>
                  </a:lnTo>
                  <a:lnTo>
                    <a:pt x="263" y="177"/>
                  </a:lnTo>
                  <a:lnTo>
                    <a:pt x="263" y="177"/>
                  </a:lnTo>
                  <a:lnTo>
                    <a:pt x="284" y="164"/>
                  </a:lnTo>
                  <a:lnTo>
                    <a:pt x="300" y="144"/>
                  </a:lnTo>
                  <a:lnTo>
                    <a:pt x="300" y="144"/>
                  </a:lnTo>
                  <a:lnTo>
                    <a:pt x="308" y="123"/>
                  </a:lnTo>
                  <a:lnTo>
                    <a:pt x="312" y="103"/>
                  </a:lnTo>
                  <a:lnTo>
                    <a:pt x="312" y="78"/>
                  </a:lnTo>
                  <a:lnTo>
                    <a:pt x="300" y="57"/>
                  </a:lnTo>
                  <a:lnTo>
                    <a:pt x="300" y="57"/>
                  </a:lnTo>
                  <a:lnTo>
                    <a:pt x="288" y="41"/>
                  </a:lnTo>
                  <a:lnTo>
                    <a:pt x="275" y="29"/>
                  </a:lnTo>
                  <a:lnTo>
                    <a:pt x="259" y="24"/>
                  </a:lnTo>
                  <a:lnTo>
                    <a:pt x="242" y="20"/>
                  </a:lnTo>
                  <a:lnTo>
                    <a:pt x="242" y="20"/>
                  </a:lnTo>
                  <a:lnTo>
                    <a:pt x="222" y="20"/>
                  </a:lnTo>
                  <a:lnTo>
                    <a:pt x="205" y="24"/>
                  </a:lnTo>
                  <a:lnTo>
                    <a:pt x="189" y="33"/>
                  </a:lnTo>
                  <a:lnTo>
                    <a:pt x="177" y="41"/>
                  </a:lnTo>
                  <a:lnTo>
                    <a:pt x="177" y="41"/>
                  </a:lnTo>
                  <a:lnTo>
                    <a:pt x="168" y="45"/>
                  </a:lnTo>
                  <a:lnTo>
                    <a:pt x="160" y="41"/>
                  </a:lnTo>
                  <a:lnTo>
                    <a:pt x="160" y="41"/>
                  </a:lnTo>
                  <a:lnTo>
                    <a:pt x="148" y="33"/>
                  </a:lnTo>
                  <a:lnTo>
                    <a:pt x="131" y="24"/>
                  </a:lnTo>
                  <a:lnTo>
                    <a:pt x="115" y="20"/>
                  </a:lnTo>
                  <a:lnTo>
                    <a:pt x="94" y="20"/>
                  </a:lnTo>
                  <a:lnTo>
                    <a:pt x="94" y="20"/>
                  </a:lnTo>
                  <a:lnTo>
                    <a:pt x="78" y="24"/>
                  </a:lnTo>
                  <a:lnTo>
                    <a:pt x="61" y="29"/>
                  </a:lnTo>
                  <a:lnTo>
                    <a:pt x="45" y="41"/>
                  </a:lnTo>
                  <a:lnTo>
                    <a:pt x="33" y="57"/>
                  </a:lnTo>
                  <a:lnTo>
                    <a:pt x="33" y="57"/>
                  </a:lnTo>
                  <a:lnTo>
                    <a:pt x="24" y="78"/>
                  </a:lnTo>
                  <a:lnTo>
                    <a:pt x="20" y="103"/>
                  </a:lnTo>
                  <a:lnTo>
                    <a:pt x="24" y="123"/>
                  </a:lnTo>
                  <a:lnTo>
                    <a:pt x="37" y="144"/>
                  </a:lnTo>
                  <a:lnTo>
                    <a:pt x="37" y="144"/>
                  </a:lnTo>
                  <a:lnTo>
                    <a:pt x="53" y="164"/>
                  </a:lnTo>
                  <a:lnTo>
                    <a:pt x="74" y="177"/>
                  </a:lnTo>
                  <a:lnTo>
                    <a:pt x="74" y="177"/>
                  </a:lnTo>
                  <a:lnTo>
                    <a:pt x="86" y="185"/>
                  </a:lnTo>
                  <a:lnTo>
                    <a:pt x="98" y="197"/>
                  </a:lnTo>
                  <a:lnTo>
                    <a:pt x="107" y="214"/>
                  </a:lnTo>
                  <a:lnTo>
                    <a:pt x="111" y="234"/>
                  </a:lnTo>
                  <a:lnTo>
                    <a:pt x="111"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6" name="Freeform 240">
              <a:extLst>
                <a:ext uri="{FF2B5EF4-FFF2-40B4-BE49-F238E27FC236}">
                  <a16:creationId xmlns:a16="http://schemas.microsoft.com/office/drawing/2014/main" id="{6F0CA762-A808-E69C-F14F-3D8390023535}"/>
                </a:ext>
              </a:extLst>
            </p:cNvPr>
            <p:cNvSpPr>
              <a:spLocks/>
            </p:cNvSpPr>
            <p:nvPr/>
          </p:nvSpPr>
          <p:spPr bwMode="auto">
            <a:xfrm>
              <a:off x="10031413" y="2212975"/>
              <a:ext cx="268288" cy="169863"/>
            </a:xfrm>
            <a:custGeom>
              <a:avLst/>
              <a:gdLst>
                <a:gd name="T0" fmla="*/ 9 w 169"/>
                <a:gd name="T1" fmla="*/ 107 h 107"/>
                <a:gd name="T2" fmla="*/ 9 w 169"/>
                <a:gd name="T3" fmla="*/ 107 h 107"/>
                <a:gd name="T4" fmla="*/ 17 w 169"/>
                <a:gd name="T5" fmla="*/ 103 h 107"/>
                <a:gd name="T6" fmla="*/ 74 w 169"/>
                <a:gd name="T7" fmla="*/ 49 h 107"/>
                <a:gd name="T8" fmla="*/ 66 w 169"/>
                <a:gd name="T9" fmla="*/ 86 h 107"/>
                <a:gd name="T10" fmla="*/ 66 w 169"/>
                <a:gd name="T11" fmla="*/ 86 h 107"/>
                <a:gd name="T12" fmla="*/ 66 w 169"/>
                <a:gd name="T13" fmla="*/ 94 h 107"/>
                <a:gd name="T14" fmla="*/ 70 w 169"/>
                <a:gd name="T15" fmla="*/ 99 h 107"/>
                <a:gd name="T16" fmla="*/ 70 w 169"/>
                <a:gd name="T17" fmla="*/ 99 h 107"/>
                <a:gd name="T18" fmla="*/ 74 w 169"/>
                <a:gd name="T19" fmla="*/ 99 h 107"/>
                <a:gd name="T20" fmla="*/ 83 w 169"/>
                <a:gd name="T21" fmla="*/ 99 h 107"/>
                <a:gd name="T22" fmla="*/ 165 w 169"/>
                <a:gd name="T23" fmla="*/ 16 h 107"/>
                <a:gd name="T24" fmla="*/ 165 w 169"/>
                <a:gd name="T25" fmla="*/ 16 h 107"/>
                <a:gd name="T26" fmla="*/ 169 w 169"/>
                <a:gd name="T27" fmla="*/ 12 h 107"/>
                <a:gd name="T28" fmla="*/ 165 w 169"/>
                <a:gd name="T29" fmla="*/ 4 h 107"/>
                <a:gd name="T30" fmla="*/ 165 w 169"/>
                <a:gd name="T31" fmla="*/ 4 h 107"/>
                <a:gd name="T32" fmla="*/ 161 w 169"/>
                <a:gd name="T33" fmla="*/ 0 h 107"/>
                <a:gd name="T34" fmla="*/ 153 w 169"/>
                <a:gd name="T35" fmla="*/ 4 h 107"/>
                <a:gd name="T36" fmla="*/ 95 w 169"/>
                <a:gd name="T37" fmla="*/ 57 h 107"/>
                <a:gd name="T38" fmla="*/ 103 w 169"/>
                <a:gd name="T39" fmla="*/ 20 h 107"/>
                <a:gd name="T40" fmla="*/ 103 w 169"/>
                <a:gd name="T41" fmla="*/ 20 h 107"/>
                <a:gd name="T42" fmla="*/ 103 w 169"/>
                <a:gd name="T43" fmla="*/ 12 h 107"/>
                <a:gd name="T44" fmla="*/ 99 w 169"/>
                <a:gd name="T45" fmla="*/ 8 h 107"/>
                <a:gd name="T46" fmla="*/ 99 w 169"/>
                <a:gd name="T47" fmla="*/ 8 h 107"/>
                <a:gd name="T48" fmla="*/ 95 w 169"/>
                <a:gd name="T49" fmla="*/ 8 h 107"/>
                <a:gd name="T50" fmla="*/ 87 w 169"/>
                <a:gd name="T51" fmla="*/ 8 h 107"/>
                <a:gd name="T52" fmla="*/ 5 w 169"/>
                <a:gd name="T53" fmla="*/ 90 h 107"/>
                <a:gd name="T54" fmla="*/ 5 w 169"/>
                <a:gd name="T55" fmla="*/ 90 h 107"/>
                <a:gd name="T56" fmla="*/ 0 w 169"/>
                <a:gd name="T57" fmla="*/ 94 h 107"/>
                <a:gd name="T58" fmla="*/ 0 w 169"/>
                <a:gd name="T59" fmla="*/ 103 h 107"/>
                <a:gd name="T60" fmla="*/ 0 w 169"/>
                <a:gd name="T61" fmla="*/ 103 h 107"/>
                <a:gd name="T62" fmla="*/ 9 w 169"/>
                <a:gd name="T63" fmla="*/ 107 h 107"/>
                <a:gd name="T64" fmla="*/ 9 w 169"/>
                <a:gd name="T6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07">
                  <a:moveTo>
                    <a:pt x="9" y="107"/>
                  </a:moveTo>
                  <a:lnTo>
                    <a:pt x="9" y="107"/>
                  </a:lnTo>
                  <a:lnTo>
                    <a:pt x="17" y="103"/>
                  </a:lnTo>
                  <a:lnTo>
                    <a:pt x="74" y="49"/>
                  </a:lnTo>
                  <a:lnTo>
                    <a:pt x="66" y="86"/>
                  </a:lnTo>
                  <a:lnTo>
                    <a:pt x="66" y="86"/>
                  </a:lnTo>
                  <a:lnTo>
                    <a:pt x="66" y="94"/>
                  </a:lnTo>
                  <a:lnTo>
                    <a:pt x="70" y="99"/>
                  </a:lnTo>
                  <a:lnTo>
                    <a:pt x="70" y="99"/>
                  </a:lnTo>
                  <a:lnTo>
                    <a:pt x="74" y="99"/>
                  </a:lnTo>
                  <a:lnTo>
                    <a:pt x="83" y="99"/>
                  </a:lnTo>
                  <a:lnTo>
                    <a:pt x="165" y="16"/>
                  </a:lnTo>
                  <a:lnTo>
                    <a:pt x="165" y="16"/>
                  </a:lnTo>
                  <a:lnTo>
                    <a:pt x="169" y="12"/>
                  </a:lnTo>
                  <a:lnTo>
                    <a:pt x="165" y="4"/>
                  </a:lnTo>
                  <a:lnTo>
                    <a:pt x="165" y="4"/>
                  </a:lnTo>
                  <a:lnTo>
                    <a:pt x="161" y="0"/>
                  </a:lnTo>
                  <a:lnTo>
                    <a:pt x="153" y="4"/>
                  </a:lnTo>
                  <a:lnTo>
                    <a:pt x="95" y="57"/>
                  </a:lnTo>
                  <a:lnTo>
                    <a:pt x="103" y="20"/>
                  </a:lnTo>
                  <a:lnTo>
                    <a:pt x="103" y="20"/>
                  </a:lnTo>
                  <a:lnTo>
                    <a:pt x="103" y="12"/>
                  </a:lnTo>
                  <a:lnTo>
                    <a:pt x="99" y="8"/>
                  </a:lnTo>
                  <a:lnTo>
                    <a:pt x="99" y="8"/>
                  </a:lnTo>
                  <a:lnTo>
                    <a:pt x="95" y="8"/>
                  </a:lnTo>
                  <a:lnTo>
                    <a:pt x="87" y="8"/>
                  </a:lnTo>
                  <a:lnTo>
                    <a:pt x="5" y="90"/>
                  </a:lnTo>
                  <a:lnTo>
                    <a:pt x="5" y="90"/>
                  </a:lnTo>
                  <a:lnTo>
                    <a:pt x="0" y="94"/>
                  </a:lnTo>
                  <a:lnTo>
                    <a:pt x="0" y="103"/>
                  </a:lnTo>
                  <a:lnTo>
                    <a:pt x="0" y="103"/>
                  </a:lnTo>
                  <a:lnTo>
                    <a:pt x="9" y="107"/>
                  </a:lnTo>
                  <a:lnTo>
                    <a:pt x="9"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7" name="Freeform 241">
              <a:extLst>
                <a:ext uri="{FF2B5EF4-FFF2-40B4-BE49-F238E27FC236}">
                  <a16:creationId xmlns:a16="http://schemas.microsoft.com/office/drawing/2014/main" id="{2C17E50D-A645-9EB8-BA13-CC5E81CC9F15}"/>
                </a:ext>
              </a:extLst>
            </p:cNvPr>
            <p:cNvSpPr>
              <a:spLocks/>
            </p:cNvSpPr>
            <p:nvPr/>
          </p:nvSpPr>
          <p:spPr bwMode="auto">
            <a:xfrm>
              <a:off x="9177338" y="2212975"/>
              <a:ext cx="266700" cy="169863"/>
            </a:xfrm>
            <a:custGeom>
              <a:avLst/>
              <a:gdLst>
                <a:gd name="T0" fmla="*/ 86 w 168"/>
                <a:gd name="T1" fmla="*/ 99 h 107"/>
                <a:gd name="T2" fmla="*/ 86 w 168"/>
                <a:gd name="T3" fmla="*/ 99 h 107"/>
                <a:gd name="T4" fmla="*/ 90 w 168"/>
                <a:gd name="T5" fmla="*/ 99 h 107"/>
                <a:gd name="T6" fmla="*/ 98 w 168"/>
                <a:gd name="T7" fmla="*/ 99 h 107"/>
                <a:gd name="T8" fmla="*/ 98 w 168"/>
                <a:gd name="T9" fmla="*/ 99 h 107"/>
                <a:gd name="T10" fmla="*/ 103 w 168"/>
                <a:gd name="T11" fmla="*/ 94 h 107"/>
                <a:gd name="T12" fmla="*/ 103 w 168"/>
                <a:gd name="T13" fmla="*/ 86 h 107"/>
                <a:gd name="T14" fmla="*/ 94 w 168"/>
                <a:gd name="T15" fmla="*/ 49 h 107"/>
                <a:gd name="T16" fmla="*/ 152 w 168"/>
                <a:gd name="T17" fmla="*/ 103 h 107"/>
                <a:gd name="T18" fmla="*/ 152 w 168"/>
                <a:gd name="T19" fmla="*/ 103 h 107"/>
                <a:gd name="T20" fmla="*/ 156 w 168"/>
                <a:gd name="T21" fmla="*/ 107 h 107"/>
                <a:gd name="T22" fmla="*/ 156 w 168"/>
                <a:gd name="T23" fmla="*/ 107 h 107"/>
                <a:gd name="T24" fmla="*/ 164 w 168"/>
                <a:gd name="T25" fmla="*/ 103 h 107"/>
                <a:gd name="T26" fmla="*/ 164 w 168"/>
                <a:gd name="T27" fmla="*/ 103 h 107"/>
                <a:gd name="T28" fmla="*/ 168 w 168"/>
                <a:gd name="T29" fmla="*/ 94 h 107"/>
                <a:gd name="T30" fmla="*/ 164 w 168"/>
                <a:gd name="T31" fmla="*/ 90 h 107"/>
                <a:gd name="T32" fmla="*/ 78 w 168"/>
                <a:gd name="T33" fmla="*/ 8 h 107"/>
                <a:gd name="T34" fmla="*/ 78 w 168"/>
                <a:gd name="T35" fmla="*/ 8 h 107"/>
                <a:gd name="T36" fmla="*/ 74 w 168"/>
                <a:gd name="T37" fmla="*/ 8 h 107"/>
                <a:gd name="T38" fmla="*/ 66 w 168"/>
                <a:gd name="T39" fmla="*/ 8 h 107"/>
                <a:gd name="T40" fmla="*/ 66 w 168"/>
                <a:gd name="T41" fmla="*/ 8 h 107"/>
                <a:gd name="T42" fmla="*/ 61 w 168"/>
                <a:gd name="T43" fmla="*/ 12 h 107"/>
                <a:gd name="T44" fmla="*/ 61 w 168"/>
                <a:gd name="T45" fmla="*/ 20 h 107"/>
                <a:gd name="T46" fmla="*/ 74 w 168"/>
                <a:gd name="T47" fmla="*/ 57 h 107"/>
                <a:gd name="T48" fmla="*/ 16 w 168"/>
                <a:gd name="T49" fmla="*/ 4 h 107"/>
                <a:gd name="T50" fmla="*/ 16 w 168"/>
                <a:gd name="T51" fmla="*/ 4 h 107"/>
                <a:gd name="T52" fmla="*/ 8 w 168"/>
                <a:gd name="T53" fmla="*/ 0 h 107"/>
                <a:gd name="T54" fmla="*/ 0 w 168"/>
                <a:gd name="T55" fmla="*/ 4 h 107"/>
                <a:gd name="T56" fmla="*/ 0 w 168"/>
                <a:gd name="T57" fmla="*/ 4 h 107"/>
                <a:gd name="T58" fmla="*/ 0 w 168"/>
                <a:gd name="T59" fmla="*/ 12 h 107"/>
                <a:gd name="T60" fmla="*/ 0 w 168"/>
                <a:gd name="T61" fmla="*/ 16 h 107"/>
                <a:gd name="T62" fmla="*/ 86 w 168"/>
                <a:gd name="T63" fmla="*/ 9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07">
                  <a:moveTo>
                    <a:pt x="86" y="99"/>
                  </a:moveTo>
                  <a:lnTo>
                    <a:pt x="86" y="99"/>
                  </a:lnTo>
                  <a:lnTo>
                    <a:pt x="90" y="99"/>
                  </a:lnTo>
                  <a:lnTo>
                    <a:pt x="98" y="99"/>
                  </a:lnTo>
                  <a:lnTo>
                    <a:pt x="98" y="99"/>
                  </a:lnTo>
                  <a:lnTo>
                    <a:pt x="103" y="94"/>
                  </a:lnTo>
                  <a:lnTo>
                    <a:pt x="103" y="86"/>
                  </a:lnTo>
                  <a:lnTo>
                    <a:pt x="94" y="49"/>
                  </a:lnTo>
                  <a:lnTo>
                    <a:pt x="152" y="103"/>
                  </a:lnTo>
                  <a:lnTo>
                    <a:pt x="152" y="103"/>
                  </a:lnTo>
                  <a:lnTo>
                    <a:pt x="156" y="107"/>
                  </a:lnTo>
                  <a:lnTo>
                    <a:pt x="156" y="107"/>
                  </a:lnTo>
                  <a:lnTo>
                    <a:pt x="164" y="103"/>
                  </a:lnTo>
                  <a:lnTo>
                    <a:pt x="164" y="103"/>
                  </a:lnTo>
                  <a:lnTo>
                    <a:pt x="168" y="94"/>
                  </a:lnTo>
                  <a:lnTo>
                    <a:pt x="164" y="90"/>
                  </a:lnTo>
                  <a:lnTo>
                    <a:pt x="78" y="8"/>
                  </a:lnTo>
                  <a:lnTo>
                    <a:pt x="78" y="8"/>
                  </a:lnTo>
                  <a:lnTo>
                    <a:pt x="74" y="8"/>
                  </a:lnTo>
                  <a:lnTo>
                    <a:pt x="66" y="8"/>
                  </a:lnTo>
                  <a:lnTo>
                    <a:pt x="66" y="8"/>
                  </a:lnTo>
                  <a:lnTo>
                    <a:pt x="61" y="12"/>
                  </a:lnTo>
                  <a:lnTo>
                    <a:pt x="61" y="20"/>
                  </a:lnTo>
                  <a:lnTo>
                    <a:pt x="74" y="57"/>
                  </a:lnTo>
                  <a:lnTo>
                    <a:pt x="16" y="4"/>
                  </a:lnTo>
                  <a:lnTo>
                    <a:pt x="16" y="4"/>
                  </a:lnTo>
                  <a:lnTo>
                    <a:pt x="8" y="0"/>
                  </a:lnTo>
                  <a:lnTo>
                    <a:pt x="0" y="4"/>
                  </a:lnTo>
                  <a:lnTo>
                    <a:pt x="0" y="4"/>
                  </a:lnTo>
                  <a:lnTo>
                    <a:pt x="0" y="12"/>
                  </a:lnTo>
                  <a:lnTo>
                    <a:pt x="0" y="16"/>
                  </a:lnTo>
                  <a:lnTo>
                    <a:pt x="8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8" name="Freeform 242">
              <a:extLst>
                <a:ext uri="{FF2B5EF4-FFF2-40B4-BE49-F238E27FC236}">
                  <a16:creationId xmlns:a16="http://schemas.microsoft.com/office/drawing/2014/main" id="{564478C3-8C09-20D9-3D9D-E372FEA8C520}"/>
                </a:ext>
              </a:extLst>
            </p:cNvPr>
            <p:cNvSpPr>
              <a:spLocks/>
            </p:cNvSpPr>
            <p:nvPr/>
          </p:nvSpPr>
          <p:spPr bwMode="auto">
            <a:xfrm>
              <a:off x="9177338" y="2447925"/>
              <a:ext cx="266700" cy="169863"/>
            </a:xfrm>
            <a:custGeom>
              <a:avLst/>
              <a:gdLst>
                <a:gd name="T0" fmla="*/ 152 w 168"/>
                <a:gd name="T1" fmla="*/ 4 h 107"/>
                <a:gd name="T2" fmla="*/ 94 w 168"/>
                <a:gd name="T3" fmla="*/ 57 h 107"/>
                <a:gd name="T4" fmla="*/ 103 w 168"/>
                <a:gd name="T5" fmla="*/ 20 h 107"/>
                <a:gd name="T6" fmla="*/ 103 w 168"/>
                <a:gd name="T7" fmla="*/ 20 h 107"/>
                <a:gd name="T8" fmla="*/ 103 w 168"/>
                <a:gd name="T9" fmla="*/ 12 h 107"/>
                <a:gd name="T10" fmla="*/ 98 w 168"/>
                <a:gd name="T11" fmla="*/ 8 h 107"/>
                <a:gd name="T12" fmla="*/ 98 w 168"/>
                <a:gd name="T13" fmla="*/ 8 h 107"/>
                <a:gd name="T14" fmla="*/ 90 w 168"/>
                <a:gd name="T15" fmla="*/ 8 h 107"/>
                <a:gd name="T16" fmla="*/ 86 w 168"/>
                <a:gd name="T17" fmla="*/ 8 h 107"/>
                <a:gd name="T18" fmla="*/ 0 w 168"/>
                <a:gd name="T19" fmla="*/ 90 h 107"/>
                <a:gd name="T20" fmla="*/ 0 w 168"/>
                <a:gd name="T21" fmla="*/ 90 h 107"/>
                <a:gd name="T22" fmla="*/ 0 w 168"/>
                <a:gd name="T23" fmla="*/ 94 h 107"/>
                <a:gd name="T24" fmla="*/ 0 w 168"/>
                <a:gd name="T25" fmla="*/ 103 h 107"/>
                <a:gd name="T26" fmla="*/ 0 w 168"/>
                <a:gd name="T27" fmla="*/ 103 h 107"/>
                <a:gd name="T28" fmla="*/ 8 w 168"/>
                <a:gd name="T29" fmla="*/ 107 h 107"/>
                <a:gd name="T30" fmla="*/ 8 w 168"/>
                <a:gd name="T31" fmla="*/ 107 h 107"/>
                <a:gd name="T32" fmla="*/ 16 w 168"/>
                <a:gd name="T33" fmla="*/ 103 h 107"/>
                <a:gd name="T34" fmla="*/ 74 w 168"/>
                <a:gd name="T35" fmla="*/ 49 h 107"/>
                <a:gd name="T36" fmla="*/ 61 w 168"/>
                <a:gd name="T37" fmla="*/ 86 h 107"/>
                <a:gd name="T38" fmla="*/ 61 w 168"/>
                <a:gd name="T39" fmla="*/ 86 h 107"/>
                <a:gd name="T40" fmla="*/ 61 w 168"/>
                <a:gd name="T41" fmla="*/ 94 h 107"/>
                <a:gd name="T42" fmla="*/ 66 w 168"/>
                <a:gd name="T43" fmla="*/ 99 h 107"/>
                <a:gd name="T44" fmla="*/ 66 w 168"/>
                <a:gd name="T45" fmla="*/ 99 h 107"/>
                <a:gd name="T46" fmla="*/ 74 w 168"/>
                <a:gd name="T47" fmla="*/ 99 h 107"/>
                <a:gd name="T48" fmla="*/ 78 w 168"/>
                <a:gd name="T49" fmla="*/ 99 h 107"/>
                <a:gd name="T50" fmla="*/ 164 w 168"/>
                <a:gd name="T51" fmla="*/ 16 h 107"/>
                <a:gd name="T52" fmla="*/ 164 w 168"/>
                <a:gd name="T53" fmla="*/ 16 h 107"/>
                <a:gd name="T54" fmla="*/ 168 w 168"/>
                <a:gd name="T55" fmla="*/ 12 h 107"/>
                <a:gd name="T56" fmla="*/ 164 w 168"/>
                <a:gd name="T57" fmla="*/ 4 h 107"/>
                <a:gd name="T58" fmla="*/ 164 w 168"/>
                <a:gd name="T59" fmla="*/ 4 h 107"/>
                <a:gd name="T60" fmla="*/ 160 w 168"/>
                <a:gd name="T61" fmla="*/ 0 h 107"/>
                <a:gd name="T62" fmla="*/ 152 w 168"/>
                <a:gd name="T63" fmla="*/ 4 h 107"/>
                <a:gd name="T64" fmla="*/ 152 w 168"/>
                <a:gd name="T65" fmla="*/ 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07">
                  <a:moveTo>
                    <a:pt x="152" y="4"/>
                  </a:moveTo>
                  <a:lnTo>
                    <a:pt x="94" y="57"/>
                  </a:lnTo>
                  <a:lnTo>
                    <a:pt x="103" y="20"/>
                  </a:lnTo>
                  <a:lnTo>
                    <a:pt x="103" y="20"/>
                  </a:lnTo>
                  <a:lnTo>
                    <a:pt x="103" y="12"/>
                  </a:lnTo>
                  <a:lnTo>
                    <a:pt x="98" y="8"/>
                  </a:lnTo>
                  <a:lnTo>
                    <a:pt x="98" y="8"/>
                  </a:lnTo>
                  <a:lnTo>
                    <a:pt x="90" y="8"/>
                  </a:lnTo>
                  <a:lnTo>
                    <a:pt x="86" y="8"/>
                  </a:lnTo>
                  <a:lnTo>
                    <a:pt x="0" y="90"/>
                  </a:lnTo>
                  <a:lnTo>
                    <a:pt x="0" y="90"/>
                  </a:lnTo>
                  <a:lnTo>
                    <a:pt x="0" y="94"/>
                  </a:lnTo>
                  <a:lnTo>
                    <a:pt x="0" y="103"/>
                  </a:lnTo>
                  <a:lnTo>
                    <a:pt x="0" y="103"/>
                  </a:lnTo>
                  <a:lnTo>
                    <a:pt x="8" y="107"/>
                  </a:lnTo>
                  <a:lnTo>
                    <a:pt x="8" y="107"/>
                  </a:lnTo>
                  <a:lnTo>
                    <a:pt x="16" y="103"/>
                  </a:lnTo>
                  <a:lnTo>
                    <a:pt x="74" y="49"/>
                  </a:lnTo>
                  <a:lnTo>
                    <a:pt x="61" y="86"/>
                  </a:lnTo>
                  <a:lnTo>
                    <a:pt x="61" y="86"/>
                  </a:lnTo>
                  <a:lnTo>
                    <a:pt x="61" y="94"/>
                  </a:lnTo>
                  <a:lnTo>
                    <a:pt x="66" y="99"/>
                  </a:lnTo>
                  <a:lnTo>
                    <a:pt x="66" y="99"/>
                  </a:lnTo>
                  <a:lnTo>
                    <a:pt x="74" y="99"/>
                  </a:lnTo>
                  <a:lnTo>
                    <a:pt x="78" y="99"/>
                  </a:lnTo>
                  <a:lnTo>
                    <a:pt x="164" y="16"/>
                  </a:lnTo>
                  <a:lnTo>
                    <a:pt x="164" y="16"/>
                  </a:lnTo>
                  <a:lnTo>
                    <a:pt x="168" y="12"/>
                  </a:lnTo>
                  <a:lnTo>
                    <a:pt x="164" y="4"/>
                  </a:lnTo>
                  <a:lnTo>
                    <a:pt x="164" y="4"/>
                  </a:lnTo>
                  <a:lnTo>
                    <a:pt x="160" y="0"/>
                  </a:lnTo>
                  <a:lnTo>
                    <a:pt x="152" y="4"/>
                  </a:lnTo>
                  <a:lnTo>
                    <a:pt x="1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9" name="Freeform 243">
              <a:extLst>
                <a:ext uri="{FF2B5EF4-FFF2-40B4-BE49-F238E27FC236}">
                  <a16:creationId xmlns:a16="http://schemas.microsoft.com/office/drawing/2014/main" id="{A6A9A372-18A3-82F3-93A3-5228157E3AC4}"/>
                </a:ext>
              </a:extLst>
            </p:cNvPr>
            <p:cNvSpPr>
              <a:spLocks/>
            </p:cNvSpPr>
            <p:nvPr/>
          </p:nvSpPr>
          <p:spPr bwMode="auto">
            <a:xfrm>
              <a:off x="10031413" y="2447925"/>
              <a:ext cx="268288" cy="169863"/>
            </a:xfrm>
            <a:custGeom>
              <a:avLst/>
              <a:gdLst>
                <a:gd name="T0" fmla="*/ 83 w 169"/>
                <a:gd name="T1" fmla="*/ 8 h 107"/>
                <a:gd name="T2" fmla="*/ 83 w 169"/>
                <a:gd name="T3" fmla="*/ 8 h 107"/>
                <a:gd name="T4" fmla="*/ 74 w 169"/>
                <a:gd name="T5" fmla="*/ 8 h 107"/>
                <a:gd name="T6" fmla="*/ 70 w 169"/>
                <a:gd name="T7" fmla="*/ 8 h 107"/>
                <a:gd name="T8" fmla="*/ 70 w 169"/>
                <a:gd name="T9" fmla="*/ 8 h 107"/>
                <a:gd name="T10" fmla="*/ 66 w 169"/>
                <a:gd name="T11" fmla="*/ 12 h 107"/>
                <a:gd name="T12" fmla="*/ 66 w 169"/>
                <a:gd name="T13" fmla="*/ 20 h 107"/>
                <a:gd name="T14" fmla="*/ 74 w 169"/>
                <a:gd name="T15" fmla="*/ 57 h 107"/>
                <a:gd name="T16" fmla="*/ 17 w 169"/>
                <a:gd name="T17" fmla="*/ 4 h 107"/>
                <a:gd name="T18" fmla="*/ 17 w 169"/>
                <a:gd name="T19" fmla="*/ 4 h 107"/>
                <a:gd name="T20" fmla="*/ 9 w 169"/>
                <a:gd name="T21" fmla="*/ 0 h 107"/>
                <a:gd name="T22" fmla="*/ 0 w 169"/>
                <a:gd name="T23" fmla="*/ 4 h 107"/>
                <a:gd name="T24" fmla="*/ 0 w 169"/>
                <a:gd name="T25" fmla="*/ 4 h 107"/>
                <a:gd name="T26" fmla="*/ 0 w 169"/>
                <a:gd name="T27" fmla="*/ 12 h 107"/>
                <a:gd name="T28" fmla="*/ 5 w 169"/>
                <a:gd name="T29" fmla="*/ 16 h 107"/>
                <a:gd name="T30" fmla="*/ 87 w 169"/>
                <a:gd name="T31" fmla="*/ 99 h 107"/>
                <a:gd name="T32" fmla="*/ 87 w 169"/>
                <a:gd name="T33" fmla="*/ 99 h 107"/>
                <a:gd name="T34" fmla="*/ 95 w 169"/>
                <a:gd name="T35" fmla="*/ 99 h 107"/>
                <a:gd name="T36" fmla="*/ 99 w 169"/>
                <a:gd name="T37" fmla="*/ 99 h 107"/>
                <a:gd name="T38" fmla="*/ 99 w 169"/>
                <a:gd name="T39" fmla="*/ 99 h 107"/>
                <a:gd name="T40" fmla="*/ 103 w 169"/>
                <a:gd name="T41" fmla="*/ 94 h 107"/>
                <a:gd name="T42" fmla="*/ 103 w 169"/>
                <a:gd name="T43" fmla="*/ 86 h 107"/>
                <a:gd name="T44" fmla="*/ 95 w 169"/>
                <a:gd name="T45" fmla="*/ 49 h 107"/>
                <a:gd name="T46" fmla="*/ 153 w 169"/>
                <a:gd name="T47" fmla="*/ 103 h 107"/>
                <a:gd name="T48" fmla="*/ 153 w 169"/>
                <a:gd name="T49" fmla="*/ 103 h 107"/>
                <a:gd name="T50" fmla="*/ 161 w 169"/>
                <a:gd name="T51" fmla="*/ 107 h 107"/>
                <a:gd name="T52" fmla="*/ 161 w 169"/>
                <a:gd name="T53" fmla="*/ 107 h 107"/>
                <a:gd name="T54" fmla="*/ 165 w 169"/>
                <a:gd name="T55" fmla="*/ 103 h 107"/>
                <a:gd name="T56" fmla="*/ 165 w 169"/>
                <a:gd name="T57" fmla="*/ 103 h 107"/>
                <a:gd name="T58" fmla="*/ 169 w 169"/>
                <a:gd name="T59" fmla="*/ 94 h 107"/>
                <a:gd name="T60" fmla="*/ 165 w 169"/>
                <a:gd name="T61" fmla="*/ 90 h 107"/>
                <a:gd name="T62" fmla="*/ 83 w 169"/>
                <a:gd name="T6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07">
                  <a:moveTo>
                    <a:pt x="83" y="8"/>
                  </a:moveTo>
                  <a:lnTo>
                    <a:pt x="83" y="8"/>
                  </a:lnTo>
                  <a:lnTo>
                    <a:pt x="74" y="8"/>
                  </a:lnTo>
                  <a:lnTo>
                    <a:pt x="70" y="8"/>
                  </a:lnTo>
                  <a:lnTo>
                    <a:pt x="70" y="8"/>
                  </a:lnTo>
                  <a:lnTo>
                    <a:pt x="66" y="12"/>
                  </a:lnTo>
                  <a:lnTo>
                    <a:pt x="66" y="20"/>
                  </a:lnTo>
                  <a:lnTo>
                    <a:pt x="74" y="57"/>
                  </a:lnTo>
                  <a:lnTo>
                    <a:pt x="17" y="4"/>
                  </a:lnTo>
                  <a:lnTo>
                    <a:pt x="17" y="4"/>
                  </a:lnTo>
                  <a:lnTo>
                    <a:pt x="9" y="0"/>
                  </a:lnTo>
                  <a:lnTo>
                    <a:pt x="0" y="4"/>
                  </a:lnTo>
                  <a:lnTo>
                    <a:pt x="0" y="4"/>
                  </a:lnTo>
                  <a:lnTo>
                    <a:pt x="0" y="12"/>
                  </a:lnTo>
                  <a:lnTo>
                    <a:pt x="5" y="16"/>
                  </a:lnTo>
                  <a:lnTo>
                    <a:pt x="87" y="99"/>
                  </a:lnTo>
                  <a:lnTo>
                    <a:pt x="87" y="99"/>
                  </a:lnTo>
                  <a:lnTo>
                    <a:pt x="95" y="99"/>
                  </a:lnTo>
                  <a:lnTo>
                    <a:pt x="99" y="99"/>
                  </a:lnTo>
                  <a:lnTo>
                    <a:pt x="99" y="99"/>
                  </a:lnTo>
                  <a:lnTo>
                    <a:pt x="103" y="94"/>
                  </a:lnTo>
                  <a:lnTo>
                    <a:pt x="103" y="86"/>
                  </a:lnTo>
                  <a:lnTo>
                    <a:pt x="95" y="49"/>
                  </a:lnTo>
                  <a:lnTo>
                    <a:pt x="153" y="103"/>
                  </a:lnTo>
                  <a:lnTo>
                    <a:pt x="153" y="103"/>
                  </a:lnTo>
                  <a:lnTo>
                    <a:pt x="161" y="107"/>
                  </a:lnTo>
                  <a:lnTo>
                    <a:pt x="161" y="107"/>
                  </a:lnTo>
                  <a:lnTo>
                    <a:pt x="165" y="103"/>
                  </a:lnTo>
                  <a:lnTo>
                    <a:pt x="165" y="103"/>
                  </a:lnTo>
                  <a:lnTo>
                    <a:pt x="169" y="94"/>
                  </a:lnTo>
                  <a:lnTo>
                    <a:pt x="165" y="90"/>
                  </a:lnTo>
                  <a:lnTo>
                    <a:pt x="8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0" name="Freeform 244">
              <a:extLst>
                <a:ext uri="{FF2B5EF4-FFF2-40B4-BE49-F238E27FC236}">
                  <a16:creationId xmlns:a16="http://schemas.microsoft.com/office/drawing/2014/main" id="{E6B3C96A-DF5B-393B-FE89-E9C155369DA5}"/>
                </a:ext>
              </a:extLst>
            </p:cNvPr>
            <p:cNvSpPr>
              <a:spLocks/>
            </p:cNvSpPr>
            <p:nvPr/>
          </p:nvSpPr>
          <p:spPr bwMode="auto">
            <a:xfrm>
              <a:off x="9483725" y="2395538"/>
              <a:ext cx="503238" cy="46038"/>
            </a:xfrm>
            <a:custGeom>
              <a:avLst/>
              <a:gdLst>
                <a:gd name="T0" fmla="*/ 308 w 317"/>
                <a:gd name="T1" fmla="*/ 4 h 29"/>
                <a:gd name="T2" fmla="*/ 308 w 317"/>
                <a:gd name="T3" fmla="*/ 4 h 29"/>
                <a:gd name="T4" fmla="*/ 259 w 317"/>
                <a:gd name="T5" fmla="*/ 0 h 29"/>
                <a:gd name="T6" fmla="*/ 206 w 317"/>
                <a:gd name="T7" fmla="*/ 4 h 29"/>
                <a:gd name="T8" fmla="*/ 206 w 317"/>
                <a:gd name="T9" fmla="*/ 4 h 29"/>
                <a:gd name="T10" fmla="*/ 160 w 317"/>
                <a:gd name="T11" fmla="*/ 8 h 29"/>
                <a:gd name="T12" fmla="*/ 111 w 317"/>
                <a:gd name="T13" fmla="*/ 4 h 29"/>
                <a:gd name="T14" fmla="*/ 111 w 317"/>
                <a:gd name="T15" fmla="*/ 4 h 29"/>
                <a:gd name="T16" fmla="*/ 62 w 317"/>
                <a:gd name="T17" fmla="*/ 0 h 29"/>
                <a:gd name="T18" fmla="*/ 8 w 317"/>
                <a:gd name="T19" fmla="*/ 4 h 29"/>
                <a:gd name="T20" fmla="*/ 8 w 317"/>
                <a:gd name="T21" fmla="*/ 4 h 29"/>
                <a:gd name="T22" fmla="*/ 4 w 317"/>
                <a:gd name="T23" fmla="*/ 8 h 29"/>
                <a:gd name="T24" fmla="*/ 0 w 317"/>
                <a:gd name="T25" fmla="*/ 16 h 29"/>
                <a:gd name="T26" fmla="*/ 0 w 317"/>
                <a:gd name="T27" fmla="*/ 16 h 29"/>
                <a:gd name="T28" fmla="*/ 4 w 317"/>
                <a:gd name="T29" fmla="*/ 21 h 29"/>
                <a:gd name="T30" fmla="*/ 12 w 317"/>
                <a:gd name="T31" fmla="*/ 25 h 29"/>
                <a:gd name="T32" fmla="*/ 12 w 317"/>
                <a:gd name="T33" fmla="*/ 25 h 29"/>
                <a:gd name="T34" fmla="*/ 12 w 317"/>
                <a:gd name="T35" fmla="*/ 25 h 29"/>
                <a:gd name="T36" fmla="*/ 12 w 317"/>
                <a:gd name="T37" fmla="*/ 25 h 29"/>
                <a:gd name="T38" fmla="*/ 62 w 317"/>
                <a:gd name="T39" fmla="*/ 21 h 29"/>
                <a:gd name="T40" fmla="*/ 107 w 317"/>
                <a:gd name="T41" fmla="*/ 25 h 29"/>
                <a:gd name="T42" fmla="*/ 107 w 317"/>
                <a:gd name="T43" fmla="*/ 25 h 29"/>
                <a:gd name="T44" fmla="*/ 160 w 317"/>
                <a:gd name="T45" fmla="*/ 29 h 29"/>
                <a:gd name="T46" fmla="*/ 160 w 317"/>
                <a:gd name="T47" fmla="*/ 29 h 29"/>
                <a:gd name="T48" fmla="*/ 210 w 317"/>
                <a:gd name="T49" fmla="*/ 25 h 29"/>
                <a:gd name="T50" fmla="*/ 210 w 317"/>
                <a:gd name="T51" fmla="*/ 25 h 29"/>
                <a:gd name="T52" fmla="*/ 259 w 317"/>
                <a:gd name="T53" fmla="*/ 21 h 29"/>
                <a:gd name="T54" fmla="*/ 308 w 317"/>
                <a:gd name="T55" fmla="*/ 25 h 29"/>
                <a:gd name="T56" fmla="*/ 308 w 317"/>
                <a:gd name="T57" fmla="*/ 25 h 29"/>
                <a:gd name="T58" fmla="*/ 313 w 317"/>
                <a:gd name="T59" fmla="*/ 21 h 29"/>
                <a:gd name="T60" fmla="*/ 317 w 317"/>
                <a:gd name="T61" fmla="*/ 16 h 29"/>
                <a:gd name="T62" fmla="*/ 317 w 317"/>
                <a:gd name="T63" fmla="*/ 16 h 29"/>
                <a:gd name="T64" fmla="*/ 317 w 317"/>
                <a:gd name="T65" fmla="*/ 8 h 29"/>
                <a:gd name="T66" fmla="*/ 308 w 317"/>
                <a:gd name="T67" fmla="*/ 4 h 29"/>
                <a:gd name="T68" fmla="*/ 308 w 317"/>
                <a:gd name="T6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29">
                  <a:moveTo>
                    <a:pt x="308" y="4"/>
                  </a:moveTo>
                  <a:lnTo>
                    <a:pt x="308" y="4"/>
                  </a:lnTo>
                  <a:lnTo>
                    <a:pt x="259" y="0"/>
                  </a:lnTo>
                  <a:lnTo>
                    <a:pt x="206" y="4"/>
                  </a:lnTo>
                  <a:lnTo>
                    <a:pt x="206" y="4"/>
                  </a:lnTo>
                  <a:lnTo>
                    <a:pt x="160" y="8"/>
                  </a:lnTo>
                  <a:lnTo>
                    <a:pt x="111" y="4"/>
                  </a:lnTo>
                  <a:lnTo>
                    <a:pt x="111" y="4"/>
                  </a:lnTo>
                  <a:lnTo>
                    <a:pt x="62" y="0"/>
                  </a:lnTo>
                  <a:lnTo>
                    <a:pt x="8" y="4"/>
                  </a:lnTo>
                  <a:lnTo>
                    <a:pt x="8" y="4"/>
                  </a:lnTo>
                  <a:lnTo>
                    <a:pt x="4" y="8"/>
                  </a:lnTo>
                  <a:lnTo>
                    <a:pt x="0" y="16"/>
                  </a:lnTo>
                  <a:lnTo>
                    <a:pt x="0" y="16"/>
                  </a:lnTo>
                  <a:lnTo>
                    <a:pt x="4" y="21"/>
                  </a:lnTo>
                  <a:lnTo>
                    <a:pt x="12" y="25"/>
                  </a:lnTo>
                  <a:lnTo>
                    <a:pt x="12" y="25"/>
                  </a:lnTo>
                  <a:lnTo>
                    <a:pt x="12" y="25"/>
                  </a:lnTo>
                  <a:lnTo>
                    <a:pt x="12" y="25"/>
                  </a:lnTo>
                  <a:lnTo>
                    <a:pt x="62" y="21"/>
                  </a:lnTo>
                  <a:lnTo>
                    <a:pt x="107" y="25"/>
                  </a:lnTo>
                  <a:lnTo>
                    <a:pt x="107" y="25"/>
                  </a:lnTo>
                  <a:lnTo>
                    <a:pt x="160" y="29"/>
                  </a:lnTo>
                  <a:lnTo>
                    <a:pt x="160" y="29"/>
                  </a:lnTo>
                  <a:lnTo>
                    <a:pt x="210" y="25"/>
                  </a:lnTo>
                  <a:lnTo>
                    <a:pt x="210" y="25"/>
                  </a:lnTo>
                  <a:lnTo>
                    <a:pt x="259" y="21"/>
                  </a:lnTo>
                  <a:lnTo>
                    <a:pt x="308" y="25"/>
                  </a:lnTo>
                  <a:lnTo>
                    <a:pt x="308" y="25"/>
                  </a:lnTo>
                  <a:lnTo>
                    <a:pt x="313" y="21"/>
                  </a:lnTo>
                  <a:lnTo>
                    <a:pt x="317" y="16"/>
                  </a:lnTo>
                  <a:lnTo>
                    <a:pt x="317" y="16"/>
                  </a:lnTo>
                  <a:lnTo>
                    <a:pt x="317" y="8"/>
                  </a:lnTo>
                  <a:lnTo>
                    <a:pt x="308" y="4"/>
                  </a:lnTo>
                  <a:lnTo>
                    <a:pt x="30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3" name="Group 2">
            <a:extLst>
              <a:ext uri="{FF2B5EF4-FFF2-40B4-BE49-F238E27FC236}">
                <a16:creationId xmlns:a16="http://schemas.microsoft.com/office/drawing/2014/main" id="{044FF3F2-8219-54DA-52A1-CFFFC6F13842}"/>
              </a:ext>
            </a:extLst>
          </p:cNvPr>
          <p:cNvGrpSpPr/>
          <p:nvPr/>
        </p:nvGrpSpPr>
        <p:grpSpPr>
          <a:xfrm>
            <a:off x="645149" y="2706191"/>
            <a:ext cx="430345" cy="458763"/>
            <a:chOff x="-2795156" y="2146492"/>
            <a:chExt cx="1260634" cy="1343881"/>
          </a:xfrm>
        </p:grpSpPr>
        <p:sp>
          <p:nvSpPr>
            <p:cNvPr id="5" name="Freeform 4">
              <a:extLst>
                <a:ext uri="{FF2B5EF4-FFF2-40B4-BE49-F238E27FC236}">
                  <a16:creationId xmlns:a16="http://schemas.microsoft.com/office/drawing/2014/main" id="{15C12E21-98A5-1C1D-A2A1-112BD1C83EB3}"/>
                </a:ext>
              </a:extLst>
            </p:cNvPr>
            <p:cNvSpPr/>
            <p:nvPr/>
          </p:nvSpPr>
          <p:spPr>
            <a:xfrm>
              <a:off x="-2705449" y="2286833"/>
              <a:ext cx="1082171" cy="1062056"/>
            </a:xfrm>
            <a:custGeom>
              <a:avLst/>
              <a:gdLst>
                <a:gd name="connsiteX0" fmla="*/ 403021 w 1082171"/>
                <a:gd name="connsiteY0" fmla="*/ 32823 h 1062056"/>
                <a:gd name="connsiteX1" fmla="*/ 455028 w 1082171"/>
                <a:gd name="connsiteY1" fmla="*/ 57969 h 1062056"/>
                <a:gd name="connsiteX2" fmla="*/ 545325 w 1082171"/>
                <a:gd name="connsiteY2" fmla="*/ 50254 h 1062056"/>
                <a:gd name="connsiteX3" fmla="*/ 592283 w 1082171"/>
                <a:gd name="connsiteY3" fmla="*/ 16631 h 1062056"/>
                <a:gd name="connsiteX4" fmla="*/ 722204 w 1082171"/>
                <a:gd name="connsiteY4" fmla="*/ 46825 h 1062056"/>
                <a:gd name="connsiteX5" fmla="*/ 749445 w 1082171"/>
                <a:gd name="connsiteY5" fmla="*/ 97688 h 1062056"/>
                <a:gd name="connsiteX6" fmla="*/ 827074 w 1082171"/>
                <a:gd name="connsiteY6" fmla="*/ 144551 h 1062056"/>
                <a:gd name="connsiteX7" fmla="*/ 884796 w 1082171"/>
                <a:gd name="connsiteY7" fmla="*/ 144932 h 1062056"/>
                <a:gd name="connsiteX8" fmla="*/ 972140 w 1082171"/>
                <a:gd name="connsiteY8" fmla="*/ 245802 h 1062056"/>
                <a:gd name="connsiteX9" fmla="*/ 964329 w 1082171"/>
                <a:gd name="connsiteY9" fmla="*/ 303048 h 1062056"/>
                <a:gd name="connsiteX10" fmla="*/ 999572 w 1082171"/>
                <a:gd name="connsiteY10" fmla="*/ 386582 h 1062056"/>
                <a:gd name="connsiteX11" fmla="*/ 1046054 w 1082171"/>
                <a:gd name="connsiteY11" fmla="*/ 420872 h 1062056"/>
                <a:gd name="connsiteX12" fmla="*/ 1057484 w 1082171"/>
                <a:gd name="connsiteY12" fmla="*/ 553746 h 1062056"/>
                <a:gd name="connsiteX13" fmla="*/ 1017574 w 1082171"/>
                <a:gd name="connsiteY13" fmla="*/ 595465 h 1062056"/>
                <a:gd name="connsiteX14" fmla="*/ 997000 w 1082171"/>
                <a:gd name="connsiteY14" fmla="*/ 683762 h 1062056"/>
                <a:gd name="connsiteX15" fmla="*/ 1014431 w 1082171"/>
                <a:gd name="connsiteY15" fmla="*/ 738816 h 1062056"/>
                <a:gd name="connsiteX16" fmla="*/ 945565 w 1082171"/>
                <a:gd name="connsiteY16" fmla="*/ 853021 h 1062056"/>
                <a:gd name="connsiteX17" fmla="*/ 888701 w 1082171"/>
                <a:gd name="connsiteY17" fmla="*/ 863213 h 1062056"/>
                <a:gd name="connsiteX18" fmla="*/ 820216 w 1082171"/>
                <a:gd name="connsiteY18" fmla="*/ 922554 h 1062056"/>
                <a:gd name="connsiteX19" fmla="*/ 802023 w 1082171"/>
                <a:gd name="connsiteY19" fmla="*/ 977322 h 1062056"/>
                <a:gd name="connsiteX20" fmla="*/ 679151 w 1082171"/>
                <a:gd name="connsiteY20" fmla="*/ 1029234 h 1062056"/>
                <a:gd name="connsiteX21" fmla="*/ 627144 w 1082171"/>
                <a:gd name="connsiteY21" fmla="*/ 1004088 h 1062056"/>
                <a:gd name="connsiteX22" fmla="*/ 536847 w 1082171"/>
                <a:gd name="connsiteY22" fmla="*/ 1011803 h 1062056"/>
                <a:gd name="connsiteX23" fmla="*/ 489889 w 1082171"/>
                <a:gd name="connsiteY23" fmla="*/ 1045426 h 1062056"/>
                <a:gd name="connsiteX24" fmla="*/ 359968 w 1082171"/>
                <a:gd name="connsiteY24" fmla="*/ 1015232 h 1062056"/>
                <a:gd name="connsiteX25" fmla="*/ 332727 w 1082171"/>
                <a:gd name="connsiteY25" fmla="*/ 964368 h 1062056"/>
                <a:gd name="connsiteX26" fmla="*/ 255098 w 1082171"/>
                <a:gd name="connsiteY26" fmla="*/ 917505 h 1062056"/>
                <a:gd name="connsiteX27" fmla="*/ 197376 w 1082171"/>
                <a:gd name="connsiteY27" fmla="*/ 917124 h 1062056"/>
                <a:gd name="connsiteX28" fmla="*/ 110032 w 1082171"/>
                <a:gd name="connsiteY28" fmla="*/ 816254 h 1062056"/>
                <a:gd name="connsiteX29" fmla="*/ 117843 w 1082171"/>
                <a:gd name="connsiteY29" fmla="*/ 759009 h 1062056"/>
                <a:gd name="connsiteX30" fmla="*/ 82600 w 1082171"/>
                <a:gd name="connsiteY30" fmla="*/ 675475 h 1062056"/>
                <a:gd name="connsiteX31" fmla="*/ 36118 w 1082171"/>
                <a:gd name="connsiteY31" fmla="*/ 641185 h 1062056"/>
                <a:gd name="connsiteX32" fmla="*/ 24688 w 1082171"/>
                <a:gd name="connsiteY32" fmla="*/ 508311 h 1062056"/>
                <a:gd name="connsiteX33" fmla="*/ 64598 w 1082171"/>
                <a:gd name="connsiteY33" fmla="*/ 466592 h 1062056"/>
                <a:gd name="connsiteX34" fmla="*/ 85172 w 1082171"/>
                <a:gd name="connsiteY34" fmla="*/ 378295 h 1062056"/>
                <a:gd name="connsiteX35" fmla="*/ 67741 w 1082171"/>
                <a:gd name="connsiteY35" fmla="*/ 323240 h 1062056"/>
                <a:gd name="connsiteX36" fmla="*/ 136607 w 1082171"/>
                <a:gd name="connsiteY36" fmla="*/ 209036 h 1062056"/>
                <a:gd name="connsiteX37" fmla="*/ 193471 w 1082171"/>
                <a:gd name="connsiteY37" fmla="*/ 198844 h 1062056"/>
                <a:gd name="connsiteX38" fmla="*/ 261956 w 1082171"/>
                <a:gd name="connsiteY38" fmla="*/ 139503 h 1062056"/>
                <a:gd name="connsiteX39" fmla="*/ 280149 w 1082171"/>
                <a:gd name="connsiteY39" fmla="*/ 84734 h 1062056"/>
                <a:gd name="connsiteX40" fmla="*/ 403021 w 1082171"/>
                <a:gd name="connsiteY40" fmla="*/ 32823 h 106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82171" h="1062056">
                  <a:moveTo>
                    <a:pt x="403021" y="32823"/>
                  </a:moveTo>
                  <a:lnTo>
                    <a:pt x="455028" y="57969"/>
                  </a:lnTo>
                  <a:cubicBezTo>
                    <a:pt x="484269" y="72066"/>
                    <a:pt x="518940" y="69113"/>
                    <a:pt x="545325" y="50254"/>
                  </a:cubicBezTo>
                  <a:lnTo>
                    <a:pt x="592283" y="16631"/>
                  </a:lnTo>
                  <a:cubicBezTo>
                    <a:pt x="635812" y="-14611"/>
                    <a:pt x="696867" y="-324"/>
                    <a:pt x="722204" y="46825"/>
                  </a:cubicBezTo>
                  <a:lnTo>
                    <a:pt x="749445" y="97688"/>
                  </a:lnTo>
                  <a:cubicBezTo>
                    <a:pt x="764781" y="126359"/>
                    <a:pt x="794594" y="144266"/>
                    <a:pt x="827074" y="144551"/>
                  </a:cubicBezTo>
                  <a:lnTo>
                    <a:pt x="884796" y="144932"/>
                  </a:lnTo>
                  <a:cubicBezTo>
                    <a:pt x="938326" y="145313"/>
                    <a:pt x="979379" y="192653"/>
                    <a:pt x="972140" y="245802"/>
                  </a:cubicBezTo>
                  <a:lnTo>
                    <a:pt x="964329" y="303048"/>
                  </a:lnTo>
                  <a:cubicBezTo>
                    <a:pt x="959948" y="335242"/>
                    <a:pt x="973473" y="367246"/>
                    <a:pt x="999572" y="386582"/>
                  </a:cubicBezTo>
                  <a:lnTo>
                    <a:pt x="1046054" y="420872"/>
                  </a:lnTo>
                  <a:cubicBezTo>
                    <a:pt x="1089202" y="452685"/>
                    <a:pt x="1094536" y="515074"/>
                    <a:pt x="1057484" y="553746"/>
                  </a:cubicBezTo>
                  <a:lnTo>
                    <a:pt x="1017574" y="595465"/>
                  </a:lnTo>
                  <a:cubicBezTo>
                    <a:pt x="995095" y="618896"/>
                    <a:pt x="987189" y="652806"/>
                    <a:pt x="997000" y="683762"/>
                  </a:cubicBezTo>
                  <a:lnTo>
                    <a:pt x="1014431" y="738816"/>
                  </a:lnTo>
                  <a:cubicBezTo>
                    <a:pt x="1030623" y="789870"/>
                    <a:pt x="998238" y="843591"/>
                    <a:pt x="945565" y="853021"/>
                  </a:cubicBezTo>
                  <a:lnTo>
                    <a:pt x="888701" y="863213"/>
                  </a:lnTo>
                  <a:cubicBezTo>
                    <a:pt x="856697" y="868928"/>
                    <a:pt x="830408" y="891788"/>
                    <a:pt x="820216" y="922554"/>
                  </a:cubicBezTo>
                  <a:lnTo>
                    <a:pt x="802023" y="977322"/>
                  </a:lnTo>
                  <a:cubicBezTo>
                    <a:pt x="785164" y="1028186"/>
                    <a:pt x="727347" y="1052570"/>
                    <a:pt x="679151" y="1029234"/>
                  </a:cubicBezTo>
                  <a:lnTo>
                    <a:pt x="627144" y="1004088"/>
                  </a:lnTo>
                  <a:cubicBezTo>
                    <a:pt x="597903" y="989990"/>
                    <a:pt x="563232" y="992943"/>
                    <a:pt x="536847" y="1011803"/>
                  </a:cubicBezTo>
                  <a:lnTo>
                    <a:pt x="489889" y="1045426"/>
                  </a:lnTo>
                  <a:cubicBezTo>
                    <a:pt x="446360" y="1076668"/>
                    <a:pt x="385305" y="1062381"/>
                    <a:pt x="359968" y="1015232"/>
                  </a:cubicBezTo>
                  <a:lnTo>
                    <a:pt x="332727" y="964368"/>
                  </a:lnTo>
                  <a:cubicBezTo>
                    <a:pt x="317391" y="935698"/>
                    <a:pt x="287578" y="917791"/>
                    <a:pt x="255098" y="917505"/>
                  </a:cubicBezTo>
                  <a:lnTo>
                    <a:pt x="197376" y="917124"/>
                  </a:lnTo>
                  <a:cubicBezTo>
                    <a:pt x="143846" y="916743"/>
                    <a:pt x="102793" y="869404"/>
                    <a:pt x="110032" y="816254"/>
                  </a:cubicBezTo>
                  <a:lnTo>
                    <a:pt x="117843" y="759009"/>
                  </a:lnTo>
                  <a:cubicBezTo>
                    <a:pt x="122224" y="726815"/>
                    <a:pt x="108699" y="694811"/>
                    <a:pt x="82600" y="675475"/>
                  </a:cubicBezTo>
                  <a:lnTo>
                    <a:pt x="36118" y="641185"/>
                  </a:lnTo>
                  <a:cubicBezTo>
                    <a:pt x="-7030" y="609371"/>
                    <a:pt x="-12364" y="546983"/>
                    <a:pt x="24688" y="508311"/>
                  </a:cubicBezTo>
                  <a:lnTo>
                    <a:pt x="64598" y="466592"/>
                  </a:lnTo>
                  <a:cubicBezTo>
                    <a:pt x="87077" y="443160"/>
                    <a:pt x="94983" y="409251"/>
                    <a:pt x="85172" y="378295"/>
                  </a:cubicBezTo>
                  <a:lnTo>
                    <a:pt x="67741" y="323240"/>
                  </a:lnTo>
                  <a:cubicBezTo>
                    <a:pt x="51549" y="272186"/>
                    <a:pt x="83934" y="218465"/>
                    <a:pt x="136607" y="209036"/>
                  </a:cubicBezTo>
                  <a:lnTo>
                    <a:pt x="193471" y="198844"/>
                  </a:lnTo>
                  <a:cubicBezTo>
                    <a:pt x="225475" y="193129"/>
                    <a:pt x="251764" y="170269"/>
                    <a:pt x="261956" y="139503"/>
                  </a:cubicBezTo>
                  <a:lnTo>
                    <a:pt x="280149" y="84734"/>
                  </a:lnTo>
                  <a:cubicBezTo>
                    <a:pt x="297008" y="33871"/>
                    <a:pt x="354825" y="9487"/>
                    <a:pt x="403021" y="32823"/>
                  </a:cubicBezTo>
                  <a:close/>
                </a:path>
              </a:pathLst>
            </a:custGeom>
            <a:noFill/>
            <a:ln w="15875" cap="rnd">
              <a:solidFill>
                <a:schemeClr val="accent3"/>
              </a:solidFill>
              <a:prstDash val="solid"/>
              <a:round/>
            </a:ln>
          </p:spPr>
          <p:txBody>
            <a:bodyPr rtlCol="0" anchor="ctr"/>
            <a:lstStyle/>
            <a:p>
              <a:endParaRPr lang="en-AR"/>
            </a:p>
          </p:txBody>
        </p:sp>
        <p:sp>
          <p:nvSpPr>
            <p:cNvPr id="7" name="Freeform 6">
              <a:extLst>
                <a:ext uri="{FF2B5EF4-FFF2-40B4-BE49-F238E27FC236}">
                  <a16:creationId xmlns:a16="http://schemas.microsoft.com/office/drawing/2014/main" id="{8FB401D4-E99C-D1C3-C660-3940150CA7EE}"/>
                </a:ext>
              </a:extLst>
            </p:cNvPr>
            <p:cNvSpPr/>
            <p:nvPr/>
          </p:nvSpPr>
          <p:spPr>
            <a:xfrm>
              <a:off x="-2474792" y="2513294"/>
              <a:ext cx="620763" cy="609039"/>
            </a:xfrm>
            <a:custGeom>
              <a:avLst/>
              <a:gdLst>
                <a:gd name="connsiteX0" fmla="*/ 231229 w 620763"/>
                <a:gd name="connsiteY0" fmla="*/ 18865 h 609039"/>
                <a:gd name="connsiteX1" fmla="*/ 261042 w 620763"/>
                <a:gd name="connsiteY1" fmla="*/ 33248 h 609039"/>
                <a:gd name="connsiteX2" fmla="*/ 312858 w 620763"/>
                <a:gd name="connsiteY2" fmla="*/ 28771 h 609039"/>
                <a:gd name="connsiteX3" fmla="*/ 339814 w 620763"/>
                <a:gd name="connsiteY3" fmla="*/ 9530 h 609039"/>
                <a:gd name="connsiteX4" fmla="*/ 414300 w 620763"/>
                <a:gd name="connsiteY4" fmla="*/ 26866 h 609039"/>
                <a:gd name="connsiteX5" fmla="*/ 429921 w 620763"/>
                <a:gd name="connsiteY5" fmla="*/ 56012 h 609039"/>
                <a:gd name="connsiteX6" fmla="*/ 474402 w 620763"/>
                <a:gd name="connsiteY6" fmla="*/ 82873 h 609039"/>
                <a:gd name="connsiteX7" fmla="*/ 507549 w 620763"/>
                <a:gd name="connsiteY7" fmla="*/ 83063 h 609039"/>
                <a:gd name="connsiteX8" fmla="*/ 557651 w 620763"/>
                <a:gd name="connsiteY8" fmla="*/ 140880 h 609039"/>
                <a:gd name="connsiteX9" fmla="*/ 553174 w 620763"/>
                <a:gd name="connsiteY9" fmla="*/ 173646 h 609039"/>
                <a:gd name="connsiteX10" fmla="*/ 573367 w 620763"/>
                <a:gd name="connsiteY10" fmla="*/ 221557 h 609039"/>
                <a:gd name="connsiteX11" fmla="*/ 600037 w 620763"/>
                <a:gd name="connsiteY11" fmla="*/ 241178 h 609039"/>
                <a:gd name="connsiteX12" fmla="*/ 606609 w 620763"/>
                <a:gd name="connsiteY12" fmla="*/ 317378 h 609039"/>
                <a:gd name="connsiteX13" fmla="*/ 583654 w 620763"/>
                <a:gd name="connsiteY13" fmla="*/ 341286 h 609039"/>
                <a:gd name="connsiteX14" fmla="*/ 571843 w 620763"/>
                <a:gd name="connsiteY14" fmla="*/ 391959 h 609039"/>
                <a:gd name="connsiteX15" fmla="*/ 581844 w 620763"/>
                <a:gd name="connsiteY15" fmla="*/ 423487 h 609039"/>
                <a:gd name="connsiteX16" fmla="*/ 542316 w 620763"/>
                <a:gd name="connsiteY16" fmla="*/ 489019 h 609039"/>
                <a:gd name="connsiteX17" fmla="*/ 509740 w 620763"/>
                <a:gd name="connsiteY17" fmla="*/ 494924 h 609039"/>
                <a:gd name="connsiteX18" fmla="*/ 470497 w 620763"/>
                <a:gd name="connsiteY18" fmla="*/ 528929 h 609039"/>
                <a:gd name="connsiteX19" fmla="*/ 460019 w 620763"/>
                <a:gd name="connsiteY19" fmla="*/ 560361 h 609039"/>
                <a:gd name="connsiteX20" fmla="*/ 389535 w 620763"/>
                <a:gd name="connsiteY20" fmla="*/ 590174 h 609039"/>
                <a:gd name="connsiteX21" fmla="*/ 359721 w 620763"/>
                <a:gd name="connsiteY21" fmla="*/ 575792 h 609039"/>
                <a:gd name="connsiteX22" fmla="*/ 307905 w 620763"/>
                <a:gd name="connsiteY22" fmla="*/ 580268 h 609039"/>
                <a:gd name="connsiteX23" fmla="*/ 280950 w 620763"/>
                <a:gd name="connsiteY23" fmla="*/ 599509 h 609039"/>
                <a:gd name="connsiteX24" fmla="*/ 206464 w 620763"/>
                <a:gd name="connsiteY24" fmla="*/ 582173 h 609039"/>
                <a:gd name="connsiteX25" fmla="*/ 190843 w 620763"/>
                <a:gd name="connsiteY25" fmla="*/ 553027 h 609039"/>
                <a:gd name="connsiteX26" fmla="*/ 146361 w 620763"/>
                <a:gd name="connsiteY26" fmla="*/ 526166 h 609039"/>
                <a:gd name="connsiteX27" fmla="*/ 113214 w 620763"/>
                <a:gd name="connsiteY27" fmla="*/ 525976 h 609039"/>
                <a:gd name="connsiteX28" fmla="*/ 63113 w 620763"/>
                <a:gd name="connsiteY28" fmla="*/ 468159 h 609039"/>
                <a:gd name="connsiteX29" fmla="*/ 67590 w 620763"/>
                <a:gd name="connsiteY29" fmla="*/ 435393 h 609039"/>
                <a:gd name="connsiteX30" fmla="*/ 47397 w 620763"/>
                <a:gd name="connsiteY30" fmla="*/ 387482 h 609039"/>
                <a:gd name="connsiteX31" fmla="*/ 20727 w 620763"/>
                <a:gd name="connsiteY31" fmla="*/ 367861 h 609039"/>
                <a:gd name="connsiteX32" fmla="*/ 14154 w 620763"/>
                <a:gd name="connsiteY32" fmla="*/ 291661 h 609039"/>
                <a:gd name="connsiteX33" fmla="*/ 37110 w 620763"/>
                <a:gd name="connsiteY33" fmla="*/ 267753 h 609039"/>
                <a:gd name="connsiteX34" fmla="*/ 48921 w 620763"/>
                <a:gd name="connsiteY34" fmla="*/ 217080 h 609039"/>
                <a:gd name="connsiteX35" fmla="*/ 38919 w 620763"/>
                <a:gd name="connsiteY35" fmla="*/ 185552 h 609039"/>
                <a:gd name="connsiteX36" fmla="*/ 78448 w 620763"/>
                <a:gd name="connsiteY36" fmla="*/ 120020 h 609039"/>
                <a:gd name="connsiteX37" fmla="*/ 111024 w 620763"/>
                <a:gd name="connsiteY37" fmla="*/ 114115 h 609039"/>
                <a:gd name="connsiteX38" fmla="*/ 150267 w 620763"/>
                <a:gd name="connsiteY38" fmla="*/ 80111 h 609039"/>
                <a:gd name="connsiteX39" fmla="*/ 160744 w 620763"/>
                <a:gd name="connsiteY39" fmla="*/ 48678 h 609039"/>
                <a:gd name="connsiteX40" fmla="*/ 231229 w 620763"/>
                <a:gd name="connsiteY40" fmla="*/ 18865 h 60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0763" h="609039">
                  <a:moveTo>
                    <a:pt x="231229" y="18865"/>
                  </a:moveTo>
                  <a:lnTo>
                    <a:pt x="261042" y="33248"/>
                  </a:lnTo>
                  <a:cubicBezTo>
                    <a:pt x="277806" y="41344"/>
                    <a:pt x="297714" y="39629"/>
                    <a:pt x="312858" y="28771"/>
                  </a:cubicBezTo>
                  <a:lnTo>
                    <a:pt x="339814" y="9530"/>
                  </a:lnTo>
                  <a:cubicBezTo>
                    <a:pt x="364769" y="-8377"/>
                    <a:pt x="399822" y="-185"/>
                    <a:pt x="414300" y="26866"/>
                  </a:cubicBezTo>
                  <a:lnTo>
                    <a:pt x="429921" y="56012"/>
                  </a:lnTo>
                  <a:cubicBezTo>
                    <a:pt x="438684" y="72395"/>
                    <a:pt x="455829" y="82778"/>
                    <a:pt x="474402" y="82873"/>
                  </a:cubicBezTo>
                  <a:lnTo>
                    <a:pt x="507549" y="83063"/>
                  </a:lnTo>
                  <a:cubicBezTo>
                    <a:pt x="538315" y="83254"/>
                    <a:pt x="561842" y="110400"/>
                    <a:pt x="557651" y="140880"/>
                  </a:cubicBezTo>
                  <a:lnTo>
                    <a:pt x="553174" y="173646"/>
                  </a:lnTo>
                  <a:cubicBezTo>
                    <a:pt x="550602" y="192125"/>
                    <a:pt x="558413" y="210508"/>
                    <a:pt x="573367" y="221557"/>
                  </a:cubicBezTo>
                  <a:lnTo>
                    <a:pt x="600037" y="241178"/>
                  </a:lnTo>
                  <a:cubicBezTo>
                    <a:pt x="624802" y="259371"/>
                    <a:pt x="627850" y="295185"/>
                    <a:pt x="606609" y="317378"/>
                  </a:cubicBezTo>
                  <a:lnTo>
                    <a:pt x="583654" y="341286"/>
                  </a:lnTo>
                  <a:cubicBezTo>
                    <a:pt x="570795" y="354716"/>
                    <a:pt x="566223" y="374147"/>
                    <a:pt x="571843" y="391959"/>
                  </a:cubicBezTo>
                  <a:lnTo>
                    <a:pt x="581844" y="423487"/>
                  </a:lnTo>
                  <a:cubicBezTo>
                    <a:pt x="591179" y="452729"/>
                    <a:pt x="572605" y="483590"/>
                    <a:pt x="542316" y="489019"/>
                  </a:cubicBezTo>
                  <a:lnTo>
                    <a:pt x="509740" y="494924"/>
                  </a:lnTo>
                  <a:cubicBezTo>
                    <a:pt x="491357" y="498258"/>
                    <a:pt x="476307" y="511307"/>
                    <a:pt x="470497" y="528929"/>
                  </a:cubicBezTo>
                  <a:lnTo>
                    <a:pt x="460019" y="560361"/>
                  </a:lnTo>
                  <a:cubicBezTo>
                    <a:pt x="450304" y="589508"/>
                    <a:pt x="417252" y="603509"/>
                    <a:pt x="389535" y="590174"/>
                  </a:cubicBezTo>
                  <a:lnTo>
                    <a:pt x="359721" y="575792"/>
                  </a:lnTo>
                  <a:cubicBezTo>
                    <a:pt x="342957" y="567695"/>
                    <a:pt x="323050" y="569410"/>
                    <a:pt x="307905" y="580268"/>
                  </a:cubicBezTo>
                  <a:lnTo>
                    <a:pt x="280950" y="599509"/>
                  </a:lnTo>
                  <a:cubicBezTo>
                    <a:pt x="255994" y="617416"/>
                    <a:pt x="220942" y="609224"/>
                    <a:pt x="206464" y="582173"/>
                  </a:cubicBezTo>
                  <a:lnTo>
                    <a:pt x="190843" y="553027"/>
                  </a:lnTo>
                  <a:cubicBezTo>
                    <a:pt x="182080" y="536644"/>
                    <a:pt x="164935" y="526262"/>
                    <a:pt x="146361" y="526166"/>
                  </a:cubicBezTo>
                  <a:lnTo>
                    <a:pt x="113214" y="525976"/>
                  </a:lnTo>
                  <a:cubicBezTo>
                    <a:pt x="82449" y="525785"/>
                    <a:pt x="58922" y="498639"/>
                    <a:pt x="63113" y="468159"/>
                  </a:cubicBezTo>
                  <a:lnTo>
                    <a:pt x="67590" y="435393"/>
                  </a:lnTo>
                  <a:cubicBezTo>
                    <a:pt x="70161" y="416915"/>
                    <a:pt x="62351" y="398531"/>
                    <a:pt x="47397" y="387482"/>
                  </a:cubicBezTo>
                  <a:lnTo>
                    <a:pt x="20727" y="367861"/>
                  </a:lnTo>
                  <a:cubicBezTo>
                    <a:pt x="-4038" y="349668"/>
                    <a:pt x="-7086" y="313854"/>
                    <a:pt x="14154" y="291661"/>
                  </a:cubicBezTo>
                  <a:lnTo>
                    <a:pt x="37110" y="267753"/>
                  </a:lnTo>
                  <a:cubicBezTo>
                    <a:pt x="49968" y="254323"/>
                    <a:pt x="54540" y="234892"/>
                    <a:pt x="48921" y="217080"/>
                  </a:cubicBezTo>
                  <a:lnTo>
                    <a:pt x="38919" y="185552"/>
                  </a:lnTo>
                  <a:cubicBezTo>
                    <a:pt x="29585" y="156311"/>
                    <a:pt x="48159" y="125450"/>
                    <a:pt x="78448" y="120020"/>
                  </a:cubicBezTo>
                  <a:lnTo>
                    <a:pt x="111024" y="114115"/>
                  </a:lnTo>
                  <a:cubicBezTo>
                    <a:pt x="129407" y="110781"/>
                    <a:pt x="144456" y="97732"/>
                    <a:pt x="150267" y="80111"/>
                  </a:cubicBezTo>
                  <a:lnTo>
                    <a:pt x="160744" y="48678"/>
                  </a:lnTo>
                  <a:cubicBezTo>
                    <a:pt x="170460" y="19532"/>
                    <a:pt x="203511" y="5530"/>
                    <a:pt x="231229" y="18865"/>
                  </a:cubicBezTo>
                  <a:close/>
                </a:path>
              </a:pathLst>
            </a:custGeom>
            <a:noFill/>
            <a:ln w="15875" cap="rnd">
              <a:solidFill>
                <a:schemeClr val="accent3"/>
              </a:solidFill>
              <a:prstDash val="solid"/>
              <a:round/>
            </a:ln>
          </p:spPr>
          <p:txBody>
            <a:bodyPr rtlCol="0" anchor="ctr"/>
            <a:lstStyle/>
            <a:p>
              <a:endParaRPr lang="en-AR"/>
            </a:p>
          </p:txBody>
        </p:sp>
        <p:sp>
          <p:nvSpPr>
            <p:cNvPr id="8" name="Freeform 7">
              <a:extLst>
                <a:ext uri="{FF2B5EF4-FFF2-40B4-BE49-F238E27FC236}">
                  <a16:creationId xmlns:a16="http://schemas.microsoft.com/office/drawing/2014/main" id="{1C965432-42F5-BEB2-4347-4BDF6DA02042}"/>
                </a:ext>
              </a:extLst>
            </p:cNvPr>
            <p:cNvSpPr/>
            <p:nvPr/>
          </p:nvSpPr>
          <p:spPr>
            <a:xfrm>
              <a:off x="-2275115" y="23909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1956FB78-8697-0D05-1312-ABD72815DE96}"/>
                </a:ext>
              </a:extLst>
            </p:cNvPr>
            <p:cNvSpPr/>
            <p:nvPr/>
          </p:nvSpPr>
          <p:spPr>
            <a:xfrm>
              <a:off x="-2506382" y="259150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2" name="Freeform 11">
              <a:extLst>
                <a:ext uri="{FF2B5EF4-FFF2-40B4-BE49-F238E27FC236}">
                  <a16:creationId xmlns:a16="http://schemas.microsoft.com/office/drawing/2014/main" id="{04FEFF27-3D21-3514-3056-223F162AF91D}"/>
                </a:ext>
              </a:extLst>
            </p:cNvPr>
            <p:cNvSpPr/>
            <p:nvPr/>
          </p:nvSpPr>
          <p:spPr>
            <a:xfrm>
              <a:off x="-2559912" y="2960594"/>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8" name="Freeform 17">
              <a:extLst>
                <a:ext uri="{FF2B5EF4-FFF2-40B4-BE49-F238E27FC236}">
                  <a16:creationId xmlns:a16="http://schemas.microsoft.com/office/drawing/2014/main" id="{2872FB39-97A6-65BC-00A9-22C783064720}"/>
                </a:ext>
              </a:extLst>
            </p:cNvPr>
            <p:cNvSpPr/>
            <p:nvPr/>
          </p:nvSpPr>
          <p:spPr>
            <a:xfrm>
              <a:off x="-2319406" y="313318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1" name="Freeform 30">
              <a:extLst>
                <a:ext uri="{FF2B5EF4-FFF2-40B4-BE49-F238E27FC236}">
                  <a16:creationId xmlns:a16="http://schemas.microsoft.com/office/drawing/2014/main" id="{DD359F3C-7289-D137-861F-3AA9BF65F4E0}"/>
                </a:ext>
              </a:extLst>
            </p:cNvPr>
            <p:cNvSpPr/>
            <p:nvPr/>
          </p:nvSpPr>
          <p:spPr>
            <a:xfrm>
              <a:off x="-2106618" y="322224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2" name="Freeform 31">
              <a:extLst>
                <a:ext uri="{FF2B5EF4-FFF2-40B4-BE49-F238E27FC236}">
                  <a16:creationId xmlns:a16="http://schemas.microsoft.com/office/drawing/2014/main" id="{04CABBDE-22D2-8307-2BC0-1D375CE0E707}"/>
                </a:ext>
              </a:extLst>
            </p:cNvPr>
            <p:cNvSpPr/>
            <p:nvPr/>
          </p:nvSpPr>
          <p:spPr>
            <a:xfrm>
              <a:off x="-1934120" y="30807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3" name="Freeform 32">
              <a:extLst>
                <a:ext uri="{FF2B5EF4-FFF2-40B4-BE49-F238E27FC236}">
                  <a16:creationId xmlns:a16="http://schemas.microsoft.com/office/drawing/2014/main" id="{D3140C14-813C-7BC7-6312-EDA82E381420}"/>
                </a:ext>
              </a:extLst>
            </p:cNvPr>
            <p:cNvSpPr/>
            <p:nvPr/>
          </p:nvSpPr>
          <p:spPr>
            <a:xfrm>
              <a:off x="-1754288" y="284867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4" name="Freeform 33">
              <a:extLst>
                <a:ext uri="{FF2B5EF4-FFF2-40B4-BE49-F238E27FC236}">
                  <a16:creationId xmlns:a16="http://schemas.microsoft.com/office/drawing/2014/main" id="{2791FE79-261E-E192-E13A-E70263A06C29}"/>
                </a:ext>
              </a:extLst>
            </p:cNvPr>
            <p:cNvSpPr/>
            <p:nvPr/>
          </p:nvSpPr>
          <p:spPr>
            <a:xfrm>
              <a:off x="-1882494" y="261721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5" name="Freeform 34">
              <a:extLst>
                <a:ext uri="{FF2B5EF4-FFF2-40B4-BE49-F238E27FC236}">
                  <a16:creationId xmlns:a16="http://schemas.microsoft.com/office/drawing/2014/main" id="{9BB4EC15-F8D5-61DD-5BEB-AC3F3C01A86A}"/>
                </a:ext>
              </a:extLst>
            </p:cNvPr>
            <p:cNvSpPr/>
            <p:nvPr/>
          </p:nvSpPr>
          <p:spPr>
            <a:xfrm>
              <a:off x="-1843156" y="249405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6" name="Freeform 35">
              <a:extLst>
                <a:ext uri="{FF2B5EF4-FFF2-40B4-BE49-F238E27FC236}">
                  <a16:creationId xmlns:a16="http://schemas.microsoft.com/office/drawing/2014/main" id="{498A211D-11E0-2B05-A752-17E61CD4976C}"/>
                </a:ext>
              </a:extLst>
            </p:cNvPr>
            <p:cNvSpPr/>
            <p:nvPr/>
          </p:nvSpPr>
          <p:spPr>
            <a:xfrm>
              <a:off x="-2065755" y="243576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7" name="Freeform 36">
              <a:extLst>
                <a:ext uri="{FF2B5EF4-FFF2-40B4-BE49-F238E27FC236}">
                  <a16:creationId xmlns:a16="http://schemas.microsoft.com/office/drawing/2014/main" id="{E2BB4B03-4DF5-6ED6-0B75-343101ECCBD5}"/>
                </a:ext>
              </a:extLst>
            </p:cNvPr>
            <p:cNvSpPr/>
            <p:nvPr/>
          </p:nvSpPr>
          <p:spPr>
            <a:xfrm>
              <a:off x="-2578677" y="27629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8" name="Freeform 37">
              <a:extLst>
                <a:ext uri="{FF2B5EF4-FFF2-40B4-BE49-F238E27FC236}">
                  <a16:creationId xmlns:a16="http://schemas.microsoft.com/office/drawing/2014/main" id="{AEEB6049-A37A-E296-2065-55C55B86FF68}"/>
                </a:ext>
              </a:extLst>
            </p:cNvPr>
            <p:cNvSpPr/>
            <p:nvPr/>
          </p:nvSpPr>
          <p:spPr>
            <a:xfrm>
              <a:off x="-2475711" y="30697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39" name="Freeform 38">
              <a:extLst>
                <a:ext uri="{FF2B5EF4-FFF2-40B4-BE49-F238E27FC236}">
                  <a16:creationId xmlns:a16="http://schemas.microsoft.com/office/drawing/2014/main" id="{6851E104-64CF-F9D4-6F37-3B1ACBE12152}"/>
                </a:ext>
              </a:extLst>
            </p:cNvPr>
            <p:cNvSpPr/>
            <p:nvPr/>
          </p:nvSpPr>
          <p:spPr>
            <a:xfrm>
              <a:off x="-1818772" y="3047271"/>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0" name="Freeform 39">
              <a:extLst>
                <a:ext uri="{FF2B5EF4-FFF2-40B4-BE49-F238E27FC236}">
                  <a16:creationId xmlns:a16="http://schemas.microsoft.com/office/drawing/2014/main" id="{615FD1FD-FEED-49EB-CC58-B1CF9C4ED595}"/>
                </a:ext>
              </a:extLst>
            </p:cNvPr>
            <p:cNvSpPr/>
            <p:nvPr/>
          </p:nvSpPr>
          <p:spPr>
            <a:xfrm>
              <a:off x="-2217039" y="2636407"/>
              <a:ext cx="107352" cy="107352"/>
            </a:xfrm>
            <a:custGeom>
              <a:avLst/>
              <a:gdLst>
                <a:gd name="connsiteX0" fmla="*/ 103111 w 107352"/>
                <a:gd name="connsiteY0" fmla="*/ 32817 h 107352"/>
                <a:gd name="connsiteX1" fmla="*/ 74536 w 107352"/>
                <a:gd name="connsiteY1" fmla="*/ 103111 h 107352"/>
                <a:gd name="connsiteX2" fmla="*/ 4242 w 107352"/>
                <a:gd name="connsiteY2" fmla="*/ 74536 h 107352"/>
                <a:gd name="connsiteX3" fmla="*/ 32817 w 107352"/>
                <a:gd name="connsiteY3" fmla="*/ 4242 h 107352"/>
                <a:gd name="connsiteX4" fmla="*/ 103111 w 107352"/>
                <a:gd name="connsiteY4" fmla="*/ 32817 h 107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2" h="107352">
                  <a:moveTo>
                    <a:pt x="103111" y="32817"/>
                  </a:moveTo>
                  <a:cubicBezTo>
                    <a:pt x="114636" y="60153"/>
                    <a:pt x="101873" y="91586"/>
                    <a:pt x="74536" y="103111"/>
                  </a:cubicBezTo>
                  <a:cubicBezTo>
                    <a:pt x="47199" y="114636"/>
                    <a:pt x="15767" y="101873"/>
                    <a:pt x="4242" y="74536"/>
                  </a:cubicBezTo>
                  <a:cubicBezTo>
                    <a:pt x="-7284" y="47199"/>
                    <a:pt x="5480" y="15767"/>
                    <a:pt x="32817" y="4242"/>
                  </a:cubicBezTo>
                  <a:cubicBezTo>
                    <a:pt x="60153" y="-7284"/>
                    <a:pt x="91586" y="5480"/>
                    <a:pt x="103111" y="32817"/>
                  </a:cubicBezTo>
                  <a:close/>
                </a:path>
              </a:pathLst>
            </a:custGeom>
            <a:noFill/>
            <a:ln w="15875" cap="rnd">
              <a:solidFill>
                <a:schemeClr val="accent3"/>
              </a:solidFill>
              <a:prstDash val="solid"/>
              <a:round/>
            </a:ln>
          </p:spPr>
          <p:txBody>
            <a:bodyPr rtlCol="0" anchor="ctr"/>
            <a:lstStyle/>
            <a:p>
              <a:endParaRPr lang="en-AR"/>
            </a:p>
          </p:txBody>
        </p:sp>
        <p:sp>
          <p:nvSpPr>
            <p:cNvPr id="41" name="Freeform 40">
              <a:extLst>
                <a:ext uri="{FF2B5EF4-FFF2-40B4-BE49-F238E27FC236}">
                  <a16:creationId xmlns:a16="http://schemas.microsoft.com/office/drawing/2014/main" id="{83309186-0A41-71B1-1405-938D1BBFCE5E}"/>
                </a:ext>
              </a:extLst>
            </p:cNvPr>
            <p:cNvSpPr/>
            <p:nvPr/>
          </p:nvSpPr>
          <p:spPr>
            <a:xfrm rot="18149399">
              <a:off x="-2169853" y="2895598"/>
              <a:ext cx="87630" cy="140207"/>
            </a:xfrm>
            <a:custGeom>
              <a:avLst/>
              <a:gdLst>
                <a:gd name="connsiteX0" fmla="*/ 43815 w 87630"/>
                <a:gd name="connsiteY0" fmla="*/ 0 h 140207"/>
                <a:gd name="connsiteX1" fmla="*/ 43815 w 87630"/>
                <a:gd name="connsiteY1" fmla="*/ 0 h 140207"/>
                <a:gd name="connsiteX2" fmla="*/ 87630 w 87630"/>
                <a:gd name="connsiteY2" fmla="*/ 43815 h 140207"/>
                <a:gd name="connsiteX3" fmla="*/ 87630 w 87630"/>
                <a:gd name="connsiteY3" fmla="*/ 96393 h 140207"/>
                <a:gd name="connsiteX4" fmla="*/ 43815 w 87630"/>
                <a:gd name="connsiteY4" fmla="*/ 140208 h 140207"/>
                <a:gd name="connsiteX5" fmla="*/ 43815 w 87630"/>
                <a:gd name="connsiteY5" fmla="*/ 140208 h 140207"/>
                <a:gd name="connsiteX6" fmla="*/ 0 w 87630"/>
                <a:gd name="connsiteY6" fmla="*/ 96393 h 140207"/>
                <a:gd name="connsiteX7" fmla="*/ 0 w 87630"/>
                <a:gd name="connsiteY7" fmla="*/ 43815 h 140207"/>
                <a:gd name="connsiteX8" fmla="*/ 43815 w 87630"/>
                <a:gd name="connsiteY8" fmla="*/ 0 h 14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30" h="140207">
                  <a:moveTo>
                    <a:pt x="43815" y="0"/>
                  </a:moveTo>
                  <a:lnTo>
                    <a:pt x="43815" y="0"/>
                  </a:lnTo>
                  <a:cubicBezTo>
                    <a:pt x="68008" y="0"/>
                    <a:pt x="87630" y="19622"/>
                    <a:pt x="87630" y="43815"/>
                  </a:cubicBezTo>
                  <a:lnTo>
                    <a:pt x="87630" y="96393"/>
                  </a:lnTo>
                  <a:cubicBezTo>
                    <a:pt x="87630" y="120586"/>
                    <a:pt x="68008" y="140208"/>
                    <a:pt x="43815" y="140208"/>
                  </a:cubicBezTo>
                  <a:lnTo>
                    <a:pt x="43815" y="140208"/>
                  </a:lnTo>
                  <a:cubicBezTo>
                    <a:pt x="19622" y="140208"/>
                    <a:pt x="0" y="120586"/>
                    <a:pt x="0" y="96393"/>
                  </a:cubicBezTo>
                  <a:lnTo>
                    <a:pt x="0" y="43815"/>
                  </a:lnTo>
                  <a:cubicBezTo>
                    <a:pt x="0" y="19622"/>
                    <a:pt x="19622" y="0"/>
                    <a:pt x="43815" y="0"/>
                  </a:cubicBezTo>
                  <a:close/>
                </a:path>
              </a:pathLst>
            </a:custGeom>
            <a:noFill/>
            <a:ln w="15875" cap="rnd">
              <a:solidFill>
                <a:schemeClr val="accent3"/>
              </a:solidFill>
              <a:prstDash val="solid"/>
              <a:round/>
            </a:ln>
          </p:spPr>
          <p:txBody>
            <a:bodyPr rtlCol="0" anchor="ctr"/>
            <a:lstStyle/>
            <a:p>
              <a:endParaRPr lang="en-AR"/>
            </a:p>
          </p:txBody>
        </p:sp>
        <p:sp>
          <p:nvSpPr>
            <p:cNvPr id="42" name="Freeform 41">
              <a:extLst>
                <a:ext uri="{FF2B5EF4-FFF2-40B4-BE49-F238E27FC236}">
                  <a16:creationId xmlns:a16="http://schemas.microsoft.com/office/drawing/2014/main" id="{378C50F2-9906-2547-5AA9-E769FF3AB04A}"/>
                </a:ext>
              </a:extLst>
            </p:cNvPr>
            <p:cNvSpPr/>
            <p:nvPr/>
          </p:nvSpPr>
          <p:spPr>
            <a:xfrm>
              <a:off x="-2350529" y="2747424"/>
              <a:ext cx="19430" cy="46100"/>
            </a:xfrm>
            <a:custGeom>
              <a:avLst/>
              <a:gdLst>
                <a:gd name="connsiteX0" fmla="*/ 0 w 19430"/>
                <a:gd name="connsiteY0" fmla="*/ 0 h 46100"/>
                <a:gd name="connsiteX1" fmla="*/ 19431 w 19430"/>
                <a:gd name="connsiteY1" fmla="*/ 46101 h 46100"/>
              </a:gdLst>
              <a:ahLst/>
              <a:cxnLst>
                <a:cxn ang="0">
                  <a:pos x="connsiteX0" y="connsiteY0"/>
                </a:cxn>
                <a:cxn ang="0">
                  <a:pos x="connsiteX1" y="connsiteY1"/>
                </a:cxn>
              </a:cxnLst>
              <a:rect l="l" t="t" r="r" b="b"/>
              <a:pathLst>
                <a:path w="19430" h="46100">
                  <a:moveTo>
                    <a:pt x="0" y="0"/>
                  </a:moveTo>
                  <a:lnTo>
                    <a:pt x="19431" y="46101"/>
                  </a:lnTo>
                </a:path>
              </a:pathLst>
            </a:custGeom>
            <a:ln w="15875" cap="rnd">
              <a:solidFill>
                <a:schemeClr val="accent3"/>
              </a:solidFill>
              <a:prstDash val="solid"/>
              <a:round/>
            </a:ln>
          </p:spPr>
          <p:txBody>
            <a:bodyPr rtlCol="0" anchor="ctr"/>
            <a:lstStyle/>
            <a:p>
              <a:endParaRPr lang="en-AR"/>
            </a:p>
          </p:txBody>
        </p:sp>
        <p:sp>
          <p:nvSpPr>
            <p:cNvPr id="43" name="Freeform 42">
              <a:extLst>
                <a:ext uri="{FF2B5EF4-FFF2-40B4-BE49-F238E27FC236}">
                  <a16:creationId xmlns:a16="http://schemas.microsoft.com/office/drawing/2014/main" id="{177109D7-C17E-D719-7107-131C831D8545}"/>
                </a:ext>
              </a:extLst>
            </p:cNvPr>
            <p:cNvSpPr/>
            <p:nvPr/>
          </p:nvSpPr>
          <p:spPr>
            <a:xfrm>
              <a:off x="-2073732" y="2775999"/>
              <a:ext cx="58673" cy="24764"/>
            </a:xfrm>
            <a:custGeom>
              <a:avLst/>
              <a:gdLst>
                <a:gd name="connsiteX0" fmla="*/ 0 w 58673"/>
                <a:gd name="connsiteY0" fmla="*/ 24765 h 24764"/>
                <a:gd name="connsiteX1" fmla="*/ 58674 w 58673"/>
                <a:gd name="connsiteY1" fmla="*/ 0 h 24764"/>
              </a:gdLst>
              <a:ahLst/>
              <a:cxnLst>
                <a:cxn ang="0">
                  <a:pos x="connsiteX0" y="connsiteY0"/>
                </a:cxn>
                <a:cxn ang="0">
                  <a:pos x="connsiteX1" y="connsiteY1"/>
                </a:cxn>
              </a:cxnLst>
              <a:rect l="l" t="t" r="r" b="b"/>
              <a:pathLst>
                <a:path w="58673" h="24764">
                  <a:moveTo>
                    <a:pt x="0" y="24765"/>
                  </a:moveTo>
                  <a:lnTo>
                    <a:pt x="58674" y="0"/>
                  </a:lnTo>
                </a:path>
              </a:pathLst>
            </a:custGeom>
            <a:ln w="15875" cap="rnd">
              <a:solidFill>
                <a:schemeClr val="accent3"/>
              </a:solidFill>
              <a:prstDash val="solid"/>
              <a:round/>
            </a:ln>
          </p:spPr>
          <p:txBody>
            <a:bodyPr rtlCol="0" anchor="ctr"/>
            <a:lstStyle/>
            <a:p>
              <a:endParaRPr lang="en-AR"/>
            </a:p>
          </p:txBody>
        </p:sp>
        <p:sp>
          <p:nvSpPr>
            <p:cNvPr id="44" name="Freeform 43">
              <a:extLst>
                <a:ext uri="{FF2B5EF4-FFF2-40B4-BE49-F238E27FC236}">
                  <a16:creationId xmlns:a16="http://schemas.microsoft.com/office/drawing/2014/main" id="{37F08784-2A70-7B92-DEFF-F9EAB680A76C}"/>
                </a:ext>
              </a:extLst>
            </p:cNvPr>
            <p:cNvSpPr/>
            <p:nvPr/>
          </p:nvSpPr>
          <p:spPr>
            <a:xfrm>
              <a:off x="-2325978" y="2922113"/>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5" name="Freeform 44">
              <a:extLst>
                <a:ext uri="{FF2B5EF4-FFF2-40B4-BE49-F238E27FC236}">
                  <a16:creationId xmlns:a16="http://schemas.microsoft.com/office/drawing/2014/main" id="{45EFB14E-01E5-0941-51F2-9D66DAD0B5F1}"/>
                </a:ext>
              </a:extLst>
            </p:cNvPr>
            <p:cNvSpPr/>
            <p:nvPr/>
          </p:nvSpPr>
          <p:spPr>
            <a:xfrm>
              <a:off x="-2289402" y="266960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6" name="Freeform 45">
              <a:extLst>
                <a:ext uri="{FF2B5EF4-FFF2-40B4-BE49-F238E27FC236}">
                  <a16:creationId xmlns:a16="http://schemas.microsoft.com/office/drawing/2014/main" id="{5B82FD3B-3B78-D25E-1655-F0C3AA9176F2}"/>
                </a:ext>
              </a:extLst>
            </p:cNvPr>
            <p:cNvSpPr/>
            <p:nvPr/>
          </p:nvSpPr>
          <p:spPr>
            <a:xfrm>
              <a:off x="-2006796" y="288848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47" name="Freeform 46">
              <a:extLst>
                <a:ext uri="{FF2B5EF4-FFF2-40B4-BE49-F238E27FC236}">
                  <a16:creationId xmlns:a16="http://schemas.microsoft.com/office/drawing/2014/main" id="{C5A9F3DC-D499-1E19-14DF-BE4BD12E9226}"/>
                </a:ext>
              </a:extLst>
            </p:cNvPr>
            <p:cNvSpPr/>
            <p:nvPr/>
          </p:nvSpPr>
          <p:spPr>
            <a:xfrm>
              <a:off x="-2483879" y="2146492"/>
              <a:ext cx="105536" cy="172497"/>
            </a:xfrm>
            <a:custGeom>
              <a:avLst/>
              <a:gdLst>
                <a:gd name="connsiteX0" fmla="*/ 105537 w 105536"/>
                <a:gd name="connsiteY0" fmla="*/ 172498 h 172497"/>
                <a:gd name="connsiteX1" fmla="*/ 57245 w 105536"/>
                <a:gd name="connsiteY1" fmla="*/ 58388 h 172497"/>
                <a:gd name="connsiteX2" fmla="*/ 0 w 105536"/>
                <a:gd name="connsiteY2" fmla="*/ 33433 h 172497"/>
                <a:gd name="connsiteX3" fmla="*/ 57245 w 105536"/>
                <a:gd name="connsiteY3" fmla="*/ 58388 h 172497"/>
                <a:gd name="connsiteX4" fmla="*/ 79343 w 105536"/>
                <a:gd name="connsiteY4" fmla="*/ 0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36" h="172497">
                  <a:moveTo>
                    <a:pt x="105537" y="172498"/>
                  </a:moveTo>
                  <a:lnTo>
                    <a:pt x="57245" y="58388"/>
                  </a:lnTo>
                  <a:lnTo>
                    <a:pt x="0" y="33433"/>
                  </a:lnTo>
                  <a:lnTo>
                    <a:pt x="57245" y="58388"/>
                  </a:lnTo>
                  <a:lnTo>
                    <a:pt x="79343" y="0"/>
                  </a:lnTo>
                </a:path>
              </a:pathLst>
            </a:custGeom>
            <a:noFill/>
            <a:ln w="15875" cap="rnd">
              <a:solidFill>
                <a:schemeClr val="accent3"/>
              </a:solidFill>
              <a:prstDash val="solid"/>
              <a:round/>
            </a:ln>
          </p:spPr>
          <p:txBody>
            <a:bodyPr rtlCol="0" anchor="ctr"/>
            <a:lstStyle/>
            <a:p>
              <a:endParaRPr lang="en-AR"/>
            </a:p>
          </p:txBody>
        </p:sp>
        <p:sp>
          <p:nvSpPr>
            <p:cNvPr id="48" name="Freeform 47">
              <a:extLst>
                <a:ext uri="{FF2B5EF4-FFF2-40B4-BE49-F238E27FC236}">
                  <a16:creationId xmlns:a16="http://schemas.microsoft.com/office/drawing/2014/main" id="{65A718F3-DE06-0BB3-9319-5FE24A945A91}"/>
                </a:ext>
              </a:extLst>
            </p:cNvPr>
            <p:cNvSpPr/>
            <p:nvPr/>
          </p:nvSpPr>
          <p:spPr>
            <a:xfrm>
              <a:off x="-1953051" y="3317876"/>
              <a:ext cx="105441" cy="172497"/>
            </a:xfrm>
            <a:custGeom>
              <a:avLst/>
              <a:gdLst>
                <a:gd name="connsiteX0" fmla="*/ 0 w 105441"/>
                <a:gd name="connsiteY0" fmla="*/ 0 h 172497"/>
                <a:gd name="connsiteX1" fmla="*/ 48196 w 105441"/>
                <a:gd name="connsiteY1" fmla="*/ 114110 h 172497"/>
                <a:gd name="connsiteX2" fmla="*/ 105442 w 105441"/>
                <a:gd name="connsiteY2" fmla="*/ 138970 h 172497"/>
                <a:gd name="connsiteX3" fmla="*/ 48196 w 105441"/>
                <a:gd name="connsiteY3" fmla="*/ 114110 h 172497"/>
                <a:gd name="connsiteX4" fmla="*/ 26194 w 105441"/>
                <a:gd name="connsiteY4" fmla="*/ 172498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41" h="172497">
                  <a:moveTo>
                    <a:pt x="0" y="0"/>
                  </a:moveTo>
                  <a:lnTo>
                    <a:pt x="48196" y="114110"/>
                  </a:lnTo>
                  <a:lnTo>
                    <a:pt x="105442" y="138970"/>
                  </a:lnTo>
                  <a:lnTo>
                    <a:pt x="48196" y="114110"/>
                  </a:lnTo>
                  <a:lnTo>
                    <a:pt x="26194" y="172498"/>
                  </a:lnTo>
                </a:path>
              </a:pathLst>
            </a:custGeom>
            <a:noFill/>
            <a:ln w="15875" cap="rnd">
              <a:solidFill>
                <a:schemeClr val="accent3"/>
              </a:solidFill>
              <a:prstDash val="solid"/>
              <a:round/>
            </a:ln>
          </p:spPr>
          <p:txBody>
            <a:bodyPr rtlCol="0" anchor="ctr"/>
            <a:lstStyle/>
            <a:p>
              <a:endParaRPr lang="en-AR"/>
            </a:p>
          </p:txBody>
        </p:sp>
        <p:sp>
          <p:nvSpPr>
            <p:cNvPr id="49" name="Freeform 48">
              <a:extLst>
                <a:ext uri="{FF2B5EF4-FFF2-40B4-BE49-F238E27FC236}">
                  <a16:creationId xmlns:a16="http://schemas.microsoft.com/office/drawing/2014/main" id="{25A81133-6A0D-3121-8F5B-9A2F6D194E37}"/>
                </a:ext>
              </a:extLst>
            </p:cNvPr>
            <p:cNvSpPr/>
            <p:nvPr/>
          </p:nvSpPr>
          <p:spPr>
            <a:xfrm>
              <a:off x="-2546744" y="3221388"/>
              <a:ext cx="140303" cy="158305"/>
            </a:xfrm>
            <a:custGeom>
              <a:avLst/>
              <a:gdLst>
                <a:gd name="connsiteX0" fmla="*/ 140303 w 140303"/>
                <a:gd name="connsiteY0" fmla="*/ 0 h 158305"/>
                <a:gd name="connsiteX1" fmla="*/ 61913 w 140303"/>
                <a:gd name="connsiteY1" fmla="*/ 96012 h 158305"/>
                <a:gd name="connsiteX2" fmla="*/ 66770 w 140303"/>
                <a:gd name="connsiteY2" fmla="*/ 158305 h 158305"/>
                <a:gd name="connsiteX3" fmla="*/ 61913 w 140303"/>
                <a:gd name="connsiteY3" fmla="*/ 96012 h 158305"/>
                <a:gd name="connsiteX4" fmla="*/ 0 w 140303"/>
                <a:gd name="connsiteY4" fmla="*/ 103822 h 15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305">
                  <a:moveTo>
                    <a:pt x="140303" y="0"/>
                  </a:moveTo>
                  <a:lnTo>
                    <a:pt x="61913" y="96012"/>
                  </a:lnTo>
                  <a:lnTo>
                    <a:pt x="66770" y="158305"/>
                  </a:lnTo>
                  <a:lnTo>
                    <a:pt x="61913" y="96012"/>
                  </a:lnTo>
                  <a:lnTo>
                    <a:pt x="0" y="103822"/>
                  </a:lnTo>
                </a:path>
              </a:pathLst>
            </a:custGeom>
            <a:noFill/>
            <a:ln w="15875" cap="rnd">
              <a:solidFill>
                <a:schemeClr val="accent3"/>
              </a:solidFill>
              <a:prstDash val="solid"/>
              <a:round/>
            </a:ln>
          </p:spPr>
          <p:txBody>
            <a:bodyPr rtlCol="0" anchor="ctr"/>
            <a:lstStyle/>
            <a:p>
              <a:endParaRPr lang="en-AR"/>
            </a:p>
          </p:txBody>
        </p:sp>
        <p:sp>
          <p:nvSpPr>
            <p:cNvPr id="50" name="Freeform 49">
              <a:extLst>
                <a:ext uri="{FF2B5EF4-FFF2-40B4-BE49-F238E27FC236}">
                  <a16:creationId xmlns:a16="http://schemas.microsoft.com/office/drawing/2014/main" id="{0239AE88-6279-E405-EA76-95A33EB28567}"/>
                </a:ext>
              </a:extLst>
            </p:cNvPr>
            <p:cNvSpPr/>
            <p:nvPr/>
          </p:nvSpPr>
          <p:spPr>
            <a:xfrm>
              <a:off x="-1933905" y="2254029"/>
              <a:ext cx="140303" cy="158210"/>
            </a:xfrm>
            <a:custGeom>
              <a:avLst/>
              <a:gdLst>
                <a:gd name="connsiteX0" fmla="*/ 0 w 140303"/>
                <a:gd name="connsiteY0" fmla="*/ 158210 h 158210"/>
                <a:gd name="connsiteX1" fmla="*/ 78391 w 140303"/>
                <a:gd name="connsiteY1" fmla="*/ 62198 h 158210"/>
                <a:gd name="connsiteX2" fmla="*/ 73533 w 140303"/>
                <a:gd name="connsiteY2" fmla="*/ 0 h 158210"/>
                <a:gd name="connsiteX3" fmla="*/ 78391 w 140303"/>
                <a:gd name="connsiteY3" fmla="*/ 62198 h 158210"/>
                <a:gd name="connsiteX4" fmla="*/ 140303 w 140303"/>
                <a:gd name="connsiteY4" fmla="*/ 54388 h 158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210">
                  <a:moveTo>
                    <a:pt x="0" y="158210"/>
                  </a:moveTo>
                  <a:lnTo>
                    <a:pt x="78391" y="62198"/>
                  </a:lnTo>
                  <a:lnTo>
                    <a:pt x="73533" y="0"/>
                  </a:lnTo>
                  <a:lnTo>
                    <a:pt x="78391" y="62198"/>
                  </a:lnTo>
                  <a:lnTo>
                    <a:pt x="140303" y="54388"/>
                  </a:lnTo>
                </a:path>
              </a:pathLst>
            </a:custGeom>
            <a:noFill/>
            <a:ln w="15875" cap="rnd">
              <a:solidFill>
                <a:schemeClr val="accent3"/>
              </a:solidFill>
              <a:prstDash val="solid"/>
              <a:round/>
            </a:ln>
          </p:spPr>
          <p:txBody>
            <a:bodyPr rtlCol="0" anchor="ctr"/>
            <a:lstStyle/>
            <a:p>
              <a:endParaRPr lang="en-AR"/>
            </a:p>
          </p:txBody>
        </p:sp>
        <p:sp>
          <p:nvSpPr>
            <p:cNvPr id="51" name="Freeform 50">
              <a:extLst>
                <a:ext uri="{FF2B5EF4-FFF2-40B4-BE49-F238E27FC236}">
                  <a16:creationId xmlns:a16="http://schemas.microsoft.com/office/drawing/2014/main" id="{701C6A1F-29DA-B15A-BA72-6123714FABC0}"/>
                </a:ext>
              </a:extLst>
            </p:cNvPr>
            <p:cNvSpPr/>
            <p:nvPr/>
          </p:nvSpPr>
          <p:spPr>
            <a:xfrm>
              <a:off x="-2795156" y="2618170"/>
              <a:ext cx="174116" cy="93440"/>
            </a:xfrm>
            <a:custGeom>
              <a:avLst/>
              <a:gdLst>
                <a:gd name="connsiteX0" fmla="*/ 174117 w 174116"/>
                <a:gd name="connsiteY0" fmla="*/ 93440 h 93440"/>
                <a:gd name="connsiteX1" fmla="*/ 56293 w 174116"/>
                <a:gd name="connsiteY1" fmla="*/ 54959 h 93440"/>
                <a:gd name="connsiteX2" fmla="*/ 0 w 174116"/>
                <a:gd name="connsiteY2" fmla="*/ 81820 h 93440"/>
                <a:gd name="connsiteX3" fmla="*/ 56293 w 174116"/>
                <a:gd name="connsiteY3" fmla="*/ 54959 h 93440"/>
                <a:gd name="connsiteX4" fmla="*/ 26765 w 174116"/>
                <a:gd name="connsiteY4" fmla="*/ 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16" h="93440">
                  <a:moveTo>
                    <a:pt x="174117" y="93440"/>
                  </a:moveTo>
                  <a:lnTo>
                    <a:pt x="56293" y="54959"/>
                  </a:lnTo>
                  <a:lnTo>
                    <a:pt x="0" y="81820"/>
                  </a:lnTo>
                  <a:lnTo>
                    <a:pt x="56293" y="54959"/>
                  </a:lnTo>
                  <a:lnTo>
                    <a:pt x="26765" y="0"/>
                  </a:lnTo>
                </a:path>
              </a:pathLst>
            </a:custGeom>
            <a:noFill/>
            <a:ln w="15875" cap="rnd">
              <a:solidFill>
                <a:schemeClr val="accent3"/>
              </a:solidFill>
              <a:prstDash val="solid"/>
              <a:round/>
            </a:ln>
          </p:spPr>
          <p:txBody>
            <a:bodyPr rtlCol="0" anchor="ctr"/>
            <a:lstStyle/>
            <a:p>
              <a:endParaRPr lang="en-AR"/>
            </a:p>
          </p:txBody>
        </p:sp>
        <p:sp>
          <p:nvSpPr>
            <p:cNvPr id="52" name="Freeform 51">
              <a:extLst>
                <a:ext uri="{FF2B5EF4-FFF2-40B4-BE49-F238E27FC236}">
                  <a16:creationId xmlns:a16="http://schemas.microsoft.com/office/drawing/2014/main" id="{EBAEBE8D-7CAB-98C8-AB32-DFF17C1D6758}"/>
                </a:ext>
              </a:extLst>
            </p:cNvPr>
            <p:cNvSpPr/>
            <p:nvPr/>
          </p:nvSpPr>
          <p:spPr>
            <a:xfrm>
              <a:off x="-1708734" y="2918112"/>
              <a:ext cx="174212" cy="93440"/>
            </a:xfrm>
            <a:custGeom>
              <a:avLst/>
              <a:gdLst>
                <a:gd name="connsiteX0" fmla="*/ 0 w 174212"/>
                <a:gd name="connsiteY0" fmla="*/ 0 h 93440"/>
                <a:gd name="connsiteX1" fmla="*/ 117824 w 174212"/>
                <a:gd name="connsiteY1" fmla="*/ 38481 h 93440"/>
                <a:gd name="connsiteX2" fmla="*/ 174212 w 174212"/>
                <a:gd name="connsiteY2" fmla="*/ 11621 h 93440"/>
                <a:gd name="connsiteX3" fmla="*/ 117824 w 174212"/>
                <a:gd name="connsiteY3" fmla="*/ 38481 h 93440"/>
                <a:gd name="connsiteX4" fmla="*/ 147447 w 174212"/>
                <a:gd name="connsiteY4" fmla="*/ 9344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212" h="93440">
                  <a:moveTo>
                    <a:pt x="0" y="0"/>
                  </a:moveTo>
                  <a:lnTo>
                    <a:pt x="117824" y="38481"/>
                  </a:lnTo>
                  <a:lnTo>
                    <a:pt x="174212" y="11621"/>
                  </a:lnTo>
                  <a:lnTo>
                    <a:pt x="117824" y="38481"/>
                  </a:lnTo>
                  <a:lnTo>
                    <a:pt x="147447" y="93440"/>
                  </a:lnTo>
                </a:path>
              </a:pathLst>
            </a:custGeom>
            <a:noFill/>
            <a:ln w="15875" cap="rnd">
              <a:solidFill>
                <a:schemeClr val="accent3"/>
              </a:solidFill>
              <a:prstDash val="solid"/>
              <a:round/>
            </a:ln>
          </p:spPr>
          <p:txBody>
            <a:bodyPr rtlCol="0" anchor="ctr"/>
            <a:lstStyle/>
            <a:p>
              <a:endParaRPr lang="en-AR"/>
            </a:p>
          </p:txBody>
        </p:sp>
      </p:grpSp>
    </p:spTree>
    <p:extLst>
      <p:ext uri="{BB962C8B-B14F-4D97-AF65-F5344CB8AC3E}">
        <p14:creationId xmlns:p14="http://schemas.microsoft.com/office/powerpoint/2010/main" val="3139701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02CC0-D758-B3B5-CA13-9712E6800B58}"/>
              </a:ext>
            </a:extLst>
          </p:cNvPr>
          <p:cNvSpPr>
            <a:spLocks noGrp="1"/>
          </p:cNvSpPr>
          <p:nvPr>
            <p:ph type="ctrTitle"/>
          </p:nvPr>
        </p:nvSpPr>
        <p:spPr/>
        <p:txBody>
          <a:bodyPr/>
          <a:lstStyle/>
          <a:p>
            <a:r>
              <a:rPr lang="en-GB" dirty="0">
                <a:solidFill>
                  <a:schemeClr val="accent2"/>
                </a:solidFill>
              </a:rPr>
              <a:t>The development </a:t>
            </a:r>
            <a:br>
              <a:rPr lang="en-GB" dirty="0">
                <a:solidFill>
                  <a:schemeClr val="accent2"/>
                </a:solidFill>
              </a:rPr>
            </a:br>
            <a:r>
              <a:rPr lang="en-GB" dirty="0">
                <a:solidFill>
                  <a:schemeClr val="accent2"/>
                </a:solidFill>
              </a:rPr>
              <a:t>and approval of</a:t>
            </a:r>
            <a:br>
              <a:rPr lang="en-GB" dirty="0">
                <a:solidFill>
                  <a:schemeClr val="accent2"/>
                </a:solidFill>
              </a:rPr>
            </a:br>
            <a:r>
              <a:rPr lang="en-GB" dirty="0">
                <a:solidFill>
                  <a:schemeClr val="accent2"/>
                </a:solidFill>
              </a:rPr>
              <a:t>biosimilar medicines</a:t>
            </a:r>
            <a:endParaRPr lang="en-US" dirty="0">
              <a:solidFill>
                <a:schemeClr val="accent2"/>
              </a:solidFill>
            </a:endParaRPr>
          </a:p>
        </p:txBody>
      </p:sp>
    </p:spTree>
    <p:extLst>
      <p:ext uri="{BB962C8B-B14F-4D97-AF65-F5344CB8AC3E}">
        <p14:creationId xmlns:p14="http://schemas.microsoft.com/office/powerpoint/2010/main" val="36284724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Arc 36">
            <a:extLst>
              <a:ext uri="{FF2B5EF4-FFF2-40B4-BE49-F238E27FC236}">
                <a16:creationId xmlns:a16="http://schemas.microsoft.com/office/drawing/2014/main" id="{C555652D-C74F-A1AA-CEB8-97F612C4EBB3}"/>
              </a:ext>
            </a:extLst>
          </p:cNvPr>
          <p:cNvSpPr/>
          <p:nvPr/>
        </p:nvSpPr>
        <p:spPr>
          <a:xfrm rot="5400000">
            <a:off x="4426674" y="2747843"/>
            <a:ext cx="1714483" cy="1725615"/>
          </a:xfrm>
          <a:prstGeom prst="arc">
            <a:avLst>
              <a:gd name="adj1" fmla="val 16200000"/>
              <a:gd name="adj2" fmla="val 5303984"/>
            </a:avLst>
          </a:prstGeom>
          <a:ln w="9525">
            <a:gradFill flip="none" rotWithShape="1">
              <a:gsLst>
                <a:gs pos="0">
                  <a:schemeClr val="accent2"/>
                </a:gs>
                <a:gs pos="100000">
                  <a:schemeClr val="accent1">
                    <a:lumMod val="30000"/>
                    <a:lumOff val="70000"/>
                  </a:schemeClr>
                </a:gs>
              </a:gsLst>
              <a:lin ang="16200000" scaled="1"/>
              <a:tileRect/>
            </a:gra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5" name="TextBox 14">
            <a:extLst>
              <a:ext uri="{FF2B5EF4-FFF2-40B4-BE49-F238E27FC236}">
                <a16:creationId xmlns:a16="http://schemas.microsoft.com/office/drawing/2014/main" id="{5EEDEA9B-BFDF-6BAC-4BDA-EB6AD9D5443B}"/>
              </a:ext>
            </a:extLst>
          </p:cNvPr>
          <p:cNvSpPr txBox="1"/>
          <p:nvPr/>
        </p:nvSpPr>
        <p:spPr>
          <a:xfrm>
            <a:off x="4776062" y="4383253"/>
            <a:ext cx="1085370" cy="169277"/>
          </a:xfrm>
          <a:prstGeom prst="rect">
            <a:avLst/>
          </a:prstGeom>
          <a:solidFill>
            <a:schemeClr val="accent4"/>
          </a:solidFill>
        </p:spPr>
        <p:txBody>
          <a:bodyPr wrap="square" tIns="0" bIns="0" rtlCol="0">
            <a:spAutoFit/>
          </a:bodyPr>
          <a:lstStyle/>
          <a:p>
            <a:pPr algn="ctr"/>
            <a:r>
              <a:rPr lang="en-US" sz="1100" b="1" i="1" spc="300">
                <a:solidFill>
                  <a:schemeClr val="accent2"/>
                </a:solidFill>
              </a:rPr>
              <a:t>at the</a:t>
            </a:r>
            <a:endParaRPr lang="en-GB" sz="1100" b="1" i="1" spc="300">
              <a:solidFill>
                <a:schemeClr val="accent2"/>
              </a:solidFill>
            </a:endParaRPr>
          </a:p>
        </p:txBody>
      </p:sp>
      <p:sp>
        <p:nvSpPr>
          <p:cNvPr id="4" name="Oval 3">
            <a:extLst>
              <a:ext uri="{FF2B5EF4-FFF2-40B4-BE49-F238E27FC236}">
                <a16:creationId xmlns:a16="http://schemas.microsoft.com/office/drawing/2014/main" id="{F68A5B4F-488F-A5E5-E549-812135A5D484}"/>
              </a:ext>
            </a:extLst>
          </p:cNvPr>
          <p:cNvSpPr/>
          <p:nvPr/>
        </p:nvSpPr>
        <p:spPr>
          <a:xfrm>
            <a:off x="1077018" y="2882626"/>
            <a:ext cx="1489344" cy="1444689"/>
          </a:xfrm>
          <a:prstGeom prst="ellipse">
            <a:avLst/>
          </a:prstGeom>
          <a:solidFill>
            <a:schemeClr val="bg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2"/>
                </a:solidFill>
              </a:rPr>
              <a:t>Same </a:t>
            </a:r>
            <a:br>
              <a:rPr lang="en-US" sz="1600">
                <a:solidFill>
                  <a:schemeClr val="accent2"/>
                </a:solidFill>
              </a:rPr>
            </a:br>
            <a:r>
              <a:rPr lang="en-US" sz="1600" b="1">
                <a:solidFill>
                  <a:schemeClr val="accent2"/>
                </a:solidFill>
              </a:rPr>
              <a:t>active </a:t>
            </a:r>
            <a:br>
              <a:rPr lang="en-US" sz="1600" b="1">
                <a:solidFill>
                  <a:schemeClr val="accent2"/>
                </a:solidFill>
              </a:rPr>
            </a:br>
            <a:r>
              <a:rPr lang="en-US" sz="1600" b="1">
                <a:solidFill>
                  <a:schemeClr val="accent2"/>
                </a:solidFill>
              </a:rPr>
              <a:t>substance</a:t>
            </a:r>
            <a:endParaRPr lang="en-GB" sz="1600" b="1">
              <a:solidFill>
                <a:schemeClr val="accent2"/>
              </a:solidFill>
            </a:endParaRPr>
          </a:p>
        </p:txBody>
      </p:sp>
      <p:sp>
        <p:nvSpPr>
          <p:cNvPr id="5" name="Oval 4">
            <a:extLst>
              <a:ext uri="{FF2B5EF4-FFF2-40B4-BE49-F238E27FC236}">
                <a16:creationId xmlns:a16="http://schemas.microsoft.com/office/drawing/2014/main" id="{6A43AB24-FA73-6F56-629C-18F3D79A67E4}"/>
              </a:ext>
            </a:extLst>
          </p:cNvPr>
          <p:cNvSpPr/>
          <p:nvPr/>
        </p:nvSpPr>
        <p:spPr>
          <a:xfrm>
            <a:off x="2800311" y="2828196"/>
            <a:ext cx="1489344" cy="1444689"/>
          </a:xfrm>
          <a:prstGeom prst="ellipse">
            <a:avLst/>
          </a:prstGeom>
          <a:solidFill>
            <a:schemeClr val="bg2"/>
          </a:solidFill>
          <a:ln w="508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6">
                    <a:lumMod val="75000"/>
                  </a:schemeClr>
                </a:solidFill>
              </a:rPr>
              <a:t>Same </a:t>
            </a:r>
            <a:br>
              <a:rPr lang="en-US" sz="1600">
                <a:solidFill>
                  <a:schemeClr val="accent6">
                    <a:lumMod val="75000"/>
                  </a:schemeClr>
                </a:solidFill>
              </a:rPr>
            </a:br>
            <a:r>
              <a:rPr lang="en-US" sz="1600" b="1">
                <a:solidFill>
                  <a:schemeClr val="accent6">
                    <a:lumMod val="75000"/>
                  </a:schemeClr>
                </a:solidFill>
              </a:rPr>
              <a:t>route</a:t>
            </a:r>
            <a:endParaRPr lang="en-GB" sz="1600" b="1">
              <a:solidFill>
                <a:schemeClr val="accent6">
                  <a:lumMod val="75000"/>
                </a:schemeClr>
              </a:solidFill>
            </a:endParaRPr>
          </a:p>
        </p:txBody>
      </p:sp>
      <p:sp>
        <p:nvSpPr>
          <p:cNvPr id="7" name="Oval 6">
            <a:extLst>
              <a:ext uri="{FF2B5EF4-FFF2-40B4-BE49-F238E27FC236}">
                <a16:creationId xmlns:a16="http://schemas.microsoft.com/office/drawing/2014/main" id="{47F69D15-929F-24CE-DEB7-E41F54769531}"/>
              </a:ext>
            </a:extLst>
          </p:cNvPr>
          <p:cNvSpPr/>
          <p:nvPr/>
        </p:nvSpPr>
        <p:spPr>
          <a:xfrm>
            <a:off x="4563068" y="2882626"/>
            <a:ext cx="1489344" cy="1444689"/>
          </a:xfrm>
          <a:prstGeom prst="ellipse">
            <a:avLst/>
          </a:prstGeom>
          <a:solidFill>
            <a:schemeClr val="bg2"/>
          </a:solid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2"/>
                </a:solidFill>
              </a:rPr>
              <a:t>Same </a:t>
            </a:r>
            <a:br>
              <a:rPr lang="en-US" sz="1600">
                <a:solidFill>
                  <a:schemeClr val="accent2"/>
                </a:solidFill>
              </a:rPr>
            </a:br>
            <a:r>
              <a:rPr lang="en-US" sz="1600" b="1">
                <a:solidFill>
                  <a:schemeClr val="accent2"/>
                </a:solidFill>
              </a:rPr>
              <a:t>dose</a:t>
            </a:r>
            <a:endParaRPr lang="en-GB" sz="1600" b="1">
              <a:solidFill>
                <a:schemeClr val="accent2"/>
              </a:solidFill>
            </a:endParaRPr>
          </a:p>
        </p:txBody>
      </p:sp>
      <p:sp>
        <p:nvSpPr>
          <p:cNvPr id="8" name="Oval 7">
            <a:extLst>
              <a:ext uri="{FF2B5EF4-FFF2-40B4-BE49-F238E27FC236}">
                <a16:creationId xmlns:a16="http://schemas.microsoft.com/office/drawing/2014/main" id="{A59C7769-9664-E480-F75B-C1FFD78B3634}"/>
              </a:ext>
            </a:extLst>
          </p:cNvPr>
          <p:cNvSpPr/>
          <p:nvPr/>
        </p:nvSpPr>
        <p:spPr>
          <a:xfrm>
            <a:off x="6297993" y="2828196"/>
            <a:ext cx="1489344" cy="1444689"/>
          </a:xfrm>
          <a:prstGeom prst="ellipse">
            <a:avLst/>
          </a:prstGeom>
          <a:solidFill>
            <a:schemeClr val="bg2"/>
          </a:solidFill>
          <a:ln w="508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a:solidFill>
                  <a:schemeClr val="accent6">
                    <a:lumMod val="75000"/>
                  </a:schemeClr>
                </a:solidFill>
              </a:rPr>
              <a:t>Same </a:t>
            </a:r>
            <a:br>
              <a:rPr lang="en-US" sz="1600">
                <a:solidFill>
                  <a:schemeClr val="accent6">
                    <a:lumMod val="75000"/>
                  </a:schemeClr>
                </a:solidFill>
              </a:rPr>
            </a:br>
            <a:r>
              <a:rPr lang="en-US" sz="1600" b="1">
                <a:solidFill>
                  <a:schemeClr val="accent6">
                    <a:lumMod val="75000"/>
                  </a:schemeClr>
                </a:solidFill>
              </a:rPr>
              <a:t>indications</a:t>
            </a:r>
            <a:endParaRPr lang="en-GB" sz="1600" b="1">
              <a:solidFill>
                <a:schemeClr val="accent6">
                  <a:lumMod val="75000"/>
                </a:schemeClr>
              </a:solidFill>
            </a:endParaRPr>
          </a:p>
        </p:txBody>
      </p:sp>
      <p:sp>
        <p:nvSpPr>
          <p:cNvPr id="10" name="Arc 9">
            <a:extLst>
              <a:ext uri="{FF2B5EF4-FFF2-40B4-BE49-F238E27FC236}">
                <a16:creationId xmlns:a16="http://schemas.microsoft.com/office/drawing/2014/main" id="{F7FD05D2-760E-AA59-59D9-13B9EFCEBE0C}"/>
              </a:ext>
            </a:extLst>
          </p:cNvPr>
          <p:cNvSpPr/>
          <p:nvPr/>
        </p:nvSpPr>
        <p:spPr>
          <a:xfrm rot="16200000">
            <a:off x="2672996" y="2594168"/>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4" name="TextBox 13">
            <a:extLst>
              <a:ext uri="{FF2B5EF4-FFF2-40B4-BE49-F238E27FC236}">
                <a16:creationId xmlns:a16="http://schemas.microsoft.com/office/drawing/2014/main" id="{21354897-85B2-9277-F7BB-BD323199BFA4}"/>
              </a:ext>
            </a:extLst>
          </p:cNvPr>
          <p:cNvSpPr txBox="1"/>
          <p:nvPr/>
        </p:nvSpPr>
        <p:spPr>
          <a:xfrm>
            <a:off x="2925523" y="2596237"/>
            <a:ext cx="1209428" cy="169277"/>
          </a:xfrm>
          <a:prstGeom prst="rect">
            <a:avLst/>
          </a:prstGeom>
          <a:solidFill>
            <a:schemeClr val="accent4"/>
          </a:solidFill>
        </p:spPr>
        <p:txBody>
          <a:bodyPr wrap="square" tIns="0" bIns="0" rtlCol="0">
            <a:spAutoFit/>
          </a:bodyPr>
          <a:lstStyle/>
          <a:p>
            <a:pPr algn="ctr"/>
            <a:r>
              <a:rPr lang="en-US" sz="1100" b="1" i="1" spc="300">
                <a:solidFill>
                  <a:schemeClr val="accent2"/>
                </a:solidFill>
              </a:rPr>
              <a:t>via the</a:t>
            </a:r>
            <a:endParaRPr lang="en-GB" sz="1100" b="1" i="1" spc="300">
              <a:solidFill>
                <a:schemeClr val="accent2"/>
              </a:solidFill>
            </a:endParaRPr>
          </a:p>
        </p:txBody>
      </p:sp>
      <p:sp>
        <p:nvSpPr>
          <p:cNvPr id="26" name="Oval 25">
            <a:extLst>
              <a:ext uri="{FF2B5EF4-FFF2-40B4-BE49-F238E27FC236}">
                <a16:creationId xmlns:a16="http://schemas.microsoft.com/office/drawing/2014/main" id="{4E833443-1D79-08EC-FA6A-0B0BC50D6698}"/>
              </a:ext>
            </a:extLst>
          </p:cNvPr>
          <p:cNvSpPr/>
          <p:nvPr/>
        </p:nvSpPr>
        <p:spPr>
          <a:xfrm>
            <a:off x="2874745" y="951943"/>
            <a:ext cx="1010126" cy="1010126"/>
          </a:xfrm>
          <a:prstGeom prst="ellipse">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7" name="Oval 26">
            <a:extLst>
              <a:ext uri="{FF2B5EF4-FFF2-40B4-BE49-F238E27FC236}">
                <a16:creationId xmlns:a16="http://schemas.microsoft.com/office/drawing/2014/main" id="{51FA6201-B596-A70F-DF3F-E7E2E98A9CE3}"/>
              </a:ext>
            </a:extLst>
          </p:cNvPr>
          <p:cNvSpPr/>
          <p:nvPr/>
        </p:nvSpPr>
        <p:spPr>
          <a:xfrm>
            <a:off x="4813685" y="951943"/>
            <a:ext cx="1010126" cy="101012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4" name="Arc 23">
            <a:extLst>
              <a:ext uri="{FF2B5EF4-FFF2-40B4-BE49-F238E27FC236}">
                <a16:creationId xmlns:a16="http://schemas.microsoft.com/office/drawing/2014/main" id="{D86CBC92-EF58-DA1A-1359-7AC33BBB4CD8}"/>
              </a:ext>
            </a:extLst>
          </p:cNvPr>
          <p:cNvSpPr/>
          <p:nvPr/>
        </p:nvSpPr>
        <p:spPr>
          <a:xfrm rot="16200000">
            <a:off x="6163206" y="2594168"/>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6" name="Slide Number Placeholder 1">
            <a:extLst>
              <a:ext uri="{FF2B5EF4-FFF2-40B4-BE49-F238E27FC236}">
                <a16:creationId xmlns:a16="http://schemas.microsoft.com/office/drawing/2014/main" id="{2A3E0285-D118-CA35-D611-3628ABC43136}"/>
              </a:ext>
            </a:extLst>
          </p:cNvPr>
          <p:cNvSpPr>
            <a:spLocks noGrp="1"/>
          </p:cNvSpPr>
          <p:nvPr>
            <p:ph type="sldNum" sz="quarter" idx="12"/>
          </p:nvPr>
        </p:nvSpPr>
        <p:spPr/>
        <p:txBody>
          <a:bodyPr/>
          <a:lstStyle/>
          <a:p>
            <a:fld id="{47547CF9-5B10-D24F-A8D7-45A9778164F7}" type="slidenum">
              <a:rPr lang="uk-UA" smtClean="0"/>
              <a:pPr/>
              <a:t>15</a:t>
            </a:fld>
            <a:endParaRPr lang="uk-UA"/>
          </a:p>
        </p:txBody>
      </p:sp>
      <p:cxnSp>
        <p:nvCxnSpPr>
          <p:cNvPr id="29" name="Straight Arrow Connector 28">
            <a:extLst>
              <a:ext uri="{FF2B5EF4-FFF2-40B4-BE49-F238E27FC236}">
                <a16:creationId xmlns:a16="http://schemas.microsoft.com/office/drawing/2014/main" id="{8CB068D7-74F3-B95C-3CB9-7BB60BBDAB5E}"/>
              </a:ext>
            </a:extLst>
          </p:cNvPr>
          <p:cNvCxnSpPr>
            <a:cxnSpLocks/>
            <a:stCxn id="26" idx="6"/>
            <a:endCxn id="27" idx="2"/>
          </p:cNvCxnSpPr>
          <p:nvPr/>
        </p:nvCxnSpPr>
        <p:spPr>
          <a:xfrm>
            <a:off x="3884871" y="1457006"/>
            <a:ext cx="928814" cy="0"/>
          </a:xfrm>
          <a:prstGeom prst="straightConnector1">
            <a:avLst/>
          </a:prstGeom>
          <a:ln>
            <a:solidFill>
              <a:schemeClr val="accent2"/>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3" name="Arc 32">
            <a:extLst>
              <a:ext uri="{FF2B5EF4-FFF2-40B4-BE49-F238E27FC236}">
                <a16:creationId xmlns:a16="http://schemas.microsoft.com/office/drawing/2014/main" id="{AA78392C-9CD5-8BE5-B5B1-0C0C47059FA4}"/>
              </a:ext>
            </a:extLst>
          </p:cNvPr>
          <p:cNvSpPr/>
          <p:nvPr/>
        </p:nvSpPr>
        <p:spPr>
          <a:xfrm rot="5400000">
            <a:off x="948096" y="2747843"/>
            <a:ext cx="1714483" cy="1725615"/>
          </a:xfrm>
          <a:prstGeom prst="arc">
            <a:avLst>
              <a:gd name="adj1" fmla="val 16200000"/>
              <a:gd name="adj2" fmla="val 5303984"/>
            </a:avLst>
          </a:prstGeom>
          <a:ln w="9525">
            <a:gradFill flip="none" rotWithShape="1">
              <a:gsLst>
                <a:gs pos="0">
                  <a:schemeClr val="accent2"/>
                </a:gs>
                <a:gs pos="100000">
                  <a:schemeClr val="accent1">
                    <a:lumMod val="30000"/>
                    <a:lumOff val="70000"/>
                  </a:schemeClr>
                </a:gs>
              </a:gsLst>
              <a:lin ang="16200000" scaled="1"/>
              <a:tileRect/>
            </a:gra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36" name="Arc 35">
            <a:extLst>
              <a:ext uri="{FF2B5EF4-FFF2-40B4-BE49-F238E27FC236}">
                <a16:creationId xmlns:a16="http://schemas.microsoft.com/office/drawing/2014/main" id="{693BDB23-321B-13C3-077F-3B4BC75084EC}"/>
              </a:ext>
            </a:extLst>
          </p:cNvPr>
          <p:cNvSpPr/>
          <p:nvPr/>
        </p:nvSpPr>
        <p:spPr>
          <a:xfrm rot="16200000">
            <a:off x="6165639" y="2594168"/>
            <a:ext cx="1714483" cy="1725615"/>
          </a:xfrm>
          <a:prstGeom prst="arc">
            <a:avLst>
              <a:gd name="adj1" fmla="val 16200000"/>
              <a:gd name="adj2" fmla="val 5303984"/>
            </a:avLst>
          </a:prstGeom>
          <a:ln w="9525">
            <a:solidFill>
              <a:schemeClr val="accent3"/>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R"/>
          </a:p>
        </p:txBody>
      </p:sp>
      <p:sp>
        <p:nvSpPr>
          <p:cNvPr id="17" name="TextBox 16">
            <a:extLst>
              <a:ext uri="{FF2B5EF4-FFF2-40B4-BE49-F238E27FC236}">
                <a16:creationId xmlns:a16="http://schemas.microsoft.com/office/drawing/2014/main" id="{58CF9EE0-75AC-DFC3-F77F-DB5F79306B89}"/>
              </a:ext>
            </a:extLst>
          </p:cNvPr>
          <p:cNvSpPr txBox="1"/>
          <p:nvPr/>
        </p:nvSpPr>
        <p:spPr>
          <a:xfrm>
            <a:off x="6437951" y="2589895"/>
            <a:ext cx="1209428" cy="169277"/>
          </a:xfrm>
          <a:prstGeom prst="rect">
            <a:avLst/>
          </a:prstGeom>
          <a:solidFill>
            <a:schemeClr val="accent4"/>
          </a:solidFill>
        </p:spPr>
        <p:txBody>
          <a:bodyPr wrap="square" tIns="0" bIns="0" rtlCol="0">
            <a:spAutoFit/>
          </a:bodyPr>
          <a:lstStyle/>
          <a:p>
            <a:pPr algn="ctr"/>
            <a:r>
              <a:rPr lang="en-US" sz="1100" b="1" i="1" spc="300" dirty="0">
                <a:solidFill>
                  <a:schemeClr val="accent2"/>
                </a:solidFill>
              </a:rPr>
              <a:t>and the</a:t>
            </a:r>
            <a:endParaRPr lang="en-GB" sz="1100" b="1" i="1" spc="300" dirty="0">
              <a:solidFill>
                <a:schemeClr val="accent2"/>
              </a:solidFill>
            </a:endParaRPr>
          </a:p>
        </p:txBody>
      </p:sp>
      <p:sp>
        <p:nvSpPr>
          <p:cNvPr id="40" name="Title 1">
            <a:extLst>
              <a:ext uri="{FF2B5EF4-FFF2-40B4-BE49-F238E27FC236}">
                <a16:creationId xmlns:a16="http://schemas.microsoft.com/office/drawing/2014/main" id="{0B04D87C-ABBD-FEC5-F664-BF310DAFE7E5}"/>
              </a:ext>
            </a:extLst>
          </p:cNvPr>
          <p:cNvSpPr txBox="1">
            <a:spLocks/>
          </p:cNvSpPr>
          <p:nvPr/>
        </p:nvSpPr>
        <p:spPr>
          <a:xfrm>
            <a:off x="243000" y="181146"/>
            <a:ext cx="795394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10500" b="1" kern="1200" spc="-225" baseline="0">
                <a:solidFill>
                  <a:schemeClr val="accent2"/>
                </a:solidFill>
                <a:latin typeface="+mj-lt"/>
                <a:ea typeface="+mj-ea"/>
                <a:cs typeface="+mj-cs"/>
              </a:defRPr>
            </a:lvl1pPr>
          </a:lstStyle>
          <a:p>
            <a:r>
              <a:rPr lang="en-US" sz="2400" b="1" spc="0"/>
              <a:t>Biosimilar medicines offer continuity of care</a:t>
            </a:r>
            <a:endParaRPr lang="en-US" sz="2400" spc="0" baseline="30000"/>
          </a:p>
        </p:txBody>
      </p:sp>
      <p:grpSp>
        <p:nvGrpSpPr>
          <p:cNvPr id="2" name="Group 1">
            <a:extLst>
              <a:ext uri="{FF2B5EF4-FFF2-40B4-BE49-F238E27FC236}">
                <a16:creationId xmlns:a16="http://schemas.microsoft.com/office/drawing/2014/main" id="{3C6363DF-E49C-2F0D-0804-1D38DBAC67AA}"/>
              </a:ext>
            </a:extLst>
          </p:cNvPr>
          <p:cNvGrpSpPr/>
          <p:nvPr/>
        </p:nvGrpSpPr>
        <p:grpSpPr>
          <a:xfrm>
            <a:off x="3045192" y="1152079"/>
            <a:ext cx="669232" cy="642861"/>
            <a:chOff x="4417218" y="2410682"/>
            <a:chExt cx="345662" cy="332041"/>
          </a:xfrm>
          <a:noFill/>
        </p:grpSpPr>
        <p:sp>
          <p:nvSpPr>
            <p:cNvPr id="3" name="Freeform 2">
              <a:extLst>
                <a:ext uri="{FF2B5EF4-FFF2-40B4-BE49-F238E27FC236}">
                  <a16:creationId xmlns:a16="http://schemas.microsoft.com/office/drawing/2014/main" id="{BB144D08-7C79-3A14-10AD-70E381BC25E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38100" cap="flat">
              <a:solidFill>
                <a:schemeClr val="bg1"/>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5B8BE3F2-E3FC-FC27-B80B-B9E6E423257F}"/>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38100" cap="flat">
              <a:solidFill>
                <a:schemeClr val="bg1"/>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4B1939E6-DF9D-D702-90AE-D8BF9C9D5CC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38100" cap="flat">
              <a:solidFill>
                <a:schemeClr val="bg1"/>
              </a:solidFill>
              <a:prstDash val="solid"/>
              <a:miter/>
            </a:ln>
          </p:spPr>
          <p:txBody>
            <a:bodyPr rtlCol="0" anchor="ctr"/>
            <a:lstStyle/>
            <a:p>
              <a:endParaRPr lang="en-AR"/>
            </a:p>
          </p:txBody>
        </p:sp>
      </p:grpSp>
      <p:grpSp>
        <p:nvGrpSpPr>
          <p:cNvPr id="12" name="Group 11">
            <a:extLst>
              <a:ext uri="{FF2B5EF4-FFF2-40B4-BE49-F238E27FC236}">
                <a16:creationId xmlns:a16="http://schemas.microsoft.com/office/drawing/2014/main" id="{F94B4E93-F60A-DC57-7CDC-E6A8ADFBEF5D}"/>
              </a:ext>
            </a:extLst>
          </p:cNvPr>
          <p:cNvGrpSpPr/>
          <p:nvPr/>
        </p:nvGrpSpPr>
        <p:grpSpPr>
          <a:xfrm>
            <a:off x="4984132" y="1152079"/>
            <a:ext cx="669232" cy="642861"/>
            <a:chOff x="4417218" y="2410682"/>
            <a:chExt cx="345662" cy="332041"/>
          </a:xfrm>
        </p:grpSpPr>
        <p:sp>
          <p:nvSpPr>
            <p:cNvPr id="13" name="Freeform 12">
              <a:extLst>
                <a:ext uri="{FF2B5EF4-FFF2-40B4-BE49-F238E27FC236}">
                  <a16:creationId xmlns:a16="http://schemas.microsoft.com/office/drawing/2014/main" id="{3AC7DCE3-2961-4BB4-0098-856465A47FC5}"/>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noFill/>
            <a:ln w="38100" cap="flat">
              <a:solidFill>
                <a:schemeClr val="bg2"/>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8752A045-CC45-41D3-8AC5-4C5CC5C75924}"/>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ln w="38100" cap="flat">
              <a:solidFill>
                <a:schemeClr val="bg2"/>
              </a:solidFill>
              <a:prstDash val="solid"/>
              <a:miter/>
            </a:ln>
          </p:spPr>
          <p:txBody>
            <a:bodyPr rtlCol="0" anchor="ctr"/>
            <a:lstStyle/>
            <a:p>
              <a:endParaRPr lang="en-AR"/>
            </a:p>
          </p:txBody>
        </p:sp>
        <p:sp>
          <p:nvSpPr>
            <p:cNvPr id="18" name="Freeform 17">
              <a:extLst>
                <a:ext uri="{FF2B5EF4-FFF2-40B4-BE49-F238E27FC236}">
                  <a16:creationId xmlns:a16="http://schemas.microsoft.com/office/drawing/2014/main" id="{7FEFAFB0-25EC-14E8-AE2A-7FD629CBF72B}"/>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ln w="38100" cap="flat">
              <a:solidFill>
                <a:schemeClr val="bg2"/>
              </a:solidFill>
              <a:prstDash val="solid"/>
              <a:miter/>
            </a:ln>
          </p:spPr>
          <p:txBody>
            <a:bodyPr rtlCol="0" anchor="ctr"/>
            <a:lstStyle/>
            <a:p>
              <a:endParaRPr lang="en-AR"/>
            </a:p>
          </p:txBody>
        </p:sp>
      </p:grpSp>
      <p:sp>
        <p:nvSpPr>
          <p:cNvPr id="19" name="TextBox 18">
            <a:extLst>
              <a:ext uri="{FF2B5EF4-FFF2-40B4-BE49-F238E27FC236}">
                <a16:creationId xmlns:a16="http://schemas.microsoft.com/office/drawing/2014/main" id="{134B93A1-071B-E705-0729-EE3C2914B80D}"/>
              </a:ext>
            </a:extLst>
          </p:cNvPr>
          <p:cNvSpPr txBox="1"/>
          <p:nvPr/>
        </p:nvSpPr>
        <p:spPr>
          <a:xfrm>
            <a:off x="2516999" y="2037329"/>
            <a:ext cx="1725615" cy="286516"/>
          </a:xfrm>
          <a:prstGeom prst="rect">
            <a:avLst/>
          </a:prstGeom>
          <a:noFill/>
        </p:spPr>
        <p:txBody>
          <a:bodyPr wrap="square" lIns="0" tIns="0" rIns="0" bIns="0" rtlCol="0">
            <a:noAutofit/>
          </a:bodyPr>
          <a:lstStyle/>
          <a:p>
            <a:pPr algn="ctr"/>
            <a:r>
              <a:rPr lang="en-GB" sz="1400" b="1" spc="-10">
                <a:solidFill>
                  <a:schemeClr val="accent6">
                    <a:lumMod val="75000"/>
                  </a:schemeClr>
                </a:solidFill>
              </a:rPr>
              <a:t>Reference medicine</a:t>
            </a:r>
            <a:endParaRPr lang="en-US" sz="1400" b="1" spc="-10">
              <a:solidFill>
                <a:schemeClr val="accent6">
                  <a:lumMod val="75000"/>
                </a:schemeClr>
              </a:solidFill>
            </a:endParaRPr>
          </a:p>
        </p:txBody>
      </p:sp>
      <p:sp>
        <p:nvSpPr>
          <p:cNvPr id="20" name="TextBox 19">
            <a:extLst>
              <a:ext uri="{FF2B5EF4-FFF2-40B4-BE49-F238E27FC236}">
                <a16:creationId xmlns:a16="http://schemas.microsoft.com/office/drawing/2014/main" id="{2349E3F0-0A4B-F6F3-846A-E2135887F62A}"/>
              </a:ext>
            </a:extLst>
          </p:cNvPr>
          <p:cNvSpPr txBox="1"/>
          <p:nvPr/>
        </p:nvSpPr>
        <p:spPr>
          <a:xfrm>
            <a:off x="4455939" y="2037329"/>
            <a:ext cx="1725615" cy="286516"/>
          </a:xfrm>
          <a:prstGeom prst="rect">
            <a:avLst/>
          </a:prstGeom>
          <a:noFill/>
        </p:spPr>
        <p:txBody>
          <a:bodyPr wrap="square" lIns="0" tIns="0" rIns="0" bIns="0" rtlCol="0">
            <a:noAutofit/>
          </a:bodyPr>
          <a:lstStyle/>
          <a:p>
            <a:pPr algn="ctr"/>
            <a:r>
              <a:rPr lang="en-GB" sz="1400" b="1" spc="-10">
                <a:solidFill>
                  <a:schemeClr val="accent2"/>
                </a:solidFill>
              </a:rPr>
              <a:t>Biosimilar medicine</a:t>
            </a:r>
            <a:endParaRPr lang="en-US" sz="1400" b="1" spc="-10">
              <a:solidFill>
                <a:schemeClr val="accent2"/>
              </a:solidFill>
            </a:endParaRPr>
          </a:p>
        </p:txBody>
      </p:sp>
    </p:spTree>
    <p:extLst>
      <p:ext uri="{BB962C8B-B14F-4D97-AF65-F5344CB8AC3E}">
        <p14:creationId xmlns:p14="http://schemas.microsoft.com/office/powerpoint/2010/main" val="18079257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Shape 8">
            <a:extLst>
              <a:ext uri="{FF2B5EF4-FFF2-40B4-BE49-F238E27FC236}">
                <a16:creationId xmlns:a16="http://schemas.microsoft.com/office/drawing/2014/main" id="{282BBD63-2753-DAE6-B181-F72F69C0E34E}"/>
              </a:ext>
            </a:extLst>
          </p:cNvPr>
          <p:cNvSpPr>
            <a:spLocks/>
          </p:cNvSpPr>
          <p:nvPr/>
        </p:nvSpPr>
        <p:spPr>
          <a:xfrm>
            <a:off x="4709431" y="2220603"/>
            <a:ext cx="4104023" cy="146347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15" name="Freeform: Shape 8">
            <a:extLst>
              <a:ext uri="{FF2B5EF4-FFF2-40B4-BE49-F238E27FC236}">
                <a16:creationId xmlns:a16="http://schemas.microsoft.com/office/drawing/2014/main" id="{22EFE617-2C32-F403-8CA6-8C4283601006}"/>
              </a:ext>
            </a:extLst>
          </p:cNvPr>
          <p:cNvSpPr>
            <a:spLocks/>
          </p:cNvSpPr>
          <p:nvPr/>
        </p:nvSpPr>
        <p:spPr>
          <a:xfrm>
            <a:off x="250487" y="2216325"/>
            <a:ext cx="4104023" cy="1467749"/>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13" name="Rectangle 12">
            <a:extLst>
              <a:ext uri="{FF2B5EF4-FFF2-40B4-BE49-F238E27FC236}">
                <a16:creationId xmlns:a16="http://schemas.microsoft.com/office/drawing/2014/main" id="{191D0E42-E32E-4C0C-8667-4BAFBEB3CB93}"/>
              </a:ext>
            </a:extLst>
          </p:cNvPr>
          <p:cNvSpPr/>
          <p:nvPr/>
        </p:nvSpPr>
        <p:spPr>
          <a:xfrm>
            <a:off x="243000" y="1062876"/>
            <a:ext cx="8367890" cy="859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GB" sz="1400" dirty="0">
                <a:solidFill>
                  <a:schemeClr val="tx2"/>
                </a:solidFill>
              </a:rPr>
              <a:t>Regulatory bodies such as the EMA and the US FDA will only approve a biosimilar if it is demonstrated that the biosimilar matches the reference medicine in terms of </a:t>
            </a:r>
            <a:r>
              <a:rPr lang="en-GB" sz="1400" b="1" dirty="0">
                <a:solidFill>
                  <a:schemeClr val="tx2"/>
                </a:solidFill>
              </a:rPr>
              <a:t>quality, safety </a:t>
            </a:r>
            <a:r>
              <a:rPr lang="en-GB" sz="1400" dirty="0">
                <a:solidFill>
                  <a:schemeClr val="tx2"/>
                </a:solidFill>
              </a:rPr>
              <a:t>and</a:t>
            </a:r>
            <a:r>
              <a:rPr lang="en-GB" sz="1400" b="1" dirty="0">
                <a:solidFill>
                  <a:schemeClr val="tx2"/>
                </a:solidFill>
              </a:rPr>
              <a:t> efficacy, </a:t>
            </a:r>
            <a:r>
              <a:rPr lang="en-GB" sz="1400" dirty="0">
                <a:solidFill>
                  <a:schemeClr val="tx2"/>
                </a:solidFill>
              </a:rPr>
              <a:t>with </a:t>
            </a:r>
            <a:r>
              <a:rPr lang="en-GB" sz="1400" b="1" dirty="0">
                <a:solidFill>
                  <a:schemeClr val="tx2"/>
                </a:solidFill>
              </a:rPr>
              <a:t>no clinically meaningful differences in immunogenicity</a:t>
            </a:r>
            <a:r>
              <a:rPr lang="en-GB" sz="1400" baseline="30000" dirty="0">
                <a:solidFill>
                  <a:schemeClr val="tx2"/>
                </a:solidFill>
              </a:rPr>
              <a:t>2,3</a:t>
            </a:r>
          </a:p>
        </p:txBody>
      </p:sp>
      <p:sp>
        <p:nvSpPr>
          <p:cNvPr id="2" name="Title 1"/>
          <p:cNvSpPr>
            <a:spLocks noGrp="1"/>
          </p:cNvSpPr>
          <p:nvPr>
            <p:ph type="title"/>
          </p:nvPr>
        </p:nvSpPr>
        <p:spPr>
          <a:xfrm>
            <a:off x="243000" y="181147"/>
            <a:ext cx="7895160" cy="825376"/>
          </a:xfrm>
        </p:spPr>
        <p:txBody>
          <a:bodyPr>
            <a:noAutofit/>
          </a:bodyPr>
          <a:lstStyle/>
          <a:p>
            <a:r>
              <a:rPr lang="en-US" b="1" dirty="0"/>
              <a:t>The approval and manufacture of biosimilar medicines </a:t>
            </a:r>
            <a:r>
              <a:rPr lang="en-US" dirty="0"/>
              <a:t>in Europe and the US </a:t>
            </a:r>
            <a:r>
              <a:rPr lang="en-US" b="1" dirty="0"/>
              <a:t>is strictly regulated</a:t>
            </a:r>
            <a:r>
              <a:rPr lang="en-US" b="1" baseline="30000" dirty="0"/>
              <a:t>1–4</a:t>
            </a:r>
          </a:p>
        </p:txBody>
      </p:sp>
      <p:sp>
        <p:nvSpPr>
          <p:cNvPr id="14" name="Slide Number Placeholder 1">
            <a:extLst>
              <a:ext uri="{FF2B5EF4-FFF2-40B4-BE49-F238E27FC236}">
                <a16:creationId xmlns:a16="http://schemas.microsoft.com/office/drawing/2014/main" id="{03E59BEC-53A5-1A12-71BE-07E99BD023C7}"/>
              </a:ext>
            </a:extLst>
          </p:cNvPr>
          <p:cNvSpPr>
            <a:spLocks noGrp="1"/>
          </p:cNvSpPr>
          <p:nvPr>
            <p:ph type="sldNum" sz="quarter" idx="12"/>
          </p:nvPr>
        </p:nvSpPr>
        <p:spPr/>
        <p:txBody>
          <a:bodyPr/>
          <a:lstStyle/>
          <a:p>
            <a:fld id="{47547CF9-5B10-D24F-A8D7-45A9778164F7}" type="slidenum">
              <a:rPr lang="uk-UA" smtClean="0"/>
              <a:pPr/>
              <a:t>16</a:t>
            </a:fld>
            <a:endParaRPr lang="uk-UA"/>
          </a:p>
        </p:txBody>
      </p:sp>
      <p:sp>
        <p:nvSpPr>
          <p:cNvPr id="7" name="Rectangle 6"/>
          <p:cNvSpPr/>
          <p:nvPr/>
        </p:nvSpPr>
        <p:spPr>
          <a:xfrm>
            <a:off x="1111422" y="2375203"/>
            <a:ext cx="2891458" cy="1107996"/>
          </a:xfrm>
          <a:prstGeom prst="rect">
            <a:avLst/>
          </a:prstGeom>
        </p:spPr>
        <p:txBody>
          <a:bodyPr wrap="square" anchor="ctr" anchorCtr="0">
            <a:spAutoFit/>
          </a:bodyPr>
          <a:lstStyle/>
          <a:p>
            <a:pPr lvl="1"/>
            <a:r>
              <a:rPr lang="en-GB" sz="1100" dirty="0"/>
              <a:t>Comparable safety and efficacy of a biosimilar to its reference product has to be </a:t>
            </a:r>
            <a:r>
              <a:rPr lang="en-GB" sz="1100" b="1" dirty="0"/>
              <a:t>demonstrated or otherwise justified </a:t>
            </a:r>
            <a:r>
              <a:rPr lang="en-GB" sz="1100" dirty="0"/>
              <a:t>in accordance with the data requirements laid down in Directive 2001/83/EC</a:t>
            </a:r>
            <a:r>
              <a:rPr lang="en-GB" sz="1100" baseline="30000" dirty="0"/>
              <a:t>3,4</a:t>
            </a:r>
            <a:endParaRPr lang="en-US" sz="1100" baseline="30000" dirty="0"/>
          </a:p>
        </p:txBody>
      </p:sp>
      <p:sp>
        <p:nvSpPr>
          <p:cNvPr id="8" name="Rectangle 7"/>
          <p:cNvSpPr/>
          <p:nvPr/>
        </p:nvSpPr>
        <p:spPr>
          <a:xfrm>
            <a:off x="5580112" y="2290565"/>
            <a:ext cx="2937652" cy="1277273"/>
          </a:xfrm>
          <a:prstGeom prst="rect">
            <a:avLst/>
          </a:prstGeom>
        </p:spPr>
        <p:txBody>
          <a:bodyPr wrap="square" anchor="ctr" anchorCtr="0">
            <a:spAutoFit/>
          </a:bodyPr>
          <a:lstStyle/>
          <a:p>
            <a:pPr lvl="1"/>
            <a:r>
              <a:rPr lang="en-GB" sz="1100" dirty="0"/>
              <a:t>“All FDA-approved biologics undergo a rigorous evaluation to ensure their</a:t>
            </a:r>
          </a:p>
          <a:p>
            <a:pPr lvl="1"/>
            <a:r>
              <a:rPr lang="en-GB" sz="1100" dirty="0"/>
              <a:t>safety, effectiveness, and quality.”</a:t>
            </a:r>
          </a:p>
          <a:p>
            <a:pPr lvl="1"/>
            <a:r>
              <a:rPr lang="en-GB" sz="1100" dirty="0"/>
              <a:t>“The </a:t>
            </a:r>
            <a:r>
              <a:rPr lang="en-GB" sz="1100" b="1" dirty="0"/>
              <a:t>approval process provides</a:t>
            </a:r>
          </a:p>
          <a:p>
            <a:pPr lvl="1"/>
            <a:r>
              <a:rPr lang="en-GB" sz="1100" b="1" dirty="0"/>
              <a:t>assurance </a:t>
            </a:r>
            <a:r>
              <a:rPr lang="en-GB" sz="1100" dirty="0"/>
              <a:t>that biosimilars provide the same treatment benefits as their</a:t>
            </a:r>
          </a:p>
          <a:p>
            <a:pPr lvl="1"/>
            <a:r>
              <a:rPr lang="en-GB" sz="1100" dirty="0"/>
              <a:t>respective reference products”</a:t>
            </a:r>
            <a:r>
              <a:rPr lang="en-GB" sz="1100" baseline="30000" dirty="0"/>
              <a:t>5</a:t>
            </a:r>
            <a:endParaRPr lang="en-US" sz="1100" baseline="30000" dirty="0"/>
          </a:p>
        </p:txBody>
      </p:sp>
      <p:sp>
        <p:nvSpPr>
          <p:cNvPr id="18" name="Rectangle: Rounded Corners 4">
            <a:extLst>
              <a:ext uri="{FF2B5EF4-FFF2-40B4-BE49-F238E27FC236}">
                <a16:creationId xmlns:a16="http://schemas.microsoft.com/office/drawing/2014/main" id="{E724A126-ADAA-6D84-A39B-1EF4BFECFF88}"/>
              </a:ext>
            </a:extLst>
          </p:cNvPr>
          <p:cNvSpPr txBox="1">
            <a:spLocks/>
          </p:cNvSpPr>
          <p:nvPr/>
        </p:nvSpPr>
        <p:spPr>
          <a:xfrm>
            <a:off x="250487" y="1869737"/>
            <a:ext cx="4104023" cy="350865"/>
          </a:xfrm>
          <a:prstGeom prst="rect">
            <a:avLst/>
          </a:prstGeom>
          <a:solidFill>
            <a:schemeClr val="accent3"/>
          </a:solid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spAutoFit/>
          </a:bodyPr>
          <a:lstStyle/>
          <a:p>
            <a:pPr marL="0" lvl="0" indent="0" algn="ctr" defTabSz="977900">
              <a:lnSpc>
                <a:spcPct val="90000"/>
              </a:lnSpc>
              <a:spcBef>
                <a:spcPct val="0"/>
              </a:spcBef>
              <a:spcAft>
                <a:spcPct val="35000"/>
              </a:spcAft>
              <a:buNone/>
            </a:pPr>
            <a:r>
              <a:rPr lang="en-US" sz="1200" b="1" kern="1200" dirty="0">
                <a:solidFill>
                  <a:schemeClr val="bg1"/>
                </a:solidFill>
              </a:rPr>
              <a:t>EMA</a:t>
            </a:r>
            <a:endParaRPr lang="en-GB" sz="1200" kern="1200" dirty="0">
              <a:solidFill>
                <a:schemeClr val="bg1"/>
              </a:solidFill>
            </a:endParaRPr>
          </a:p>
        </p:txBody>
      </p:sp>
      <p:sp>
        <p:nvSpPr>
          <p:cNvPr id="20" name="Rectangle: Rounded Corners 4">
            <a:extLst>
              <a:ext uri="{FF2B5EF4-FFF2-40B4-BE49-F238E27FC236}">
                <a16:creationId xmlns:a16="http://schemas.microsoft.com/office/drawing/2014/main" id="{889A8CC5-9CBC-1953-C7FF-72D0F629F4EA}"/>
              </a:ext>
            </a:extLst>
          </p:cNvPr>
          <p:cNvSpPr txBox="1">
            <a:spLocks/>
          </p:cNvSpPr>
          <p:nvPr/>
        </p:nvSpPr>
        <p:spPr>
          <a:xfrm>
            <a:off x="4709431" y="1869737"/>
            <a:ext cx="4104023" cy="350865"/>
          </a:xfrm>
          <a:prstGeom prst="rect">
            <a:avLst/>
          </a:prstGeom>
          <a:solidFill>
            <a:schemeClr val="accent3"/>
          </a:solid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spAutoFit/>
          </a:bodyPr>
          <a:lstStyle/>
          <a:p>
            <a:pPr marL="0" lvl="0" indent="0" algn="ctr" defTabSz="977900">
              <a:lnSpc>
                <a:spcPct val="90000"/>
              </a:lnSpc>
              <a:spcBef>
                <a:spcPct val="0"/>
              </a:spcBef>
              <a:spcAft>
                <a:spcPct val="35000"/>
              </a:spcAft>
              <a:buNone/>
            </a:pPr>
            <a:r>
              <a:rPr lang="en-US" sz="1200" b="1" kern="1200"/>
              <a:t>US </a:t>
            </a:r>
            <a:r>
              <a:rPr lang="en-US" sz="1200" b="1" kern="1200">
                <a:solidFill>
                  <a:schemeClr val="bg1"/>
                </a:solidFill>
              </a:rPr>
              <a:t>FD</a:t>
            </a:r>
            <a:r>
              <a:rPr lang="en-US" sz="1200" b="1">
                <a:solidFill>
                  <a:schemeClr val="bg1"/>
                </a:solidFill>
              </a:rPr>
              <a:t>A</a:t>
            </a:r>
            <a:endParaRPr lang="en-GB" sz="1200" kern="1200">
              <a:solidFill>
                <a:schemeClr val="bg1"/>
              </a:solidFill>
            </a:endParaRPr>
          </a:p>
        </p:txBody>
      </p:sp>
      <p:sp>
        <p:nvSpPr>
          <p:cNvPr id="22" name="Oval 21">
            <a:extLst>
              <a:ext uri="{FF2B5EF4-FFF2-40B4-BE49-F238E27FC236}">
                <a16:creationId xmlns:a16="http://schemas.microsoft.com/office/drawing/2014/main" id="{B36D19AD-0F37-7B64-ADDE-117F44A8645C}"/>
              </a:ext>
            </a:extLst>
          </p:cNvPr>
          <p:cNvSpPr/>
          <p:nvPr/>
        </p:nvSpPr>
        <p:spPr>
          <a:xfrm>
            <a:off x="465153" y="2410835"/>
            <a:ext cx="1036733" cy="10367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23" name="Oval 22">
            <a:extLst>
              <a:ext uri="{FF2B5EF4-FFF2-40B4-BE49-F238E27FC236}">
                <a16:creationId xmlns:a16="http://schemas.microsoft.com/office/drawing/2014/main" id="{DA15C1F2-C143-7A6D-00F6-5F6068F8E56B}"/>
              </a:ext>
            </a:extLst>
          </p:cNvPr>
          <p:cNvSpPr/>
          <p:nvPr/>
        </p:nvSpPr>
        <p:spPr>
          <a:xfrm>
            <a:off x="4918296" y="2410835"/>
            <a:ext cx="1036733" cy="10367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pic>
        <p:nvPicPr>
          <p:cNvPr id="25" name="Graphic 24">
            <a:extLst>
              <a:ext uri="{FF2B5EF4-FFF2-40B4-BE49-F238E27FC236}">
                <a16:creationId xmlns:a16="http://schemas.microsoft.com/office/drawing/2014/main" id="{FD223125-1594-10C0-606C-C6B1DDFB41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3709" y="2549391"/>
            <a:ext cx="759620" cy="759620"/>
          </a:xfrm>
          <a:prstGeom prst="rect">
            <a:avLst/>
          </a:prstGeom>
        </p:spPr>
      </p:pic>
      <p:pic>
        <p:nvPicPr>
          <p:cNvPr id="26" name="Graphic 25">
            <a:extLst>
              <a:ext uri="{FF2B5EF4-FFF2-40B4-BE49-F238E27FC236}">
                <a16:creationId xmlns:a16="http://schemas.microsoft.com/office/drawing/2014/main" id="{DC84DBC7-A9E5-F163-C0F2-022BA6E342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55968" y="2549391"/>
            <a:ext cx="759620" cy="759620"/>
          </a:xfrm>
          <a:prstGeom prst="rect">
            <a:avLst/>
          </a:prstGeom>
        </p:spPr>
      </p:pic>
      <p:sp>
        <p:nvSpPr>
          <p:cNvPr id="3" name="Freeform: Shape 8">
            <a:extLst>
              <a:ext uri="{FF2B5EF4-FFF2-40B4-BE49-F238E27FC236}">
                <a16:creationId xmlns:a16="http://schemas.microsoft.com/office/drawing/2014/main" id="{0461233A-4C1E-603B-D8ED-A35D4B8F8EC2}"/>
              </a:ext>
            </a:extLst>
          </p:cNvPr>
          <p:cNvSpPr>
            <a:spLocks/>
          </p:cNvSpPr>
          <p:nvPr/>
        </p:nvSpPr>
        <p:spPr>
          <a:xfrm>
            <a:off x="1" y="3740428"/>
            <a:ext cx="9144000" cy="504681"/>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algn="ctr" defTabSz="1066800">
              <a:lnSpc>
                <a:spcPct val="90000"/>
              </a:lnSpc>
              <a:spcBef>
                <a:spcPts val="900"/>
              </a:spcBef>
              <a:spcAft>
                <a:spcPct val="35000"/>
              </a:spcAft>
            </a:pPr>
            <a:r>
              <a:rPr lang="de-DE" sz="1100">
                <a:solidFill>
                  <a:schemeClr val="tx2"/>
                </a:solidFill>
              </a:rPr>
              <a:t>As for all biologic medicines, once biosimilars are approved by regulatory agencies and enter the market, </a:t>
            </a:r>
            <a:br>
              <a:rPr lang="de-DE" sz="1100">
                <a:solidFill>
                  <a:schemeClr val="tx2"/>
                </a:solidFill>
              </a:rPr>
            </a:br>
            <a:r>
              <a:rPr lang="de-DE" sz="1100">
                <a:solidFill>
                  <a:schemeClr val="tx2"/>
                </a:solidFill>
              </a:rPr>
              <a:t>their </a:t>
            </a:r>
            <a:r>
              <a:rPr lang="de-DE" sz="1100" b="1">
                <a:solidFill>
                  <a:schemeClr val="tx2"/>
                </a:solidFill>
              </a:rPr>
              <a:t>safety profile continues to be monitored throughout the medicine’s life cycle</a:t>
            </a:r>
            <a:r>
              <a:rPr lang="de-DE" sz="1100" baseline="30000">
                <a:solidFill>
                  <a:schemeClr val="tx2"/>
                </a:solidFill>
              </a:rPr>
              <a:t>2,6</a:t>
            </a:r>
          </a:p>
        </p:txBody>
      </p:sp>
      <p:sp>
        <p:nvSpPr>
          <p:cNvPr id="11" name="Footer Placeholder 10">
            <a:extLst>
              <a:ext uri="{FF2B5EF4-FFF2-40B4-BE49-F238E27FC236}">
                <a16:creationId xmlns:a16="http://schemas.microsoft.com/office/drawing/2014/main" id="{D3B996A3-B392-4770-34CB-E2310FBAC367}"/>
              </a:ext>
            </a:extLst>
          </p:cNvPr>
          <p:cNvSpPr>
            <a:spLocks noGrp="1"/>
          </p:cNvSpPr>
          <p:nvPr>
            <p:ph type="ftr" sz="quarter" idx="11"/>
          </p:nvPr>
        </p:nvSpPr>
        <p:spPr/>
        <p:txBody>
          <a:bodyPr/>
          <a:lstStyle/>
          <a:p>
            <a:r>
              <a:rPr lang="en-US" sz="500" dirty="0">
                <a:ea typeface="Times New Roman" panose="02020603050405020304" pitchFamily="18" charset="0"/>
                <a:cs typeface="Times New Roman" panose="02020603050405020304" pitchFamily="18" charset="0"/>
              </a:rPr>
              <a:t>EMA, European Medicines Agency; FDA, Food and Drug Administration.</a:t>
            </a:r>
            <a:endParaRPr lang="en-GB" sz="500" dirty="0">
              <a:ea typeface="Times New Roman" panose="02020603050405020304" pitchFamily="18" charset="0"/>
              <a:cs typeface="Times New Roman" panose="02020603050405020304" pitchFamily="18" charset="0"/>
            </a:endParaRPr>
          </a:p>
          <a:p>
            <a:r>
              <a:rPr lang="en-GB" sz="500" dirty="0">
                <a:ea typeface="Times New Roman" panose="02020603050405020304" pitchFamily="18" charset="0"/>
                <a:cs typeface="Times New Roman" panose="02020603050405020304" pitchFamily="18" charset="0"/>
              </a:rPr>
              <a:t>1. </a:t>
            </a:r>
            <a:r>
              <a:rPr lang="en-GB" sz="500" dirty="0"/>
              <a:t>Weise, M. et al. </a:t>
            </a:r>
            <a:r>
              <a:rPr lang="en-GB" sz="500" i="1" dirty="0"/>
              <a:t>Blood</a:t>
            </a:r>
            <a:r>
              <a:rPr lang="en-GB" sz="500" dirty="0"/>
              <a:t>. 2012;120(26):5111–5117; 2. </a:t>
            </a:r>
            <a:r>
              <a:rPr lang="en-US" sz="500" dirty="0"/>
              <a:t>US FDA. Scientific Considerations in Demonstrating </a:t>
            </a:r>
            <a:r>
              <a:rPr lang="en-US" sz="500" dirty="0" err="1"/>
              <a:t>Biosimilarity</a:t>
            </a:r>
            <a:r>
              <a:rPr lang="en-US" sz="500" dirty="0"/>
              <a:t> to a Reference Product. 2015. Available at: https://www.fda.gov/regulatory-information/search-fda-guidance-documents/scientific-considerations-demonstrating-biosimilarity-reference-product. Accessed June 2024;</a:t>
            </a:r>
            <a:r>
              <a:rPr lang="en-GB" sz="500" dirty="0">
                <a:ea typeface="Times New Roman" panose="02020603050405020304" pitchFamily="18" charset="0"/>
                <a:cs typeface="Times New Roman" panose="02020603050405020304" pitchFamily="18" charset="0"/>
              </a:rPr>
              <a:t> 3. EMA. Biosimilar medicines: Overview. Available </a:t>
            </a:r>
            <a:r>
              <a:rPr lang="en-GB" sz="500" dirty="0" err="1">
                <a:ea typeface="Times New Roman" panose="02020603050405020304" pitchFamily="18" charset="0"/>
                <a:cs typeface="Times New Roman" panose="02020603050405020304" pitchFamily="18" charset="0"/>
              </a:rPr>
              <a:t>at:https</a:t>
            </a:r>
            <a:r>
              <a:rPr lang="en-GB" sz="500" dirty="0">
                <a:ea typeface="Times New Roman" panose="02020603050405020304" pitchFamily="18" charset="0"/>
                <a:cs typeface="Times New Roman" panose="02020603050405020304" pitchFamily="18" charset="0"/>
              </a:rPr>
              <a:t>://www.ema.europa.eu/en/human-regulatory/overview/biosimilar-medicines-overview. Accessed March 2023; 4. EMA. </a:t>
            </a:r>
            <a:r>
              <a:rPr lang="en-US" sz="500" dirty="0">
                <a:ea typeface="Times New Roman" panose="02020603050405020304" pitchFamily="18" charset="0"/>
                <a:cs typeface="Times New Roman" panose="02020603050405020304" pitchFamily="18" charset="0"/>
              </a:rPr>
              <a:t>Guideline on similar biological medicinal products;</a:t>
            </a:r>
            <a:r>
              <a:rPr lang="en-GB" sz="500" dirty="0">
                <a:ea typeface="Times New Roman" panose="02020603050405020304" pitchFamily="18" charset="0"/>
                <a:cs typeface="Times New Roman" panose="02020603050405020304" pitchFamily="18" charset="0"/>
              </a:rPr>
              <a:t> Available </a:t>
            </a:r>
            <a:r>
              <a:rPr lang="en-GB" sz="500" dirty="0" err="1">
                <a:ea typeface="Times New Roman" panose="02020603050405020304" pitchFamily="18" charset="0"/>
                <a:cs typeface="Times New Roman" panose="02020603050405020304" pitchFamily="18" charset="0"/>
              </a:rPr>
              <a:t>at:https</a:t>
            </a:r>
            <a:r>
              <a:rPr lang="en-GB" sz="500" dirty="0">
                <a:ea typeface="Times New Roman" panose="02020603050405020304" pitchFamily="18" charset="0"/>
                <a:cs typeface="Times New Roman" panose="02020603050405020304" pitchFamily="18" charset="0"/>
              </a:rPr>
              <a:t>://www.ema.europa.eu/en/documents/scientific-guideline/guideline-similar-biological-medicinal-products-rev1_en.pdf. Accessed March 2023; 5. </a:t>
            </a:r>
            <a:r>
              <a:rPr lang="en-US" sz="500" dirty="0">
                <a:cs typeface="Times New Roman" panose="02020603050405020304" pitchFamily="18" charset="0"/>
              </a:rPr>
              <a:t>US FDA. Overview of Biosimilar Products. Available at: https://www.fda.gov/media/151058/download. Accessed June 2024</a:t>
            </a:r>
            <a:r>
              <a:rPr lang="en-GB" sz="500" dirty="0">
                <a:ea typeface="Times New Roman" panose="02020603050405020304" pitchFamily="18" charset="0"/>
                <a:cs typeface="Times New Roman" panose="02020603050405020304" pitchFamily="18" charset="0"/>
              </a:rPr>
              <a:t>; 6. </a:t>
            </a:r>
            <a:r>
              <a:rPr lang="en-US" sz="500" dirty="0">
                <a:ea typeface="Times New Roman" panose="02020603050405020304" pitchFamily="18" charset="0"/>
                <a:cs typeface="Times New Roman" panose="02020603050405020304" pitchFamily="18" charset="0"/>
              </a:rPr>
              <a:t>EMA and EC. Biosimilars in the EU. 2019. Available </a:t>
            </a:r>
            <a:r>
              <a:rPr lang="en-US" sz="500" dirty="0" err="1">
                <a:ea typeface="Times New Roman" panose="02020603050405020304" pitchFamily="18" charset="0"/>
                <a:cs typeface="Times New Roman" panose="02020603050405020304" pitchFamily="18" charset="0"/>
              </a:rPr>
              <a:t>at:https</a:t>
            </a:r>
            <a:r>
              <a:rPr lang="en-US" sz="500" dirty="0">
                <a:ea typeface="Times New Roman" panose="02020603050405020304" pitchFamily="18" charset="0"/>
                <a:cs typeface="Times New Roman" panose="02020603050405020304" pitchFamily="18" charset="0"/>
              </a:rPr>
              <a:t>://www.ema.europa.eu/en/documents/leaflet/biosimilars-eu-information-guide-healthcare-professionals_en.pdf. Accessed November 2023.</a:t>
            </a:r>
          </a:p>
        </p:txBody>
      </p:sp>
    </p:spTree>
    <p:extLst>
      <p:ext uri="{BB962C8B-B14F-4D97-AF65-F5344CB8AC3E}">
        <p14:creationId xmlns:p14="http://schemas.microsoft.com/office/powerpoint/2010/main" val="17279202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4F82B9DF-77A9-6F7D-2384-9597537CCD49}"/>
              </a:ext>
            </a:extLst>
          </p:cNvPr>
          <p:cNvSpPr txBox="1"/>
          <p:nvPr/>
        </p:nvSpPr>
        <p:spPr>
          <a:xfrm>
            <a:off x="3274753" y="2958977"/>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25" name="TextBox 24">
            <a:extLst>
              <a:ext uri="{FF2B5EF4-FFF2-40B4-BE49-F238E27FC236}">
                <a16:creationId xmlns:a16="http://schemas.microsoft.com/office/drawing/2014/main" id="{48D5705A-2327-170D-76DC-77FF49A50610}"/>
              </a:ext>
            </a:extLst>
          </p:cNvPr>
          <p:cNvSpPr txBox="1"/>
          <p:nvPr/>
        </p:nvSpPr>
        <p:spPr>
          <a:xfrm>
            <a:off x="3274753" y="2262292"/>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26" name="TextBox 25">
            <a:extLst>
              <a:ext uri="{FF2B5EF4-FFF2-40B4-BE49-F238E27FC236}">
                <a16:creationId xmlns:a16="http://schemas.microsoft.com/office/drawing/2014/main" id="{220F9B91-A959-02F8-973F-A98B0D70B143}"/>
              </a:ext>
            </a:extLst>
          </p:cNvPr>
          <p:cNvSpPr txBox="1"/>
          <p:nvPr/>
        </p:nvSpPr>
        <p:spPr>
          <a:xfrm>
            <a:off x="3274753" y="1609149"/>
            <a:ext cx="672083" cy="549381"/>
          </a:xfrm>
          <a:prstGeom prst="rect">
            <a:avLst/>
          </a:prstGeom>
          <a:solidFill>
            <a:schemeClr val="accent2"/>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endParaRPr lang="en-GB" sz="1300">
              <a:cs typeface="Arial" panose="020B0604020202020204" pitchFamily="34" charset="0"/>
            </a:endParaRPr>
          </a:p>
        </p:txBody>
      </p:sp>
      <p:sp>
        <p:nvSpPr>
          <p:cNvPr id="2" name="Title 1"/>
          <p:cNvSpPr>
            <a:spLocks noGrp="1"/>
          </p:cNvSpPr>
          <p:nvPr>
            <p:ph type="title"/>
          </p:nvPr>
        </p:nvSpPr>
        <p:spPr>
          <a:xfrm>
            <a:off x="243000" y="181146"/>
            <a:ext cx="7975714" cy="1138067"/>
          </a:xfrm>
        </p:spPr>
        <p:txBody>
          <a:bodyPr>
            <a:noAutofit/>
          </a:bodyPr>
          <a:lstStyle/>
          <a:p>
            <a:r>
              <a:rPr lang="en-US" spc="-30"/>
              <a:t>Reference and biosimilar biologic medicines provide </a:t>
            </a:r>
            <a:br>
              <a:rPr lang="en-US" spc="-30"/>
            </a:br>
            <a:r>
              <a:rPr lang="en-US" spc="-30"/>
              <a:t>the same clinical and safety outcomes for patients</a:t>
            </a:r>
            <a:endParaRPr lang="en-US"/>
          </a:p>
        </p:txBody>
      </p:sp>
      <p:sp>
        <p:nvSpPr>
          <p:cNvPr id="9" name="Rectangle 8"/>
          <p:cNvSpPr/>
          <p:nvPr/>
        </p:nvSpPr>
        <p:spPr>
          <a:xfrm>
            <a:off x="3274753" y="1094874"/>
            <a:ext cx="4127532" cy="313932"/>
          </a:xfrm>
          <a:prstGeom prst="rect">
            <a:avLst/>
          </a:prstGeom>
        </p:spPr>
        <p:txBody>
          <a:bodyPr wrap="square">
            <a:spAutoFit/>
          </a:bodyPr>
          <a:lstStyle/>
          <a:p>
            <a:pPr>
              <a:lnSpc>
                <a:spcPct val="90000"/>
              </a:lnSpc>
              <a:buSzPct val="120000"/>
              <a:tabLst>
                <a:tab pos="2999185" algn="r"/>
                <a:tab pos="6172200" algn="r"/>
              </a:tabLst>
            </a:pPr>
            <a:r>
              <a:rPr lang="en-US" sz="1600" b="1" dirty="0"/>
              <a:t>Biosimilar and reference medicines</a:t>
            </a:r>
            <a:r>
              <a:rPr lang="en-US" sz="1600" b="1" baseline="30000" dirty="0"/>
              <a:t>1,2,3</a:t>
            </a:r>
            <a:r>
              <a:rPr lang="en-US" sz="1600" b="1" dirty="0"/>
              <a:t>:</a:t>
            </a:r>
          </a:p>
        </p:txBody>
      </p:sp>
      <p:sp>
        <p:nvSpPr>
          <p:cNvPr id="5" name="TextBox 4">
            <a:extLst>
              <a:ext uri="{FF2B5EF4-FFF2-40B4-BE49-F238E27FC236}">
                <a16:creationId xmlns:a16="http://schemas.microsoft.com/office/drawing/2014/main" id="{5FEEA7C3-FE22-77BB-7920-C4172108C034}"/>
              </a:ext>
            </a:extLst>
          </p:cNvPr>
          <p:cNvSpPr txBox="1"/>
          <p:nvPr/>
        </p:nvSpPr>
        <p:spPr>
          <a:xfrm>
            <a:off x="0" y="3892461"/>
            <a:ext cx="9144000" cy="553998"/>
          </a:xfrm>
          <a:prstGeom prst="rect">
            <a:avLst/>
          </a:prstGeom>
          <a:solidFill>
            <a:schemeClr val="accent5">
              <a:alpha val="55000"/>
            </a:schemeClr>
          </a:solidFill>
          <a:effectLst/>
        </p:spPr>
        <p:txBody>
          <a:bodyPr wrap="square" lIns="640080" tIns="91440" rIns="640080" bIns="91440">
            <a:spAutoFit/>
          </a:bodyPr>
          <a:lstStyle/>
          <a:p>
            <a:pPr algn="ctr"/>
            <a:r>
              <a:rPr lang="en-US" sz="1200" dirty="0">
                <a:solidFill>
                  <a:schemeClr val="tx2"/>
                </a:solidFill>
              </a:rPr>
              <a:t>Similar to the </a:t>
            </a:r>
            <a:r>
              <a:rPr lang="en-US" sz="1200" b="1" dirty="0">
                <a:solidFill>
                  <a:schemeClr val="tx2"/>
                </a:solidFill>
              </a:rPr>
              <a:t>original key and a replica of the key that a locksmith can make</a:t>
            </a:r>
            <a:r>
              <a:rPr lang="en-US" sz="1200" dirty="0">
                <a:solidFill>
                  <a:schemeClr val="tx2"/>
                </a:solidFill>
              </a:rPr>
              <a:t>, an approved biosimilar medicine and its reference medicine can be expected to have the </a:t>
            </a:r>
            <a:r>
              <a:rPr lang="en-US" sz="1200" b="1" dirty="0">
                <a:solidFill>
                  <a:schemeClr val="tx2"/>
                </a:solidFill>
              </a:rPr>
              <a:t>same </a:t>
            </a:r>
            <a:r>
              <a:rPr lang="en-US" sz="1200" b="1" dirty="0">
                <a:solidFill>
                  <a:schemeClr val="accent1"/>
                </a:solidFill>
              </a:rPr>
              <a:t>clinical and safety </a:t>
            </a:r>
            <a:r>
              <a:rPr lang="en-US" sz="1200" b="1" dirty="0">
                <a:solidFill>
                  <a:schemeClr val="tx2"/>
                </a:solidFill>
              </a:rPr>
              <a:t>outcomes</a:t>
            </a:r>
            <a:r>
              <a:rPr lang="en-US" sz="1200" baseline="30000" dirty="0">
                <a:solidFill>
                  <a:schemeClr val="tx2"/>
                </a:solidFill>
              </a:rPr>
              <a:t>2,3,4</a:t>
            </a:r>
          </a:p>
        </p:txBody>
      </p:sp>
      <p:sp>
        <p:nvSpPr>
          <p:cNvPr id="7" name="TextBox 6">
            <a:extLst>
              <a:ext uri="{FF2B5EF4-FFF2-40B4-BE49-F238E27FC236}">
                <a16:creationId xmlns:a16="http://schemas.microsoft.com/office/drawing/2014/main" id="{037125AB-420B-78BC-B949-CD7AF54130F2}"/>
              </a:ext>
            </a:extLst>
          </p:cNvPr>
          <p:cNvSpPr txBox="1"/>
          <p:nvPr/>
        </p:nvSpPr>
        <p:spPr>
          <a:xfrm>
            <a:off x="4064968" y="2958977"/>
            <a:ext cx="331186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p>
            <a:pPr>
              <a:lnSpc>
                <a:spcPct val="90000"/>
              </a:lnSpc>
              <a:spcAft>
                <a:spcPts val="600"/>
              </a:spcAft>
              <a:buSzPct val="100000"/>
              <a:tabLst>
                <a:tab pos="3998913" algn="r"/>
                <a:tab pos="8229600" algn="r"/>
              </a:tabLst>
            </a:pPr>
            <a:r>
              <a:rPr lang="en-GB" sz="1300">
                <a:cs typeface="Arial" panose="020B0604020202020204" pitchFamily="34" charset="0"/>
              </a:rPr>
              <a:t>3. Comparable safety and efficacy</a:t>
            </a:r>
          </a:p>
        </p:txBody>
      </p:sp>
      <p:sp>
        <p:nvSpPr>
          <p:cNvPr id="10" name="TextBox 9">
            <a:extLst>
              <a:ext uri="{FF2B5EF4-FFF2-40B4-BE49-F238E27FC236}">
                <a16:creationId xmlns:a16="http://schemas.microsoft.com/office/drawing/2014/main" id="{9C20896C-9D17-814C-833D-6FE55570D71B}"/>
              </a:ext>
            </a:extLst>
          </p:cNvPr>
          <p:cNvSpPr txBox="1"/>
          <p:nvPr/>
        </p:nvSpPr>
        <p:spPr>
          <a:xfrm>
            <a:off x="4064968" y="2255438"/>
            <a:ext cx="331186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defPPr>
              <a:defRPr lang="en-US"/>
            </a:defPPr>
            <a:lvl1pPr>
              <a:lnSpc>
                <a:spcPct val="90000"/>
              </a:lnSpc>
              <a:spcAft>
                <a:spcPts val="600"/>
              </a:spcAft>
              <a:buSzPct val="100000"/>
              <a:tabLst>
                <a:tab pos="3998913" algn="r"/>
                <a:tab pos="8229600" algn="r"/>
              </a:tabLst>
              <a:defRPr sz="1300" b="1">
                <a:cs typeface="Arial" panose="020B0604020202020204" pitchFamily="34" charset="0"/>
              </a:defRPr>
            </a:lvl1pPr>
          </a:lstStyle>
          <a:p>
            <a:r>
              <a:rPr lang="en-GB" b="0"/>
              <a:t>2. Produced to the same standards </a:t>
            </a:r>
          </a:p>
        </p:txBody>
      </p:sp>
      <p:sp>
        <p:nvSpPr>
          <p:cNvPr id="12" name="TextBox 11">
            <a:extLst>
              <a:ext uri="{FF2B5EF4-FFF2-40B4-BE49-F238E27FC236}">
                <a16:creationId xmlns:a16="http://schemas.microsoft.com/office/drawing/2014/main" id="{50CF2224-3445-1181-6221-6B82D89A40C1}"/>
              </a:ext>
            </a:extLst>
          </p:cNvPr>
          <p:cNvSpPr txBox="1"/>
          <p:nvPr/>
        </p:nvSpPr>
        <p:spPr>
          <a:xfrm>
            <a:off x="4064968" y="1600987"/>
            <a:ext cx="3337317" cy="549381"/>
          </a:xfrm>
          <a:prstGeom prst="rect">
            <a:avLst/>
          </a:prstGeom>
          <a:solidFill>
            <a:schemeClr val="bg1"/>
          </a:solidFill>
          <a:ln w="19050">
            <a:solidFill>
              <a:schemeClr val="accent2"/>
            </a:solidFill>
          </a:ln>
          <a:effectLst>
            <a:outerShdw blurRad="63500" sx="93000" sy="93000" algn="ctr" rotWithShape="0">
              <a:prstClr val="black">
                <a:alpha val="40000"/>
              </a:prstClr>
            </a:outerShdw>
          </a:effectLst>
        </p:spPr>
        <p:txBody>
          <a:bodyPr wrap="square" tIns="182880" bIns="182880" anchor="ctr" anchorCtr="0">
            <a:spAutoFit/>
          </a:bodyPr>
          <a:lstStyle>
            <a:defPPr>
              <a:defRPr lang="en-US"/>
            </a:defPPr>
            <a:lvl1pPr>
              <a:lnSpc>
                <a:spcPct val="90000"/>
              </a:lnSpc>
              <a:spcAft>
                <a:spcPts val="600"/>
              </a:spcAft>
              <a:buSzPct val="100000"/>
              <a:tabLst>
                <a:tab pos="3998913" algn="r"/>
                <a:tab pos="8229600" algn="r"/>
              </a:tabLst>
              <a:defRPr sz="1300" b="1">
                <a:cs typeface="Arial" panose="020B0604020202020204" pitchFamily="34" charset="0"/>
              </a:defRPr>
            </a:lvl1pPr>
          </a:lstStyle>
          <a:p>
            <a:r>
              <a:rPr lang="en-US" b="0"/>
              <a:t>1. Same active ingredient </a:t>
            </a:r>
          </a:p>
        </p:txBody>
      </p:sp>
      <p:sp>
        <p:nvSpPr>
          <p:cNvPr id="8" name="Footer Placeholder 7">
            <a:extLst>
              <a:ext uri="{FF2B5EF4-FFF2-40B4-BE49-F238E27FC236}">
                <a16:creationId xmlns:a16="http://schemas.microsoft.com/office/drawing/2014/main" id="{73ABDC4C-916A-A13F-ABE8-42F39C05CE38}"/>
              </a:ext>
            </a:extLst>
          </p:cNvPr>
          <p:cNvSpPr>
            <a:spLocks noGrp="1"/>
          </p:cNvSpPr>
          <p:nvPr>
            <p:ph type="ftr" sz="quarter" idx="11"/>
          </p:nvPr>
        </p:nvSpPr>
        <p:spPr>
          <a:xfrm>
            <a:off x="420573" y="4827355"/>
            <a:ext cx="7316279" cy="134999"/>
          </a:xfrm>
        </p:spPr>
        <p:txBody>
          <a:bodyPr/>
          <a:lstStyle/>
          <a:p>
            <a:r>
              <a:rPr lang="fr-FR" sz="500" dirty="0">
                <a:latin typeface="Arial "/>
                <a:cs typeface="Times New Roman" panose="02020603050405020304" pitchFamily="18" charset="0"/>
              </a:rPr>
              <a:t>1. </a:t>
            </a:r>
            <a:r>
              <a:rPr lang="fr-FR" sz="500" dirty="0" err="1">
                <a:latin typeface="Arial "/>
                <a:cs typeface="Times New Roman" panose="02020603050405020304" pitchFamily="18" charset="0"/>
              </a:rPr>
              <a:t>Skingle</a:t>
            </a:r>
            <a:r>
              <a:rPr lang="fr-FR" sz="500" dirty="0">
                <a:latin typeface="Arial "/>
                <a:cs typeface="Times New Roman" panose="02020603050405020304" pitchFamily="18" charset="0"/>
              </a:rPr>
              <a:t> D. </a:t>
            </a:r>
            <a:r>
              <a:rPr lang="fr-FR" sz="500" i="1" dirty="0">
                <a:latin typeface="Arial "/>
                <a:cs typeface="Times New Roman" panose="02020603050405020304" pitchFamily="18" charset="0"/>
              </a:rPr>
              <a:t>RMD Open </a:t>
            </a:r>
            <a:r>
              <a:rPr lang="fr-FR" sz="500" dirty="0">
                <a:latin typeface="Arial "/>
                <a:cs typeface="Times New Roman" panose="02020603050405020304" pitchFamily="18" charset="0"/>
              </a:rPr>
              <a:t>2015;1(1):e000141; 2.</a:t>
            </a:r>
            <a:r>
              <a:rPr lang="en-US" sz="500" dirty="0">
                <a:latin typeface="Arial "/>
                <a:cs typeface="Times New Roman" panose="02020603050405020304" pitchFamily="18" charset="0"/>
              </a:rPr>
              <a:t> </a:t>
            </a:r>
            <a:r>
              <a:rPr kumimoji="0" lang="en-GB" sz="500" b="0" i="0" u="none" strike="noStrike" kern="1200" cap="none" spc="0" normalizeH="0" baseline="0" noProof="0" dirty="0">
                <a:ln>
                  <a:noFill/>
                </a:ln>
                <a:effectLst/>
                <a:uLnTx/>
                <a:uFillTx/>
                <a:latin typeface="Arial" panose="020B0604020202020204"/>
                <a:ea typeface="+mn-ea"/>
                <a:cs typeface="+mn-cs"/>
              </a:rPr>
              <a:t>EMA and EC. Biosimilars in the EU. 2019. Available at: </a:t>
            </a:r>
            <a:r>
              <a:rPr lang="en-GB" sz="500" dirty="0">
                <a:latin typeface="Arial" panose="020B0604020202020204"/>
              </a:rPr>
              <a:t>https://www.ema.europa.eu/en/documents/leaflet/biosimilars-eu-information-guide-healthcare-professionals_en.pdf</a:t>
            </a:r>
            <a:r>
              <a:rPr kumimoji="0" lang="en-GB" sz="500" b="0" i="0" u="none" strike="noStrike" kern="1200" cap="none" spc="0" normalizeH="0" baseline="0" noProof="0" dirty="0">
                <a:ln>
                  <a:noFill/>
                </a:ln>
                <a:effectLst/>
                <a:uLnTx/>
                <a:uFillTx/>
                <a:latin typeface="Arial" panose="020B0604020202020204"/>
                <a:ea typeface="+mn-ea"/>
                <a:cs typeface="+mn-cs"/>
              </a:rPr>
              <a:t>. Accessed March 2023; 3. </a:t>
            </a:r>
            <a:r>
              <a:rPr kumimoji="0" lang="en-US" sz="500" b="0" i="0" u="none" strike="noStrike" kern="1200" cap="none" spc="0" normalizeH="0" baseline="0" noProof="0" dirty="0">
                <a:ln>
                  <a:noFill/>
                </a:ln>
                <a:effectLst/>
                <a:uLnTx/>
                <a:uFillTx/>
                <a:latin typeface="Arial" panose="020B0604020202020204"/>
                <a:ea typeface="+mn-ea"/>
                <a:cs typeface="+mn-cs"/>
              </a:rPr>
              <a:t>US FDA. Overview of Biosimilar Products. Available at: https://www.fda.gov/media/151058/download. Accessed June 2024; 4.</a:t>
            </a:r>
            <a:r>
              <a:rPr lang="en-US" sz="500" dirty="0">
                <a:latin typeface="Arial "/>
                <a:cs typeface="Times New Roman" panose="02020603050405020304" pitchFamily="18" charset="0"/>
              </a:rPr>
              <a:t>Webster CJ, Wong AC, Woollett GR. </a:t>
            </a:r>
            <a:r>
              <a:rPr lang="en-US" sz="500" i="1" dirty="0" err="1">
                <a:latin typeface="Arial "/>
                <a:cs typeface="Times New Roman" panose="02020603050405020304" pitchFamily="18" charset="0"/>
              </a:rPr>
              <a:t>BioDrugs</a:t>
            </a:r>
            <a:r>
              <a:rPr lang="en-US" sz="500" dirty="0">
                <a:latin typeface="Arial "/>
                <a:cs typeface="Times New Roman" panose="02020603050405020304" pitchFamily="18" charset="0"/>
              </a:rPr>
              <a:t> 2019;33:603–611.</a:t>
            </a:r>
            <a:endParaRPr lang="en-US" sz="500" dirty="0">
              <a:latin typeface="Arial "/>
            </a:endParaRPr>
          </a:p>
        </p:txBody>
      </p:sp>
      <p:sp>
        <p:nvSpPr>
          <p:cNvPr id="11" name="Slide Number Placeholder 10">
            <a:extLst>
              <a:ext uri="{FF2B5EF4-FFF2-40B4-BE49-F238E27FC236}">
                <a16:creationId xmlns:a16="http://schemas.microsoft.com/office/drawing/2014/main" id="{F1CC7191-762A-E309-2FF6-593AC771CCC8}"/>
              </a:ext>
            </a:extLst>
          </p:cNvPr>
          <p:cNvSpPr>
            <a:spLocks noGrp="1"/>
          </p:cNvSpPr>
          <p:nvPr>
            <p:ph type="sldNum" sz="quarter" idx="12"/>
          </p:nvPr>
        </p:nvSpPr>
        <p:spPr/>
        <p:txBody>
          <a:bodyPr/>
          <a:lstStyle/>
          <a:p>
            <a:fld id="{A31C51CB-94C2-40E2-B070-08CEE3D6A386}" type="slidenum">
              <a:rPr lang="en-GB" smtClean="0"/>
              <a:t>17</a:t>
            </a:fld>
            <a:endParaRPr lang="en-GB"/>
          </a:p>
        </p:txBody>
      </p:sp>
      <p:pic>
        <p:nvPicPr>
          <p:cNvPr id="20" name="Graphic 19">
            <a:extLst>
              <a:ext uri="{FF2B5EF4-FFF2-40B4-BE49-F238E27FC236}">
                <a16:creationId xmlns:a16="http://schemas.microsoft.com/office/drawing/2014/main" id="{DB95E271-CD01-DFD0-1DCE-07D515F57A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55380" y="2276022"/>
            <a:ext cx="533400" cy="533400"/>
          </a:xfrm>
          <a:prstGeom prst="rect">
            <a:avLst/>
          </a:prstGeom>
        </p:spPr>
      </p:pic>
      <p:pic>
        <p:nvPicPr>
          <p:cNvPr id="22" name="Graphic 21">
            <a:extLst>
              <a:ext uri="{FF2B5EF4-FFF2-40B4-BE49-F238E27FC236}">
                <a16:creationId xmlns:a16="http://schemas.microsoft.com/office/drawing/2014/main" id="{6B1BF232-238C-0F05-169F-2943F0CEB3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55380" y="2955725"/>
            <a:ext cx="533400" cy="533400"/>
          </a:xfrm>
          <a:prstGeom prst="rect">
            <a:avLst/>
          </a:prstGeom>
        </p:spPr>
      </p:pic>
      <p:grpSp>
        <p:nvGrpSpPr>
          <p:cNvPr id="3" name="Group 2">
            <a:extLst>
              <a:ext uri="{FF2B5EF4-FFF2-40B4-BE49-F238E27FC236}">
                <a16:creationId xmlns:a16="http://schemas.microsoft.com/office/drawing/2014/main" id="{7999C1A2-23A1-2C15-6969-4A6CF8962E6E}"/>
              </a:ext>
            </a:extLst>
          </p:cNvPr>
          <p:cNvGrpSpPr/>
          <p:nvPr/>
        </p:nvGrpSpPr>
        <p:grpSpPr>
          <a:xfrm>
            <a:off x="483553" y="1399894"/>
            <a:ext cx="2310390" cy="1350503"/>
            <a:chOff x="800958" y="2024513"/>
            <a:chExt cx="1486757" cy="869061"/>
          </a:xfrm>
        </p:grpSpPr>
        <p:sp>
          <p:nvSpPr>
            <p:cNvPr id="4" name="Freeform 3">
              <a:extLst>
                <a:ext uri="{FF2B5EF4-FFF2-40B4-BE49-F238E27FC236}">
                  <a16:creationId xmlns:a16="http://schemas.microsoft.com/office/drawing/2014/main" id="{FA3D301D-1ADD-8608-32C9-679190A6142C}"/>
                </a:ext>
              </a:extLst>
            </p:cNvPr>
            <p:cNvSpPr/>
            <p:nvPr/>
          </p:nvSpPr>
          <p:spPr>
            <a:xfrm>
              <a:off x="1329786" y="2024513"/>
              <a:ext cx="364426" cy="869061"/>
            </a:xfrm>
            <a:custGeom>
              <a:avLst/>
              <a:gdLst>
                <a:gd name="connsiteX0" fmla="*/ 364427 w 364426"/>
                <a:gd name="connsiteY0" fmla="*/ 284797 h 869061"/>
                <a:gd name="connsiteX1" fmla="*/ 364427 w 364426"/>
                <a:gd name="connsiteY1" fmla="*/ 688372 h 869061"/>
                <a:gd name="connsiteX2" fmla="*/ 182213 w 364426"/>
                <a:gd name="connsiteY2" fmla="*/ 869061 h 869061"/>
                <a:gd name="connsiteX3" fmla="*/ 0 w 364426"/>
                <a:gd name="connsiteY3" fmla="*/ 688372 h 869061"/>
                <a:gd name="connsiteX4" fmla="*/ 0 w 364426"/>
                <a:gd name="connsiteY4" fmla="*/ 180689 h 869061"/>
                <a:gd name="connsiteX5" fmla="*/ 182213 w 364426"/>
                <a:gd name="connsiteY5" fmla="*/ 0 h 869061"/>
                <a:gd name="connsiteX6" fmla="*/ 351187 w 364426"/>
                <a:gd name="connsiteY6" fmla="*/ 112967 h 86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426" h="869061">
                  <a:moveTo>
                    <a:pt x="364427" y="284797"/>
                  </a:moveTo>
                  <a:lnTo>
                    <a:pt x="364427" y="688372"/>
                  </a:lnTo>
                  <a:cubicBezTo>
                    <a:pt x="364427" y="788194"/>
                    <a:pt x="282893" y="869061"/>
                    <a:pt x="182213" y="869061"/>
                  </a:cubicBezTo>
                  <a:cubicBezTo>
                    <a:pt x="81534" y="869061"/>
                    <a:pt x="0" y="788099"/>
                    <a:pt x="0" y="688372"/>
                  </a:cubicBezTo>
                  <a:lnTo>
                    <a:pt x="0" y="180689"/>
                  </a:lnTo>
                  <a:cubicBezTo>
                    <a:pt x="0" y="80867"/>
                    <a:pt x="81629" y="0"/>
                    <a:pt x="182213" y="0"/>
                  </a:cubicBezTo>
                  <a:cubicBezTo>
                    <a:pt x="258699" y="0"/>
                    <a:pt x="324136" y="46768"/>
                    <a:pt x="351187" y="112967"/>
                  </a:cubicBezTo>
                </a:path>
              </a:pathLst>
            </a:custGeom>
            <a:noFill/>
            <a:ln w="29147" cap="flat">
              <a:solidFill>
                <a:schemeClr val="accent2"/>
              </a:solidFill>
              <a:prstDash val="solid"/>
              <a:miter/>
            </a:ln>
          </p:spPr>
          <p:txBody>
            <a:bodyPr rtlCol="0" anchor="ctr"/>
            <a:lstStyle/>
            <a:p>
              <a:endParaRPr lang="en-AR"/>
            </a:p>
          </p:txBody>
        </p:sp>
        <p:sp>
          <p:nvSpPr>
            <p:cNvPr id="6" name="Freeform 5">
              <a:extLst>
                <a:ext uri="{FF2B5EF4-FFF2-40B4-BE49-F238E27FC236}">
                  <a16:creationId xmlns:a16="http://schemas.microsoft.com/office/drawing/2014/main" id="{B0D64235-6DD0-ED47-5C3F-CD87DB6946E0}"/>
                </a:ext>
              </a:extLst>
            </p:cNvPr>
            <p:cNvSpPr/>
            <p:nvPr/>
          </p:nvSpPr>
          <p:spPr>
            <a:xfrm>
              <a:off x="1440467" y="2138622"/>
              <a:ext cx="563403" cy="167830"/>
            </a:xfrm>
            <a:custGeom>
              <a:avLst/>
              <a:gdLst>
                <a:gd name="connsiteX0" fmla="*/ 84677 w 563403"/>
                <a:gd name="connsiteY0" fmla="*/ 167831 h 167830"/>
                <a:gd name="connsiteX1" fmla="*/ 478726 w 563403"/>
                <a:gd name="connsiteY1" fmla="*/ 167831 h 167830"/>
                <a:gd name="connsiteX2" fmla="*/ 563404 w 563403"/>
                <a:gd name="connsiteY2" fmla="*/ 83915 h 167830"/>
                <a:gd name="connsiteX3" fmla="*/ 478726 w 563403"/>
                <a:gd name="connsiteY3" fmla="*/ 0 h 167830"/>
                <a:gd name="connsiteX4" fmla="*/ 84677 w 563403"/>
                <a:gd name="connsiteY4" fmla="*/ 0 h 167830"/>
                <a:gd name="connsiteX5" fmla="*/ 0 w 563403"/>
                <a:gd name="connsiteY5" fmla="*/ 83915 h 167830"/>
                <a:gd name="connsiteX6" fmla="*/ 84677 w 563403"/>
                <a:gd name="connsiteY6" fmla="*/ 167831 h 167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403" h="167830">
                  <a:moveTo>
                    <a:pt x="84677" y="167831"/>
                  </a:moveTo>
                  <a:lnTo>
                    <a:pt x="478726" y="167831"/>
                  </a:lnTo>
                  <a:cubicBezTo>
                    <a:pt x="525494" y="167831"/>
                    <a:pt x="563404" y="130207"/>
                    <a:pt x="563404" y="83915"/>
                  </a:cubicBezTo>
                  <a:cubicBezTo>
                    <a:pt x="563404" y="37624"/>
                    <a:pt x="525494" y="0"/>
                    <a:pt x="478726" y="0"/>
                  </a:cubicBezTo>
                  <a:lnTo>
                    <a:pt x="84677" y="0"/>
                  </a:lnTo>
                  <a:cubicBezTo>
                    <a:pt x="37909" y="0"/>
                    <a:pt x="0" y="37624"/>
                    <a:pt x="0" y="83915"/>
                  </a:cubicBezTo>
                  <a:cubicBezTo>
                    <a:pt x="0" y="130207"/>
                    <a:pt x="37909" y="167831"/>
                    <a:pt x="84677" y="167831"/>
                  </a:cubicBezTo>
                  <a:close/>
                </a:path>
              </a:pathLst>
            </a:custGeom>
            <a:noFill/>
            <a:ln w="29147" cap="flat">
              <a:solidFill>
                <a:schemeClr val="accent2"/>
              </a:solidFill>
              <a:prstDash val="solid"/>
              <a:miter/>
            </a:ln>
          </p:spPr>
          <p:txBody>
            <a:bodyPr rtlCol="0" anchor="ctr"/>
            <a:lstStyle/>
            <a:p>
              <a:endParaRPr lang="en-AR"/>
            </a:p>
          </p:txBody>
        </p:sp>
        <p:sp>
          <p:nvSpPr>
            <p:cNvPr id="13" name="Freeform 12">
              <a:extLst>
                <a:ext uri="{FF2B5EF4-FFF2-40B4-BE49-F238E27FC236}">
                  <a16:creationId xmlns:a16="http://schemas.microsoft.com/office/drawing/2014/main" id="{190EAD10-4A74-4D0B-526E-428233436074}"/>
                </a:ext>
              </a:extLst>
            </p:cNvPr>
            <p:cNvSpPr/>
            <p:nvPr/>
          </p:nvSpPr>
          <p:spPr>
            <a:xfrm>
              <a:off x="1516667" y="2546864"/>
              <a:ext cx="9525" cy="186785"/>
            </a:xfrm>
            <a:custGeom>
              <a:avLst/>
              <a:gdLst>
                <a:gd name="connsiteX0" fmla="*/ 0 w 9525"/>
                <a:gd name="connsiteY0" fmla="*/ 0 h 186785"/>
                <a:gd name="connsiteX1" fmla="*/ 0 w 9525"/>
                <a:gd name="connsiteY1" fmla="*/ 186785 h 186785"/>
              </a:gdLst>
              <a:ahLst/>
              <a:cxnLst>
                <a:cxn ang="0">
                  <a:pos x="connsiteX0" y="connsiteY0"/>
                </a:cxn>
                <a:cxn ang="0">
                  <a:pos x="connsiteX1" y="connsiteY1"/>
                </a:cxn>
              </a:cxnLst>
              <a:rect l="l" t="t" r="r" b="b"/>
              <a:pathLst>
                <a:path w="9525" h="186785">
                  <a:moveTo>
                    <a:pt x="0" y="0"/>
                  </a:moveTo>
                  <a:lnTo>
                    <a:pt x="0" y="186785"/>
                  </a:lnTo>
                </a:path>
              </a:pathLst>
            </a:custGeom>
            <a:ln w="29147" cap="flat">
              <a:solidFill>
                <a:schemeClr val="accent2"/>
              </a:solidFill>
              <a:prstDash val="solid"/>
              <a:miter/>
            </a:ln>
          </p:spPr>
          <p:txBody>
            <a:bodyPr rtlCol="0" anchor="ctr"/>
            <a:lstStyle/>
            <a:p>
              <a:endParaRPr lang="en-AR"/>
            </a:p>
          </p:txBody>
        </p:sp>
        <p:sp>
          <p:nvSpPr>
            <p:cNvPr id="14" name="Freeform 13">
              <a:extLst>
                <a:ext uri="{FF2B5EF4-FFF2-40B4-BE49-F238E27FC236}">
                  <a16:creationId xmlns:a16="http://schemas.microsoft.com/office/drawing/2014/main" id="{C5183E48-7530-EE38-5E86-72EA32DB008A}"/>
                </a:ext>
              </a:extLst>
            </p:cNvPr>
            <p:cNvSpPr/>
            <p:nvPr/>
          </p:nvSpPr>
          <p:spPr>
            <a:xfrm>
              <a:off x="800958" y="2675737"/>
              <a:ext cx="213645" cy="211836"/>
            </a:xfrm>
            <a:custGeom>
              <a:avLst/>
              <a:gdLst>
                <a:gd name="connsiteX0" fmla="*/ 213646 w 213645"/>
                <a:gd name="connsiteY0" fmla="*/ 105918 h 211836"/>
                <a:gd name="connsiteX1" fmla="*/ 106871 w 213645"/>
                <a:gd name="connsiteY1" fmla="*/ 211836 h 211836"/>
                <a:gd name="connsiteX2" fmla="*/ 0 w 213645"/>
                <a:gd name="connsiteY2" fmla="*/ 105918 h 211836"/>
                <a:gd name="connsiteX3" fmla="*/ 106871 w 213645"/>
                <a:gd name="connsiteY3" fmla="*/ 0 h 211836"/>
                <a:gd name="connsiteX4" fmla="*/ 213646 w 213645"/>
                <a:gd name="connsiteY4" fmla="*/ 105918 h 211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645" h="211836">
                  <a:moveTo>
                    <a:pt x="213646" y="105918"/>
                  </a:moveTo>
                  <a:cubicBezTo>
                    <a:pt x="213646" y="164402"/>
                    <a:pt x="165830" y="211836"/>
                    <a:pt x="106871" y="211836"/>
                  </a:cubicBezTo>
                  <a:cubicBezTo>
                    <a:pt x="47911" y="211836"/>
                    <a:pt x="0" y="164402"/>
                    <a:pt x="0" y="105918"/>
                  </a:cubicBezTo>
                  <a:cubicBezTo>
                    <a:pt x="0" y="47435"/>
                    <a:pt x="47816" y="0"/>
                    <a:pt x="106871" y="0"/>
                  </a:cubicBezTo>
                  <a:cubicBezTo>
                    <a:pt x="165926" y="0"/>
                    <a:pt x="213646" y="47435"/>
                    <a:pt x="213646" y="105918"/>
                  </a:cubicBezTo>
                  <a:close/>
                </a:path>
              </a:pathLst>
            </a:custGeom>
            <a:noFill/>
            <a:ln w="29147" cap="flat">
              <a:solidFill>
                <a:schemeClr val="accent6"/>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9E9081EB-6919-AF01-A6A4-004B414B0DE3}"/>
                </a:ext>
              </a:extLst>
            </p:cNvPr>
            <p:cNvSpPr/>
            <p:nvPr/>
          </p:nvSpPr>
          <p:spPr>
            <a:xfrm>
              <a:off x="907924" y="2394273"/>
              <a:ext cx="136207" cy="281368"/>
            </a:xfrm>
            <a:custGeom>
              <a:avLst/>
              <a:gdLst>
                <a:gd name="connsiteX0" fmla="*/ 136208 w 136207"/>
                <a:gd name="connsiteY0" fmla="*/ 0 h 281368"/>
                <a:gd name="connsiteX1" fmla="*/ 0 w 136207"/>
                <a:gd name="connsiteY1" fmla="*/ 0 h 281368"/>
                <a:gd name="connsiteX2" fmla="*/ 95 w 136207"/>
                <a:gd name="connsiteY2" fmla="*/ 281368 h 281368"/>
              </a:gdLst>
              <a:ahLst/>
              <a:cxnLst>
                <a:cxn ang="0">
                  <a:pos x="connsiteX0" y="connsiteY0"/>
                </a:cxn>
                <a:cxn ang="0">
                  <a:pos x="connsiteX1" y="connsiteY1"/>
                </a:cxn>
                <a:cxn ang="0">
                  <a:pos x="connsiteX2" y="connsiteY2"/>
                </a:cxn>
              </a:cxnLst>
              <a:rect l="l" t="t" r="r" b="b"/>
              <a:pathLst>
                <a:path w="136207" h="281368">
                  <a:moveTo>
                    <a:pt x="136208" y="0"/>
                  </a:moveTo>
                  <a:lnTo>
                    <a:pt x="0" y="0"/>
                  </a:lnTo>
                  <a:lnTo>
                    <a:pt x="95" y="281368"/>
                  </a:lnTo>
                </a:path>
              </a:pathLst>
            </a:custGeom>
            <a:noFill/>
            <a:ln w="29147" cap="flat">
              <a:solidFill>
                <a:schemeClr val="accent6"/>
              </a:solidFill>
              <a:prstDash val="solid"/>
              <a:miter/>
            </a:ln>
          </p:spPr>
          <p:txBody>
            <a:bodyPr rtlCol="0" anchor="ctr"/>
            <a:lstStyle/>
            <a:p>
              <a:endParaRPr lang="en-AR"/>
            </a:p>
          </p:txBody>
        </p:sp>
        <p:sp>
          <p:nvSpPr>
            <p:cNvPr id="17" name="Freeform 16">
              <a:extLst>
                <a:ext uri="{FF2B5EF4-FFF2-40B4-BE49-F238E27FC236}">
                  <a16:creationId xmlns:a16="http://schemas.microsoft.com/office/drawing/2014/main" id="{5BE82A97-F4CE-E3B8-E3D1-786DC48C286E}"/>
                </a:ext>
              </a:extLst>
            </p:cNvPr>
            <p:cNvSpPr/>
            <p:nvPr/>
          </p:nvSpPr>
          <p:spPr>
            <a:xfrm>
              <a:off x="907353" y="2513812"/>
              <a:ext cx="133635" cy="9525"/>
            </a:xfrm>
            <a:custGeom>
              <a:avLst/>
              <a:gdLst>
                <a:gd name="connsiteX0" fmla="*/ 133636 w 133635"/>
                <a:gd name="connsiteY0" fmla="*/ 0 h 9525"/>
                <a:gd name="connsiteX1" fmla="*/ 0 w 133635"/>
                <a:gd name="connsiteY1" fmla="*/ 0 h 9525"/>
              </a:gdLst>
              <a:ahLst/>
              <a:cxnLst>
                <a:cxn ang="0">
                  <a:pos x="connsiteX0" y="connsiteY0"/>
                </a:cxn>
                <a:cxn ang="0">
                  <a:pos x="connsiteX1" y="connsiteY1"/>
                </a:cxn>
              </a:cxnLst>
              <a:rect l="l" t="t" r="r" b="b"/>
              <a:pathLst>
                <a:path w="133635" h="9525">
                  <a:moveTo>
                    <a:pt x="133636" y="0"/>
                  </a:moveTo>
                  <a:lnTo>
                    <a:pt x="0" y="0"/>
                  </a:lnTo>
                </a:path>
              </a:pathLst>
            </a:custGeom>
            <a:ln w="29147" cap="flat">
              <a:solidFill>
                <a:schemeClr val="accent6"/>
              </a:solidFill>
              <a:prstDash val="solid"/>
              <a:miter/>
            </a:ln>
          </p:spPr>
          <p:txBody>
            <a:bodyPr rtlCol="0" anchor="ctr"/>
            <a:lstStyle/>
            <a:p>
              <a:endParaRPr lang="en-AR"/>
            </a:p>
          </p:txBody>
        </p:sp>
        <p:grpSp>
          <p:nvGrpSpPr>
            <p:cNvPr id="19" name="Graphic 3">
              <a:extLst>
                <a:ext uri="{FF2B5EF4-FFF2-40B4-BE49-F238E27FC236}">
                  <a16:creationId xmlns:a16="http://schemas.microsoft.com/office/drawing/2014/main" id="{2A3C634C-D8DE-6677-41B9-4DD18239059B}"/>
                </a:ext>
              </a:extLst>
            </p:cNvPr>
            <p:cNvGrpSpPr/>
            <p:nvPr/>
          </p:nvGrpSpPr>
          <p:grpSpPr>
            <a:xfrm>
              <a:off x="2044542" y="2394273"/>
              <a:ext cx="243173" cy="493299"/>
              <a:chOff x="2044542" y="2394273"/>
              <a:chExt cx="243173" cy="493299"/>
            </a:xfrm>
            <a:noFill/>
          </p:grpSpPr>
          <p:sp>
            <p:nvSpPr>
              <p:cNvPr id="29" name="Freeform 28">
                <a:extLst>
                  <a:ext uri="{FF2B5EF4-FFF2-40B4-BE49-F238E27FC236}">
                    <a16:creationId xmlns:a16="http://schemas.microsoft.com/office/drawing/2014/main" id="{F1CB6657-1000-D56F-F626-08F14D3A38CE}"/>
                  </a:ext>
                </a:extLst>
              </p:cNvPr>
              <p:cNvSpPr/>
              <p:nvPr/>
            </p:nvSpPr>
            <p:spPr>
              <a:xfrm>
                <a:off x="2044542" y="2675737"/>
                <a:ext cx="213645" cy="211836"/>
              </a:xfrm>
              <a:custGeom>
                <a:avLst/>
                <a:gdLst>
                  <a:gd name="connsiteX0" fmla="*/ 213646 w 213645"/>
                  <a:gd name="connsiteY0" fmla="*/ 105918 h 211836"/>
                  <a:gd name="connsiteX1" fmla="*/ 106871 w 213645"/>
                  <a:gd name="connsiteY1" fmla="*/ 211836 h 211836"/>
                  <a:gd name="connsiteX2" fmla="*/ 0 w 213645"/>
                  <a:gd name="connsiteY2" fmla="*/ 105918 h 211836"/>
                  <a:gd name="connsiteX3" fmla="*/ 106871 w 213645"/>
                  <a:gd name="connsiteY3" fmla="*/ 0 h 211836"/>
                  <a:gd name="connsiteX4" fmla="*/ 213646 w 213645"/>
                  <a:gd name="connsiteY4" fmla="*/ 105918 h 211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645" h="211836">
                    <a:moveTo>
                      <a:pt x="213646" y="105918"/>
                    </a:moveTo>
                    <a:cubicBezTo>
                      <a:pt x="213646" y="164402"/>
                      <a:pt x="165830" y="211836"/>
                      <a:pt x="106871" y="211836"/>
                    </a:cubicBezTo>
                    <a:cubicBezTo>
                      <a:pt x="47911" y="211836"/>
                      <a:pt x="0" y="164402"/>
                      <a:pt x="0" y="105918"/>
                    </a:cubicBezTo>
                    <a:cubicBezTo>
                      <a:pt x="0" y="47435"/>
                      <a:pt x="47816" y="0"/>
                      <a:pt x="106871" y="0"/>
                    </a:cubicBezTo>
                    <a:cubicBezTo>
                      <a:pt x="165925" y="0"/>
                      <a:pt x="213646" y="47435"/>
                      <a:pt x="213646" y="105918"/>
                    </a:cubicBezTo>
                    <a:close/>
                  </a:path>
                </a:pathLst>
              </a:custGeom>
              <a:noFill/>
              <a:ln w="29147" cap="flat">
                <a:solidFill>
                  <a:schemeClr val="accent2"/>
                </a:solidFill>
                <a:prstDash val="solid"/>
                <a:miter/>
              </a:ln>
            </p:spPr>
            <p:txBody>
              <a:bodyPr rtlCol="0" anchor="ctr"/>
              <a:lstStyle/>
              <a:p>
                <a:endParaRPr lang="en-AR"/>
              </a:p>
            </p:txBody>
          </p:sp>
          <p:sp>
            <p:nvSpPr>
              <p:cNvPr id="31" name="Freeform 30">
                <a:extLst>
                  <a:ext uri="{FF2B5EF4-FFF2-40B4-BE49-F238E27FC236}">
                    <a16:creationId xmlns:a16="http://schemas.microsoft.com/office/drawing/2014/main" id="{C4666DE7-E644-36A2-3FE5-30E374213B1D}"/>
                  </a:ext>
                </a:extLst>
              </p:cNvPr>
              <p:cNvSpPr/>
              <p:nvPr/>
            </p:nvSpPr>
            <p:spPr>
              <a:xfrm>
                <a:off x="2151508" y="2394273"/>
                <a:ext cx="136207" cy="281368"/>
              </a:xfrm>
              <a:custGeom>
                <a:avLst/>
                <a:gdLst>
                  <a:gd name="connsiteX0" fmla="*/ 136208 w 136207"/>
                  <a:gd name="connsiteY0" fmla="*/ 0 h 281368"/>
                  <a:gd name="connsiteX1" fmla="*/ 0 w 136207"/>
                  <a:gd name="connsiteY1" fmla="*/ 0 h 281368"/>
                  <a:gd name="connsiteX2" fmla="*/ 95 w 136207"/>
                  <a:gd name="connsiteY2" fmla="*/ 281368 h 281368"/>
                </a:gdLst>
                <a:ahLst/>
                <a:cxnLst>
                  <a:cxn ang="0">
                    <a:pos x="connsiteX0" y="connsiteY0"/>
                  </a:cxn>
                  <a:cxn ang="0">
                    <a:pos x="connsiteX1" y="connsiteY1"/>
                  </a:cxn>
                  <a:cxn ang="0">
                    <a:pos x="connsiteX2" y="connsiteY2"/>
                  </a:cxn>
                </a:cxnLst>
                <a:rect l="l" t="t" r="r" b="b"/>
                <a:pathLst>
                  <a:path w="136207" h="281368">
                    <a:moveTo>
                      <a:pt x="136208" y="0"/>
                    </a:moveTo>
                    <a:lnTo>
                      <a:pt x="0" y="0"/>
                    </a:lnTo>
                    <a:lnTo>
                      <a:pt x="95" y="281368"/>
                    </a:lnTo>
                  </a:path>
                </a:pathLst>
              </a:custGeom>
              <a:noFill/>
              <a:ln w="29147" cap="flat">
                <a:solidFill>
                  <a:schemeClr val="accent2"/>
                </a:solidFill>
                <a:prstDash val="solid"/>
                <a:miter/>
              </a:ln>
            </p:spPr>
            <p:txBody>
              <a:bodyPr rtlCol="0" anchor="ctr"/>
              <a:lstStyle/>
              <a:p>
                <a:endParaRPr lang="en-AR"/>
              </a:p>
            </p:txBody>
          </p:sp>
          <p:sp>
            <p:nvSpPr>
              <p:cNvPr id="32" name="Freeform 31">
                <a:extLst>
                  <a:ext uri="{FF2B5EF4-FFF2-40B4-BE49-F238E27FC236}">
                    <a16:creationId xmlns:a16="http://schemas.microsoft.com/office/drawing/2014/main" id="{B8678972-104D-881F-630E-F3FCBBCEC6DD}"/>
                  </a:ext>
                </a:extLst>
              </p:cNvPr>
              <p:cNvSpPr/>
              <p:nvPr/>
            </p:nvSpPr>
            <p:spPr>
              <a:xfrm>
                <a:off x="2150937" y="2513812"/>
                <a:ext cx="133635" cy="9525"/>
              </a:xfrm>
              <a:custGeom>
                <a:avLst/>
                <a:gdLst>
                  <a:gd name="connsiteX0" fmla="*/ 133636 w 133635"/>
                  <a:gd name="connsiteY0" fmla="*/ 0 h 9525"/>
                  <a:gd name="connsiteX1" fmla="*/ 0 w 133635"/>
                  <a:gd name="connsiteY1" fmla="*/ 0 h 9525"/>
                </a:gdLst>
                <a:ahLst/>
                <a:cxnLst>
                  <a:cxn ang="0">
                    <a:pos x="connsiteX0" y="connsiteY0"/>
                  </a:cxn>
                  <a:cxn ang="0">
                    <a:pos x="connsiteX1" y="connsiteY1"/>
                  </a:cxn>
                </a:cxnLst>
                <a:rect l="l" t="t" r="r" b="b"/>
                <a:pathLst>
                  <a:path w="133635" h="9525">
                    <a:moveTo>
                      <a:pt x="133636" y="0"/>
                    </a:moveTo>
                    <a:lnTo>
                      <a:pt x="0" y="0"/>
                    </a:lnTo>
                  </a:path>
                </a:pathLst>
              </a:custGeom>
              <a:ln w="29147" cap="flat">
                <a:solidFill>
                  <a:schemeClr val="accent2"/>
                </a:solidFill>
                <a:prstDash val="solid"/>
                <a:miter/>
              </a:ln>
            </p:spPr>
            <p:txBody>
              <a:bodyPr rtlCol="0" anchor="ctr"/>
              <a:lstStyle/>
              <a:p>
                <a:endParaRPr lang="en-AR"/>
              </a:p>
            </p:txBody>
          </p:sp>
          <p:sp>
            <p:nvSpPr>
              <p:cNvPr id="33" name="Freeform 32">
                <a:extLst>
                  <a:ext uri="{FF2B5EF4-FFF2-40B4-BE49-F238E27FC236}">
                    <a16:creationId xmlns:a16="http://schemas.microsoft.com/office/drawing/2014/main" id="{DF75DB9E-F749-935A-AF42-8748302A5A89}"/>
                  </a:ext>
                </a:extLst>
              </p:cNvPr>
              <p:cNvSpPr/>
              <p:nvPr/>
            </p:nvSpPr>
            <p:spPr>
              <a:xfrm>
                <a:off x="2109217" y="2739840"/>
                <a:ext cx="84391" cy="83629"/>
              </a:xfrm>
              <a:custGeom>
                <a:avLst/>
                <a:gdLst>
                  <a:gd name="connsiteX0" fmla="*/ 84392 w 84391"/>
                  <a:gd name="connsiteY0" fmla="*/ 41815 h 83629"/>
                  <a:gd name="connsiteX1" fmla="*/ 42196 w 84391"/>
                  <a:gd name="connsiteY1" fmla="*/ 83629 h 83629"/>
                  <a:gd name="connsiteX2" fmla="*/ 0 w 84391"/>
                  <a:gd name="connsiteY2" fmla="*/ 41815 h 83629"/>
                  <a:gd name="connsiteX3" fmla="*/ 42196 w 84391"/>
                  <a:gd name="connsiteY3" fmla="*/ 0 h 83629"/>
                  <a:gd name="connsiteX4" fmla="*/ 84392 w 84391"/>
                  <a:gd name="connsiteY4" fmla="*/ 41815 h 8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91" h="83629">
                    <a:moveTo>
                      <a:pt x="84392" y="41815"/>
                    </a:moveTo>
                    <a:cubicBezTo>
                      <a:pt x="84392" y="64960"/>
                      <a:pt x="65532" y="83629"/>
                      <a:pt x="42196" y="83629"/>
                    </a:cubicBezTo>
                    <a:cubicBezTo>
                      <a:pt x="18860" y="83629"/>
                      <a:pt x="0" y="64865"/>
                      <a:pt x="0" y="41815"/>
                    </a:cubicBezTo>
                    <a:cubicBezTo>
                      <a:pt x="0" y="18764"/>
                      <a:pt x="18860" y="0"/>
                      <a:pt x="42196" y="0"/>
                    </a:cubicBezTo>
                    <a:cubicBezTo>
                      <a:pt x="65532" y="0"/>
                      <a:pt x="84392" y="18764"/>
                      <a:pt x="84392" y="41815"/>
                    </a:cubicBezTo>
                    <a:close/>
                  </a:path>
                </a:pathLst>
              </a:custGeom>
              <a:noFill/>
              <a:ln w="29147" cap="flat">
                <a:solidFill>
                  <a:schemeClr val="accent2"/>
                </a:solidFill>
                <a:prstDash val="solid"/>
                <a:miter/>
              </a:ln>
            </p:spPr>
            <p:txBody>
              <a:bodyPr rtlCol="0" anchor="ctr"/>
              <a:lstStyle/>
              <a:p>
                <a:endParaRPr lang="en-AR"/>
              </a:p>
            </p:txBody>
          </p:sp>
        </p:grpSp>
        <p:sp>
          <p:nvSpPr>
            <p:cNvPr id="21" name="Freeform 20">
              <a:extLst>
                <a:ext uri="{FF2B5EF4-FFF2-40B4-BE49-F238E27FC236}">
                  <a16:creationId xmlns:a16="http://schemas.microsoft.com/office/drawing/2014/main" id="{0BF2DED2-F306-ABB8-08EC-EA155BB6A873}"/>
                </a:ext>
              </a:extLst>
            </p:cNvPr>
            <p:cNvSpPr/>
            <p:nvPr/>
          </p:nvSpPr>
          <p:spPr>
            <a:xfrm>
              <a:off x="907353" y="245561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29147" cap="flat">
              <a:solidFill>
                <a:schemeClr val="accent6"/>
              </a:solidFill>
              <a:prstDash val="solid"/>
              <a:miter/>
            </a:ln>
          </p:spPr>
          <p:txBody>
            <a:bodyPr rtlCol="0" anchor="ctr"/>
            <a:lstStyle/>
            <a:p>
              <a:endParaRPr lang="en-AR" dirty="0"/>
            </a:p>
          </p:txBody>
        </p:sp>
        <p:sp>
          <p:nvSpPr>
            <p:cNvPr id="27" name="Freeform 26">
              <a:extLst>
                <a:ext uri="{FF2B5EF4-FFF2-40B4-BE49-F238E27FC236}">
                  <a16:creationId xmlns:a16="http://schemas.microsoft.com/office/drawing/2014/main" id="{745A069F-C1CF-58FE-B19E-025EBA2E11D3}"/>
                </a:ext>
              </a:extLst>
            </p:cNvPr>
            <p:cNvSpPr/>
            <p:nvPr/>
          </p:nvSpPr>
          <p:spPr>
            <a:xfrm>
              <a:off x="2150937" y="2455614"/>
              <a:ext cx="70389" cy="9525"/>
            </a:xfrm>
            <a:custGeom>
              <a:avLst/>
              <a:gdLst>
                <a:gd name="connsiteX0" fmla="*/ 70390 w 70389"/>
                <a:gd name="connsiteY0" fmla="*/ 0 h 9525"/>
                <a:gd name="connsiteX1" fmla="*/ 0 w 70389"/>
                <a:gd name="connsiteY1" fmla="*/ 0 h 9525"/>
              </a:gdLst>
              <a:ahLst/>
              <a:cxnLst>
                <a:cxn ang="0">
                  <a:pos x="connsiteX0" y="connsiteY0"/>
                </a:cxn>
                <a:cxn ang="0">
                  <a:pos x="connsiteX1" y="connsiteY1"/>
                </a:cxn>
              </a:cxnLst>
              <a:rect l="l" t="t" r="r" b="b"/>
              <a:pathLst>
                <a:path w="70389" h="9525">
                  <a:moveTo>
                    <a:pt x="70390" y="0"/>
                  </a:moveTo>
                  <a:lnTo>
                    <a:pt x="0" y="0"/>
                  </a:lnTo>
                </a:path>
              </a:pathLst>
            </a:custGeom>
            <a:ln w="29147" cap="flat">
              <a:solidFill>
                <a:schemeClr val="accent2"/>
              </a:solidFill>
              <a:prstDash val="solid"/>
              <a:miter/>
            </a:ln>
          </p:spPr>
          <p:txBody>
            <a:bodyPr rtlCol="0" anchor="ctr"/>
            <a:lstStyle/>
            <a:p>
              <a:endParaRPr lang="en-AR"/>
            </a:p>
          </p:txBody>
        </p:sp>
      </p:grpSp>
      <p:grpSp>
        <p:nvGrpSpPr>
          <p:cNvPr id="48" name="Graphic 46">
            <a:extLst>
              <a:ext uri="{FF2B5EF4-FFF2-40B4-BE49-F238E27FC236}">
                <a16:creationId xmlns:a16="http://schemas.microsoft.com/office/drawing/2014/main" id="{63A7E007-6713-5670-1463-45A7AF0B6151}"/>
              </a:ext>
            </a:extLst>
          </p:cNvPr>
          <p:cNvGrpSpPr/>
          <p:nvPr/>
        </p:nvGrpSpPr>
        <p:grpSpPr>
          <a:xfrm>
            <a:off x="3485285" y="1656712"/>
            <a:ext cx="251017" cy="439291"/>
            <a:chOff x="4449493" y="2347330"/>
            <a:chExt cx="251017" cy="439291"/>
          </a:xfrm>
          <a:noFill/>
        </p:grpSpPr>
        <p:sp>
          <p:nvSpPr>
            <p:cNvPr id="49" name="Freeform 48">
              <a:extLst>
                <a:ext uri="{FF2B5EF4-FFF2-40B4-BE49-F238E27FC236}">
                  <a16:creationId xmlns:a16="http://schemas.microsoft.com/office/drawing/2014/main" id="{A4D1849B-B6D6-4F2E-933B-51C0D6535CB5}"/>
                </a:ext>
              </a:extLst>
            </p:cNvPr>
            <p:cNvSpPr/>
            <p:nvPr/>
          </p:nvSpPr>
          <p:spPr>
            <a:xfrm rot="-4800601">
              <a:off x="4554916" y="2547386"/>
              <a:ext cx="133921" cy="133921"/>
            </a:xfrm>
            <a:custGeom>
              <a:avLst/>
              <a:gdLst>
                <a:gd name="connsiteX0" fmla="*/ 133921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1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1" y="66961"/>
                  </a:moveTo>
                  <a:cubicBezTo>
                    <a:pt x="133921" y="103942"/>
                    <a:pt x="103942" y="133921"/>
                    <a:pt x="66961" y="133921"/>
                  </a:cubicBezTo>
                  <a:cubicBezTo>
                    <a:pt x="29979" y="133921"/>
                    <a:pt x="0" y="103942"/>
                    <a:pt x="0" y="66961"/>
                  </a:cubicBezTo>
                  <a:cubicBezTo>
                    <a:pt x="0" y="29979"/>
                    <a:pt x="29979" y="0"/>
                    <a:pt x="66961" y="0"/>
                  </a:cubicBezTo>
                  <a:cubicBezTo>
                    <a:pt x="103942" y="0"/>
                    <a:pt x="133921" y="29979"/>
                    <a:pt x="133921" y="66961"/>
                  </a:cubicBezTo>
                  <a:close/>
                </a:path>
              </a:pathLst>
            </a:custGeom>
            <a:noFill/>
            <a:ln w="20479" cap="flat">
              <a:solidFill>
                <a:schemeClr val="bg2"/>
              </a:solidFill>
              <a:prstDash val="solid"/>
              <a:miter/>
            </a:ln>
          </p:spPr>
          <p:txBody>
            <a:bodyPr rtlCol="0" anchor="ctr"/>
            <a:lstStyle/>
            <a:p>
              <a:endParaRPr lang="en-AR"/>
            </a:p>
          </p:txBody>
        </p:sp>
        <p:sp>
          <p:nvSpPr>
            <p:cNvPr id="50" name="Freeform 49">
              <a:extLst>
                <a:ext uri="{FF2B5EF4-FFF2-40B4-BE49-F238E27FC236}">
                  <a16:creationId xmlns:a16="http://schemas.microsoft.com/office/drawing/2014/main" id="{F4582ED3-3EAC-1BA5-BF6A-BDC23A96CADD}"/>
                </a:ext>
              </a:extLst>
            </p:cNvPr>
            <p:cNvSpPr/>
            <p:nvPr/>
          </p:nvSpPr>
          <p:spPr>
            <a:xfrm rot="-4800601">
              <a:off x="4460676" y="2453132"/>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51" name="Freeform 50">
              <a:extLst>
                <a:ext uri="{FF2B5EF4-FFF2-40B4-BE49-F238E27FC236}">
                  <a16:creationId xmlns:a16="http://schemas.microsoft.com/office/drawing/2014/main" id="{78D3F03F-18E1-24B6-04DA-B16B58021F38}"/>
                </a:ext>
              </a:extLst>
            </p:cNvPr>
            <p:cNvSpPr/>
            <p:nvPr/>
          </p:nvSpPr>
          <p:spPr>
            <a:xfrm rot="-4800601">
              <a:off x="4555988" y="2357931"/>
              <a:ext cx="133921" cy="133921"/>
            </a:xfrm>
            <a:custGeom>
              <a:avLst/>
              <a:gdLst>
                <a:gd name="connsiteX0" fmla="*/ 133922 w 133921"/>
                <a:gd name="connsiteY0" fmla="*/ 66961 h 133921"/>
                <a:gd name="connsiteX1" fmla="*/ 66961 w 133921"/>
                <a:gd name="connsiteY1" fmla="*/ 133922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2"/>
                    <a:pt x="66961" y="133922"/>
                  </a:cubicBezTo>
                  <a:cubicBezTo>
                    <a:pt x="29979" y="133922"/>
                    <a:pt x="0" y="103942"/>
                    <a:pt x="0" y="66961"/>
                  </a:cubicBezTo>
                  <a:cubicBezTo>
                    <a:pt x="0" y="29979"/>
                    <a:pt x="29979"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sp>
          <p:nvSpPr>
            <p:cNvPr id="52" name="Freeform 51">
              <a:extLst>
                <a:ext uri="{FF2B5EF4-FFF2-40B4-BE49-F238E27FC236}">
                  <a16:creationId xmlns:a16="http://schemas.microsoft.com/office/drawing/2014/main" id="{F541B985-03AA-03DB-EBC1-5E8DC316027B}"/>
                </a:ext>
              </a:extLst>
            </p:cNvPr>
            <p:cNvSpPr/>
            <p:nvPr/>
          </p:nvSpPr>
          <p:spPr>
            <a:xfrm rot="-4800601">
              <a:off x="4460094" y="2642099"/>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80" y="0"/>
                    <a:pt x="66961" y="0"/>
                  </a:cubicBezTo>
                  <a:cubicBezTo>
                    <a:pt x="103942" y="0"/>
                    <a:pt x="133922" y="29979"/>
                    <a:pt x="133922" y="66961"/>
                  </a:cubicBezTo>
                  <a:close/>
                </a:path>
              </a:pathLst>
            </a:custGeom>
            <a:noFill/>
            <a:ln w="20479" cap="flat">
              <a:solidFill>
                <a:schemeClr val="bg2"/>
              </a:solidFill>
              <a:prstDash val="solid"/>
              <a:miter/>
            </a:ln>
          </p:spPr>
          <p:txBody>
            <a:bodyPr rtlCol="0" anchor="ctr"/>
            <a:lstStyle/>
            <a:p>
              <a:endParaRPr lang="en-AR"/>
            </a:p>
          </p:txBody>
        </p:sp>
      </p:grpSp>
      <p:sp>
        <p:nvSpPr>
          <p:cNvPr id="15" name="TextBox 14">
            <a:extLst>
              <a:ext uri="{FF2B5EF4-FFF2-40B4-BE49-F238E27FC236}">
                <a16:creationId xmlns:a16="http://schemas.microsoft.com/office/drawing/2014/main" id="{290B5683-3968-0E8C-B279-29224D370011}"/>
              </a:ext>
            </a:extLst>
          </p:cNvPr>
          <p:cNvSpPr txBox="1"/>
          <p:nvPr/>
        </p:nvSpPr>
        <p:spPr>
          <a:xfrm>
            <a:off x="-26588" y="2852885"/>
            <a:ext cx="1350953" cy="286516"/>
          </a:xfrm>
          <a:prstGeom prst="rect">
            <a:avLst/>
          </a:prstGeom>
          <a:noFill/>
        </p:spPr>
        <p:txBody>
          <a:bodyPr wrap="square">
            <a:spAutoFit/>
          </a:bodyPr>
          <a:lstStyle>
            <a:defPPr>
              <a:defRPr lang="en-US"/>
            </a:defPPr>
            <a:lvl1pPr algn="ctr">
              <a:defRPr sz="1100" b="1">
                <a:solidFill>
                  <a:schemeClr val="accent6">
                    <a:lumMod val="75000"/>
                  </a:schemeClr>
                </a:solidFill>
              </a:defRPr>
            </a:lvl1pPr>
          </a:lstStyle>
          <a:p>
            <a:r>
              <a:rPr lang="en-GB"/>
              <a:t>Reference medicine</a:t>
            </a:r>
          </a:p>
          <a:p>
            <a:endParaRPr lang="en-GB"/>
          </a:p>
        </p:txBody>
      </p:sp>
      <p:sp>
        <p:nvSpPr>
          <p:cNvPr id="18" name="TextBox 17">
            <a:extLst>
              <a:ext uri="{FF2B5EF4-FFF2-40B4-BE49-F238E27FC236}">
                <a16:creationId xmlns:a16="http://schemas.microsoft.com/office/drawing/2014/main" id="{5A860FA4-FA9E-AD85-8FBD-DE6E93C3D064}"/>
              </a:ext>
            </a:extLst>
          </p:cNvPr>
          <p:cNvSpPr txBox="1"/>
          <p:nvPr/>
        </p:nvSpPr>
        <p:spPr>
          <a:xfrm>
            <a:off x="1984614" y="2865581"/>
            <a:ext cx="1193558" cy="286516"/>
          </a:xfrm>
          <a:prstGeom prst="rect">
            <a:avLst/>
          </a:prstGeom>
          <a:noFill/>
        </p:spPr>
        <p:txBody>
          <a:bodyPr wrap="square">
            <a:spAutoFit/>
          </a:bodyPr>
          <a:lstStyle>
            <a:defPPr>
              <a:defRPr lang="en-US"/>
            </a:defPPr>
            <a:lvl1pPr algn="ctr">
              <a:defRPr sz="1100" b="1">
                <a:solidFill>
                  <a:schemeClr val="accent2"/>
                </a:solidFill>
              </a:defRPr>
            </a:lvl1pPr>
          </a:lstStyle>
          <a:p>
            <a:r>
              <a:rPr lang="en-GB"/>
              <a:t>Biosimilar medicine</a:t>
            </a:r>
            <a:endParaRPr lang="en-US"/>
          </a:p>
        </p:txBody>
      </p:sp>
    </p:spTree>
    <p:extLst>
      <p:ext uri="{BB962C8B-B14F-4D97-AF65-F5344CB8AC3E}">
        <p14:creationId xmlns:p14="http://schemas.microsoft.com/office/powerpoint/2010/main" val="3986845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C5A23B-C471-BDEE-3F39-8EE0F01A2D63}"/>
              </a:ext>
            </a:extLst>
          </p:cNvPr>
          <p:cNvSpPr/>
          <p:nvPr/>
        </p:nvSpPr>
        <p:spPr>
          <a:xfrm>
            <a:off x="243000" y="2327738"/>
            <a:ext cx="8655019" cy="1539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14D90D-5975-70EF-0DDC-3D84A0257311}"/>
              </a:ext>
            </a:extLst>
          </p:cNvPr>
          <p:cNvSpPr>
            <a:spLocks noGrp="1"/>
          </p:cNvSpPr>
          <p:nvPr>
            <p:ph type="title"/>
          </p:nvPr>
        </p:nvSpPr>
        <p:spPr/>
        <p:txBody>
          <a:bodyPr/>
          <a:lstStyle/>
          <a:p>
            <a:r>
              <a:rPr lang="en-US"/>
              <a:t>Biosimilar medicines are developed to match an already approved reference biologic medicine</a:t>
            </a:r>
            <a:br>
              <a:rPr lang="en-US"/>
            </a:br>
            <a:endParaRPr lang="en-US"/>
          </a:p>
        </p:txBody>
      </p:sp>
      <p:sp>
        <p:nvSpPr>
          <p:cNvPr id="4" name="Slide Number Placeholder 3">
            <a:extLst>
              <a:ext uri="{FF2B5EF4-FFF2-40B4-BE49-F238E27FC236}">
                <a16:creationId xmlns:a16="http://schemas.microsoft.com/office/drawing/2014/main" id="{26E22D6A-2EE4-372F-EEC1-EABA8EBDF250}"/>
              </a:ext>
            </a:extLst>
          </p:cNvPr>
          <p:cNvSpPr>
            <a:spLocks noGrp="1"/>
          </p:cNvSpPr>
          <p:nvPr>
            <p:ph type="sldNum" sz="quarter" idx="12"/>
          </p:nvPr>
        </p:nvSpPr>
        <p:spPr/>
        <p:txBody>
          <a:bodyPr/>
          <a:lstStyle/>
          <a:p>
            <a:fld id="{A31C51CB-94C2-40E2-B070-08CEE3D6A386}" type="slidenum">
              <a:rPr lang="en-GB" smtClean="0"/>
              <a:t>18</a:t>
            </a:fld>
            <a:endParaRPr lang="en-GB"/>
          </a:p>
        </p:txBody>
      </p:sp>
      <p:sp>
        <p:nvSpPr>
          <p:cNvPr id="10" name="TextBox 9">
            <a:extLst>
              <a:ext uri="{FF2B5EF4-FFF2-40B4-BE49-F238E27FC236}">
                <a16:creationId xmlns:a16="http://schemas.microsoft.com/office/drawing/2014/main" id="{ABF0BCCF-14B7-364B-3A1C-76152B9A9768}"/>
              </a:ext>
            </a:extLst>
          </p:cNvPr>
          <p:cNvSpPr txBox="1"/>
          <p:nvPr/>
        </p:nvSpPr>
        <p:spPr>
          <a:xfrm>
            <a:off x="2144993" y="1158742"/>
            <a:ext cx="6753031" cy="430887"/>
          </a:xfrm>
          <a:prstGeom prst="rect">
            <a:avLst/>
          </a:prstGeom>
          <a:solidFill>
            <a:schemeClr val="bg1"/>
          </a:solidFill>
        </p:spPr>
        <p:txBody>
          <a:bodyPr wrap="square">
            <a:spAutoFit/>
          </a:bodyPr>
          <a:lstStyle/>
          <a:p>
            <a:pPr marL="230188" marR="0" lvl="0" algn="l" defTabSz="914400" rtl="0" eaLnBrk="1" fontAlgn="auto" latinLnBrk="0" hangingPunct="1">
              <a:lnSpc>
                <a:spcPct val="100000"/>
              </a:lnSpc>
              <a:spcBef>
                <a:spcPts val="0"/>
              </a:spcBef>
              <a:spcAft>
                <a:spcPts val="0"/>
              </a:spcAft>
              <a:buClrTx/>
              <a:buSzTx/>
              <a:tabLst/>
              <a:defRPr/>
            </a:pPr>
            <a:r>
              <a:rPr kumimoji="0" lang="en-GB" sz="1050" b="0" i="0" u="none" strike="noStrike" kern="1200" cap="none" spc="0" normalizeH="0" baseline="0" noProof="0" dirty="0">
                <a:ln>
                  <a:noFill/>
                </a:ln>
                <a:solidFill>
                  <a:srgbClr val="001C4A"/>
                </a:solidFill>
                <a:effectLst/>
                <a:uLnTx/>
                <a:uFillTx/>
                <a:latin typeface="Arial" panose="020B0604020202020204"/>
                <a:ea typeface="+mn-ea"/>
                <a:cs typeface="+mn-cs"/>
              </a:rPr>
              <a:t>A </a:t>
            </a:r>
            <a:r>
              <a:rPr kumimoji="0" lang="en-GB" sz="1050" b="1" i="0" u="none" strike="noStrike" kern="1200" cap="none" spc="0" normalizeH="0" baseline="0" noProof="0" dirty="0">
                <a:ln>
                  <a:noFill/>
                </a:ln>
                <a:solidFill>
                  <a:schemeClr val="accent6">
                    <a:lumMod val="75000"/>
                  </a:schemeClr>
                </a:solidFill>
                <a:effectLst/>
                <a:uLnTx/>
                <a:uFillTx/>
                <a:latin typeface="Arial" panose="020B0604020202020204"/>
                <a:ea typeface="+mn-ea"/>
                <a:cs typeface="+mn-cs"/>
              </a:rPr>
              <a:t>reference biologic </a:t>
            </a:r>
            <a:r>
              <a:rPr kumimoji="0" lang="en-GB" sz="1050" b="0" i="0" u="none" strike="noStrike" kern="1200" cap="none" spc="0" normalizeH="0" baseline="0" noProof="0" dirty="0">
                <a:ln>
                  <a:noFill/>
                </a:ln>
                <a:solidFill>
                  <a:srgbClr val="001C4A"/>
                </a:solidFill>
                <a:effectLst/>
                <a:uLnTx/>
                <a:uFillTx/>
                <a:latin typeface="Arial" panose="020B0604020202020204"/>
                <a:ea typeface="+mn-ea"/>
                <a:cs typeface="+mn-cs"/>
              </a:rPr>
              <a:t>has a </a:t>
            </a:r>
            <a:r>
              <a:rPr kumimoji="0" lang="en-GB" sz="1050" b="1" i="0" u="none" strike="noStrike" kern="1200" cap="none" spc="0" normalizeH="0" baseline="0" noProof="0" dirty="0">
                <a:ln>
                  <a:noFill/>
                </a:ln>
                <a:solidFill>
                  <a:schemeClr val="accent6">
                    <a:lumMod val="75000"/>
                  </a:schemeClr>
                </a:solidFill>
                <a:effectLst/>
                <a:uLnTx/>
                <a:uFillTx/>
                <a:latin typeface="Arial" panose="020B0604020202020204"/>
                <a:ea typeface="+mn-ea"/>
                <a:cs typeface="+mn-cs"/>
              </a:rPr>
              <a:t>novel active substance</a:t>
            </a:r>
            <a:r>
              <a:rPr kumimoji="0" lang="en-GB" sz="1050" b="1" i="0" u="none" strike="noStrike" kern="1200" cap="none" spc="0" normalizeH="0" baseline="0" noProof="0" dirty="0">
                <a:ln>
                  <a:noFill/>
                </a:ln>
                <a:solidFill>
                  <a:schemeClr val="accent6"/>
                </a:solidFill>
                <a:effectLst/>
                <a:uLnTx/>
                <a:uFillTx/>
                <a:latin typeface="Arial" panose="020B0604020202020204"/>
                <a:ea typeface="+mn-ea"/>
                <a:cs typeface="+mn-cs"/>
              </a:rPr>
              <a:t>, </a:t>
            </a:r>
            <a:r>
              <a:rPr kumimoji="0" lang="en-GB" sz="1050" b="0" i="0" u="none" strike="noStrike" kern="1200" cap="none" spc="0" normalizeH="0" baseline="0" noProof="0" dirty="0">
                <a:ln>
                  <a:noFill/>
                </a:ln>
                <a:solidFill>
                  <a:srgbClr val="001C4A"/>
                </a:solidFill>
                <a:effectLst/>
                <a:uLnTx/>
                <a:uFillTx/>
                <a:latin typeface="Arial" panose="020B0604020202020204"/>
                <a:ea typeface="+mn-ea"/>
                <a:cs typeface="+mn-cs"/>
              </a:rPr>
              <a:t>so data for its development and approval focus on understanding its mode of action and effect on a particular disease</a:t>
            </a:r>
            <a:r>
              <a:rPr lang="en-GB" sz="1050" baseline="30000" dirty="0">
                <a:solidFill>
                  <a:srgbClr val="001C4A"/>
                </a:solidFill>
                <a:latin typeface="Arial" panose="020B0604020202020204"/>
              </a:rPr>
              <a:t>1 </a:t>
            </a:r>
            <a:endParaRPr kumimoji="0" lang="en-GB" sz="1050" b="0" i="0" u="none" strike="noStrike" kern="1200" cap="none" spc="0" normalizeH="0" baseline="30000" noProof="0" dirty="0">
              <a:ln>
                <a:noFill/>
              </a:ln>
              <a:solidFill>
                <a:srgbClr val="001C4A"/>
              </a:solidFill>
              <a:effectLst/>
              <a:uLnTx/>
              <a:uFillTx/>
              <a:latin typeface="Arial" panose="020B0604020202020204"/>
              <a:ea typeface="+mn-ea"/>
              <a:cs typeface="+mn-cs"/>
            </a:endParaRPr>
          </a:p>
        </p:txBody>
      </p:sp>
      <p:sp>
        <p:nvSpPr>
          <p:cNvPr id="7" name="Arrow: Pentagon 6">
            <a:extLst>
              <a:ext uri="{FF2B5EF4-FFF2-40B4-BE49-F238E27FC236}">
                <a16:creationId xmlns:a16="http://schemas.microsoft.com/office/drawing/2014/main" id="{0647363A-1CF4-4843-3B4A-2E08ED877A03}"/>
              </a:ext>
            </a:extLst>
          </p:cNvPr>
          <p:cNvSpPr/>
          <p:nvPr/>
        </p:nvSpPr>
        <p:spPr>
          <a:xfrm>
            <a:off x="243000" y="1179959"/>
            <a:ext cx="2115638" cy="409670"/>
          </a:xfrm>
          <a:prstGeom prst="homePlate">
            <a:avLst/>
          </a:prstGeom>
          <a:solidFill>
            <a:schemeClr val="accent6">
              <a:lumMod val="7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t>Reference biologic</a:t>
            </a:r>
            <a:endParaRPr lang="en-US" sz="1200"/>
          </a:p>
        </p:txBody>
      </p:sp>
      <p:sp>
        <p:nvSpPr>
          <p:cNvPr id="19" name="TextBox 18">
            <a:extLst>
              <a:ext uri="{FF2B5EF4-FFF2-40B4-BE49-F238E27FC236}">
                <a16:creationId xmlns:a16="http://schemas.microsoft.com/office/drawing/2014/main" id="{640F7D76-696E-2735-1B9E-3B1A9285CF16}"/>
              </a:ext>
            </a:extLst>
          </p:cNvPr>
          <p:cNvSpPr txBox="1"/>
          <p:nvPr/>
        </p:nvSpPr>
        <p:spPr>
          <a:xfrm>
            <a:off x="-1" y="4094032"/>
            <a:ext cx="9144000" cy="440449"/>
          </a:xfrm>
          <a:prstGeom prst="rect">
            <a:avLst/>
          </a:prstGeom>
          <a:solidFill>
            <a:schemeClr val="accent5">
              <a:alpha val="55000"/>
            </a:schemeClr>
          </a:solidFill>
          <a:effectLst/>
        </p:spPr>
        <p:txBody>
          <a:bodyPr wrap="square" lIns="91440" tIns="91440" rIns="91440" bIns="91440" anchor="ctr" anchorCtr="0">
            <a:noAutofit/>
          </a:bodyPr>
          <a:lstStyle>
            <a:defPPr>
              <a:defRPr lang="en-US"/>
            </a:defPPr>
            <a:lvl1pPr algn="ctr">
              <a:defRPr sz="1200">
                <a:solidFill>
                  <a:schemeClr val="tx2"/>
                </a:solidFill>
              </a:defRPr>
            </a:lvl1pPr>
          </a:lstStyle>
          <a:p>
            <a:r>
              <a:rPr lang="en-US" sz="1050" dirty="0"/>
              <a:t>Once the physical and chemical properties of the biosimilar and reference molecules have been shown to match, the clinical effects of the biosimilar medicine can be expected to match those of the reference biologic. This can be further confirmed with clinical studies</a:t>
            </a:r>
            <a:r>
              <a:rPr lang="en-GB" sz="1050" baseline="30000" dirty="0"/>
              <a:t>2,3</a:t>
            </a:r>
            <a:endParaRPr lang="en-US" sz="1050" baseline="30000" dirty="0"/>
          </a:p>
        </p:txBody>
      </p:sp>
      <p:sp>
        <p:nvSpPr>
          <p:cNvPr id="6" name="Content Placeholder 2">
            <a:extLst>
              <a:ext uri="{FF2B5EF4-FFF2-40B4-BE49-F238E27FC236}">
                <a16:creationId xmlns:a16="http://schemas.microsoft.com/office/drawing/2014/main" id="{7DF504C4-62C1-C336-52C4-8C5EBF0889E8}"/>
              </a:ext>
            </a:extLst>
          </p:cNvPr>
          <p:cNvSpPr txBox="1">
            <a:spLocks/>
          </p:cNvSpPr>
          <p:nvPr/>
        </p:nvSpPr>
        <p:spPr>
          <a:xfrm>
            <a:off x="2144994" y="1670143"/>
            <a:ext cx="6753031" cy="577081"/>
          </a:xfrm>
          <a:prstGeom prst="rect">
            <a:avLst/>
          </a:prstGeom>
          <a:solidFill>
            <a:schemeClr val="bg1"/>
          </a:solidFill>
        </p:spPr>
        <p:txBody>
          <a:bodyPr wrap="square">
            <a:spAutoFit/>
          </a:bodyPr>
          <a:lstStyle>
            <a:defPPr>
              <a:defRPr lang="en-US"/>
            </a:defPPr>
            <a:lvl1pPr marL="230188" marR="0" lvl="0" fontAlgn="auto">
              <a:lnSpc>
                <a:spcPct val="100000"/>
              </a:lnSpc>
              <a:spcBef>
                <a:spcPts val="0"/>
              </a:spcBef>
              <a:spcAft>
                <a:spcPts val="0"/>
              </a:spcAft>
              <a:buClrTx/>
              <a:buSzTx/>
              <a:tabLst/>
              <a:defRPr kumimoji="0" sz="1200" b="0" i="0" u="none" strike="noStrike" cap="none" spc="0" normalizeH="0" baseline="0">
                <a:ln>
                  <a:noFill/>
                </a:ln>
                <a:solidFill>
                  <a:srgbClr val="001C4A"/>
                </a:solidFill>
                <a:effectLst/>
                <a:uLnTx/>
                <a:uFillTx/>
                <a:latin typeface="Arial" panose="020B0604020202020204"/>
              </a:defRPr>
            </a:lvl1pPr>
            <a:lvl2pPr marL="116681" indent="-116681" algn="l" defTabSz="685800" rtl="0" eaLnBrk="1" latinLnBrk="0" hangingPunct="1">
              <a:lnSpc>
                <a:spcPct val="95000"/>
              </a:lnSpc>
              <a:spcBef>
                <a:spcPts val="300"/>
              </a:spcBef>
              <a:buFont typeface="Arial" panose="020B0604020202020204" pitchFamily="34" charset="0"/>
              <a:buChar char="•"/>
              <a:defRPr sz="1650" kern="1200">
                <a:solidFill>
                  <a:schemeClr val="accent2"/>
                </a:solidFill>
                <a:latin typeface="+mn-lt"/>
                <a:ea typeface="+mn-ea"/>
                <a:cs typeface="+mn-cs"/>
              </a:defRPr>
            </a:lvl2pPr>
            <a:lvl3pPr marL="332185" indent="-194072"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3pPr>
            <a:lvl4pPr marL="509588"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4pPr>
            <a:lvl5pPr marL="703660" indent="-177404" algn="l" defTabSz="685800" rtl="0" eaLnBrk="1" latinLnBrk="0" hangingPunct="1">
              <a:lnSpc>
                <a:spcPct val="95000"/>
              </a:lnSpc>
              <a:spcBef>
                <a:spcPts val="300"/>
              </a:spcBef>
              <a:buClrTx/>
              <a:buFont typeface="Arial" panose="020B0604020202020204" pitchFamily="34" charset="0"/>
              <a:buChar char="–"/>
              <a:defRPr sz="1500" kern="1200">
                <a:solidFill>
                  <a:schemeClr val="accent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050" dirty="0"/>
              <a:t>A </a:t>
            </a:r>
            <a:r>
              <a:rPr lang="en-GB" sz="1050" b="1" dirty="0">
                <a:solidFill>
                  <a:schemeClr val="accent2"/>
                </a:solidFill>
              </a:rPr>
              <a:t>biosimilar medicine </a:t>
            </a:r>
            <a:r>
              <a:rPr lang="en-GB" sz="1050" dirty="0"/>
              <a:t>is </a:t>
            </a:r>
            <a:r>
              <a:rPr lang="en-GB" sz="1050" b="1" dirty="0">
                <a:solidFill>
                  <a:schemeClr val="accent2"/>
                </a:solidFill>
              </a:rPr>
              <a:t>developed </a:t>
            </a:r>
            <a:r>
              <a:rPr lang="en-GB" sz="1050" dirty="0">
                <a:solidFill>
                  <a:schemeClr val="tx1"/>
                </a:solidFill>
              </a:rPr>
              <a:t>via a </a:t>
            </a:r>
            <a:r>
              <a:rPr lang="en-US" sz="1050" dirty="0">
                <a:solidFill>
                  <a:schemeClr val="tx1"/>
                </a:solidFill>
              </a:rPr>
              <a:t>systematic and robust development process</a:t>
            </a:r>
            <a:r>
              <a:rPr lang="en-US" sz="1050" b="1" dirty="0">
                <a:solidFill>
                  <a:schemeClr val="accent2"/>
                </a:solidFill>
              </a:rPr>
              <a:t> </a:t>
            </a:r>
            <a:r>
              <a:rPr lang="en-GB" sz="1050" b="1" dirty="0">
                <a:solidFill>
                  <a:schemeClr val="accent2"/>
                </a:solidFill>
              </a:rPr>
              <a:t>to be highly similar to an existing approved reference biologic</a:t>
            </a:r>
            <a:r>
              <a:rPr lang="en-GB" sz="1050" dirty="0"/>
              <a:t>. </a:t>
            </a:r>
            <a:r>
              <a:rPr lang="en-US" sz="1050" dirty="0">
                <a:solidFill>
                  <a:schemeClr val="accent1"/>
                </a:solidFill>
              </a:rPr>
              <a:t>As mode of action is already known, the data focus on showing if the biosimilar molecule matches the reference molecule</a:t>
            </a:r>
            <a:r>
              <a:rPr lang="en-GB" sz="1050" baseline="30000" dirty="0"/>
              <a:t>2,3</a:t>
            </a:r>
          </a:p>
        </p:txBody>
      </p:sp>
      <p:sp>
        <p:nvSpPr>
          <p:cNvPr id="8" name="Arrow: Pentagon 7">
            <a:extLst>
              <a:ext uri="{FF2B5EF4-FFF2-40B4-BE49-F238E27FC236}">
                <a16:creationId xmlns:a16="http://schemas.microsoft.com/office/drawing/2014/main" id="{A03E093A-3EB1-12CD-3304-7DBDB77A2FD2}"/>
              </a:ext>
            </a:extLst>
          </p:cNvPr>
          <p:cNvSpPr/>
          <p:nvPr/>
        </p:nvSpPr>
        <p:spPr>
          <a:xfrm>
            <a:off x="243000" y="1670144"/>
            <a:ext cx="2115638" cy="440448"/>
          </a:xfrm>
          <a:prstGeom prst="homePlate">
            <a:avLst>
              <a:gd name="adj" fmla="val 48298"/>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t>Biosimilar medicine</a:t>
            </a:r>
            <a:endParaRPr lang="en-US" sz="1200"/>
          </a:p>
        </p:txBody>
      </p:sp>
      <p:cxnSp>
        <p:nvCxnSpPr>
          <p:cNvPr id="27" name="Straight Connector 26">
            <a:extLst>
              <a:ext uri="{FF2B5EF4-FFF2-40B4-BE49-F238E27FC236}">
                <a16:creationId xmlns:a16="http://schemas.microsoft.com/office/drawing/2014/main" id="{554252E2-209F-60ED-6F43-24EC83D0AF4A}"/>
              </a:ext>
            </a:extLst>
          </p:cNvPr>
          <p:cNvCxnSpPr>
            <a:cxnSpLocks/>
          </p:cNvCxnSpPr>
          <p:nvPr/>
        </p:nvCxnSpPr>
        <p:spPr>
          <a:xfrm>
            <a:off x="245974" y="1670143"/>
            <a:ext cx="0" cy="224376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Footer Placeholder 7">
            <a:extLst>
              <a:ext uri="{FF2B5EF4-FFF2-40B4-BE49-F238E27FC236}">
                <a16:creationId xmlns:a16="http://schemas.microsoft.com/office/drawing/2014/main" id="{5E79222E-4B03-33E5-CE22-EA1EC04011E7}"/>
              </a:ext>
            </a:extLst>
          </p:cNvPr>
          <p:cNvSpPr>
            <a:spLocks noGrp="1"/>
          </p:cNvSpPr>
          <p:nvPr>
            <p:ph type="ftr" sz="quarter" idx="11"/>
          </p:nvPr>
        </p:nvSpPr>
        <p:spPr>
          <a:xfrm>
            <a:off x="420573" y="4827355"/>
            <a:ext cx="7316279" cy="134999"/>
          </a:xfrm>
        </p:spPr>
        <p:txBody>
          <a:bodyPr/>
          <a:lstStyle/>
          <a:p>
            <a:r>
              <a:rPr lang="en-US" sz="500" dirty="0">
                <a:latin typeface="Arial "/>
                <a:cs typeface="Times New Roman" panose="02020603050405020304" pitchFamily="18" charset="0"/>
              </a:rPr>
              <a:t>1D, one dimensional; ANC, absolute neutrophil count; EU, European Union; PD, pharmacodynamics; US, United States.</a:t>
            </a:r>
          </a:p>
          <a:p>
            <a:r>
              <a:rPr lang="en-US" sz="500" dirty="0">
                <a:latin typeface="Arial "/>
                <a:cs typeface="Times New Roman" panose="02020603050405020304" pitchFamily="18" charset="0"/>
              </a:rPr>
              <a:t>1. </a:t>
            </a:r>
            <a:r>
              <a:rPr lang="en-US" sz="500" dirty="0" err="1">
                <a:latin typeface="Arial "/>
                <a:cs typeface="Times New Roman" panose="02020603050405020304" pitchFamily="18" charset="0"/>
              </a:rPr>
              <a:t>Horien</a:t>
            </a:r>
            <a:r>
              <a:rPr lang="en-US" sz="500" dirty="0">
                <a:latin typeface="Arial "/>
                <a:cs typeface="Times New Roman" panose="02020603050405020304" pitchFamily="18" charset="0"/>
              </a:rPr>
              <a:t> C, Yuan P. Yale </a:t>
            </a:r>
            <a:r>
              <a:rPr lang="en-US" sz="500" i="1" dirty="0">
                <a:latin typeface="Arial "/>
                <a:cs typeface="Times New Roman" panose="02020603050405020304" pitchFamily="18" charset="0"/>
              </a:rPr>
              <a:t>J Biol Med </a:t>
            </a:r>
            <a:r>
              <a:rPr lang="en-US" sz="500" dirty="0">
                <a:latin typeface="Arial "/>
                <a:cs typeface="Times New Roman" panose="02020603050405020304" pitchFamily="18" charset="0"/>
              </a:rPr>
              <a:t>2017;90(1):1–3; 2. EMA and EC. Biosimilars in the EU. 2019. Available </a:t>
            </a:r>
            <a:r>
              <a:rPr lang="en-US" sz="500" dirty="0" err="1">
                <a:latin typeface="Arial "/>
                <a:cs typeface="Times New Roman" panose="02020603050405020304" pitchFamily="18" charset="0"/>
              </a:rPr>
              <a:t>at:https</a:t>
            </a:r>
            <a:r>
              <a:rPr lang="en-US" sz="500" dirty="0">
                <a:latin typeface="Arial "/>
                <a:cs typeface="Times New Roman" panose="02020603050405020304" pitchFamily="18" charset="0"/>
              </a:rPr>
              <a:t>://www.ema.europa.eu/en/documents/leaflet/biosimilars-eu-information-guide-healthcare-professionals_en.pdf. Accessed August 2023; 3. US FDA. Overview of the Regulatory Framework and FDA’s Guidance for the Development and Approval of Biosimilar and Interchangeable Products in the US. 2018. Available at: https://www.fda.gov/media/113820/download. Accessed June 2024.</a:t>
            </a:r>
          </a:p>
        </p:txBody>
      </p:sp>
      <p:sp>
        <p:nvSpPr>
          <p:cNvPr id="3" name="TextBox 2">
            <a:extLst>
              <a:ext uri="{FF2B5EF4-FFF2-40B4-BE49-F238E27FC236}">
                <a16:creationId xmlns:a16="http://schemas.microsoft.com/office/drawing/2014/main" id="{4008AEEA-6590-07D0-9B77-2C0DD21516FC}"/>
              </a:ext>
            </a:extLst>
          </p:cNvPr>
          <p:cNvSpPr txBox="1"/>
          <p:nvPr/>
        </p:nvSpPr>
        <p:spPr>
          <a:xfrm>
            <a:off x="268463" y="3905953"/>
            <a:ext cx="3694922" cy="80791"/>
          </a:xfrm>
          <a:prstGeom prst="rect">
            <a:avLst/>
          </a:prstGeom>
        </p:spPr>
        <p:txBody>
          <a:bodyPr vert="horz" wrap="non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defTabSz="914378">
              <a:tabLst>
                <a:tab pos="3998119" algn="r"/>
                <a:tab pos="8228410" algn="r"/>
              </a:tabLst>
            </a:pPr>
            <a:r>
              <a:rPr lang="en-US" altLang="en-US" sz="525" noProof="1">
                <a:solidFill>
                  <a:srgbClr val="4D4D4D"/>
                </a:solidFill>
                <a:latin typeface="Arial" panose="020B0604020202020204"/>
              </a:rPr>
              <a:t>Figures reproduced from Sorgel F, et al. BioDrugs 2015;29(2):123–131; Blackwell K, et al. Ann Oncol 2015;26(9):1948–1953.</a:t>
            </a:r>
            <a:endParaRPr lang="en-US" sz="525" dirty="0">
              <a:solidFill>
                <a:srgbClr val="4D4D4D"/>
              </a:solidFill>
              <a:latin typeface="Arial" panose="020B0604020202020204"/>
            </a:endParaRPr>
          </a:p>
        </p:txBody>
      </p:sp>
      <p:grpSp>
        <p:nvGrpSpPr>
          <p:cNvPr id="467" name="Group 466">
            <a:extLst>
              <a:ext uri="{FF2B5EF4-FFF2-40B4-BE49-F238E27FC236}">
                <a16:creationId xmlns:a16="http://schemas.microsoft.com/office/drawing/2014/main" id="{1616F86E-50CE-C4DA-9FEE-DBF56425CF76}"/>
              </a:ext>
            </a:extLst>
          </p:cNvPr>
          <p:cNvGrpSpPr/>
          <p:nvPr/>
        </p:nvGrpSpPr>
        <p:grpSpPr>
          <a:xfrm>
            <a:off x="917670" y="2327738"/>
            <a:ext cx="7274967" cy="1539651"/>
            <a:chOff x="839763" y="2327738"/>
            <a:chExt cx="7274967" cy="1539651"/>
          </a:xfrm>
        </p:grpSpPr>
        <p:grpSp>
          <p:nvGrpSpPr>
            <p:cNvPr id="463" name="Group 462">
              <a:extLst>
                <a:ext uri="{FF2B5EF4-FFF2-40B4-BE49-F238E27FC236}">
                  <a16:creationId xmlns:a16="http://schemas.microsoft.com/office/drawing/2014/main" id="{F26D11F0-CBC0-4806-6B95-134889D759E0}"/>
                </a:ext>
              </a:extLst>
            </p:cNvPr>
            <p:cNvGrpSpPr/>
            <p:nvPr/>
          </p:nvGrpSpPr>
          <p:grpSpPr>
            <a:xfrm>
              <a:off x="839763" y="2349387"/>
              <a:ext cx="1660355" cy="1497297"/>
              <a:chOff x="1032937" y="2349387"/>
              <a:chExt cx="1660355" cy="1497297"/>
            </a:xfrm>
          </p:grpSpPr>
          <p:sp>
            <p:nvSpPr>
              <p:cNvPr id="228" name="TextBox 227">
                <a:extLst>
                  <a:ext uri="{FF2B5EF4-FFF2-40B4-BE49-F238E27FC236}">
                    <a16:creationId xmlns:a16="http://schemas.microsoft.com/office/drawing/2014/main" id="{01AEAB83-8CD2-DB42-0BF8-3FC84C7E4581}"/>
                  </a:ext>
                </a:extLst>
              </p:cNvPr>
              <p:cNvSpPr txBox="1"/>
              <p:nvPr/>
            </p:nvSpPr>
            <p:spPr>
              <a:xfrm>
                <a:off x="1893288" y="3769740"/>
                <a:ext cx="1234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ppm</a:t>
                </a:r>
              </a:p>
            </p:txBody>
          </p:sp>
          <p:sp>
            <p:nvSpPr>
              <p:cNvPr id="229" name="Freeform 228">
                <a:extLst>
                  <a:ext uri="{FF2B5EF4-FFF2-40B4-BE49-F238E27FC236}">
                    <a16:creationId xmlns:a16="http://schemas.microsoft.com/office/drawing/2014/main" id="{48EC5C0C-088F-80FF-7332-B55634AA9C6F}"/>
                  </a:ext>
                </a:extLst>
              </p:cNvPr>
              <p:cNvSpPr/>
              <p:nvPr/>
            </p:nvSpPr>
            <p:spPr>
              <a:xfrm>
                <a:off x="1279955" y="3625305"/>
                <a:ext cx="1392266" cy="13163"/>
              </a:xfrm>
              <a:custGeom>
                <a:avLst/>
                <a:gdLst>
                  <a:gd name="connsiteX0" fmla="*/ 0 w 1392266"/>
                  <a:gd name="connsiteY0" fmla="*/ 0 h 13163"/>
                  <a:gd name="connsiteX1" fmla="*/ 1392266 w 1392266"/>
                  <a:gd name="connsiteY1" fmla="*/ 0 h 13163"/>
                </a:gdLst>
                <a:ahLst/>
                <a:cxnLst>
                  <a:cxn ang="0">
                    <a:pos x="connsiteX0" y="connsiteY0"/>
                  </a:cxn>
                  <a:cxn ang="0">
                    <a:pos x="connsiteX1" y="connsiteY1"/>
                  </a:cxn>
                </a:cxnLst>
                <a:rect l="l" t="t" r="r" b="b"/>
                <a:pathLst>
                  <a:path w="1392266" h="13163">
                    <a:moveTo>
                      <a:pt x="0" y="0"/>
                    </a:moveTo>
                    <a:lnTo>
                      <a:pt x="1392266"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0" name="Freeform 229">
                <a:extLst>
                  <a:ext uri="{FF2B5EF4-FFF2-40B4-BE49-F238E27FC236}">
                    <a16:creationId xmlns:a16="http://schemas.microsoft.com/office/drawing/2014/main" id="{D7735FAC-0637-FA8A-A316-E03A456A44BA}"/>
                  </a:ext>
                </a:extLst>
              </p:cNvPr>
              <p:cNvSpPr/>
              <p:nvPr/>
            </p:nvSpPr>
            <p:spPr>
              <a:xfrm>
                <a:off x="2595624"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1" name="Freeform 230">
                <a:extLst>
                  <a:ext uri="{FF2B5EF4-FFF2-40B4-BE49-F238E27FC236}">
                    <a16:creationId xmlns:a16="http://schemas.microsoft.com/office/drawing/2014/main" id="{C1BF438A-FCB5-9C74-172E-282507D04C20}"/>
                  </a:ext>
                </a:extLst>
              </p:cNvPr>
              <p:cNvSpPr/>
              <p:nvPr/>
            </p:nvSpPr>
            <p:spPr>
              <a:xfrm>
                <a:off x="246972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2" name="Freeform 231">
                <a:extLst>
                  <a:ext uri="{FF2B5EF4-FFF2-40B4-BE49-F238E27FC236}">
                    <a16:creationId xmlns:a16="http://schemas.microsoft.com/office/drawing/2014/main" id="{36A44F74-70CF-B7C6-68B1-90BF0949263D}"/>
                  </a:ext>
                </a:extLst>
              </p:cNvPr>
              <p:cNvSpPr/>
              <p:nvPr/>
            </p:nvSpPr>
            <p:spPr>
              <a:xfrm>
                <a:off x="2343834"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3" name="Freeform 232">
                <a:extLst>
                  <a:ext uri="{FF2B5EF4-FFF2-40B4-BE49-F238E27FC236}">
                    <a16:creationId xmlns:a16="http://schemas.microsoft.com/office/drawing/2014/main" id="{5B021799-374D-0286-D14D-B518697AF3BA}"/>
                  </a:ext>
                </a:extLst>
              </p:cNvPr>
              <p:cNvSpPr/>
              <p:nvPr/>
            </p:nvSpPr>
            <p:spPr>
              <a:xfrm>
                <a:off x="221793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4" name="Freeform 233">
                <a:extLst>
                  <a:ext uri="{FF2B5EF4-FFF2-40B4-BE49-F238E27FC236}">
                    <a16:creationId xmlns:a16="http://schemas.microsoft.com/office/drawing/2014/main" id="{848B30F4-6930-DFE5-0486-0DA5831165EB}"/>
                  </a:ext>
                </a:extLst>
              </p:cNvPr>
              <p:cNvSpPr/>
              <p:nvPr/>
            </p:nvSpPr>
            <p:spPr>
              <a:xfrm>
                <a:off x="2091912"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5" name="Freeform 234">
                <a:extLst>
                  <a:ext uri="{FF2B5EF4-FFF2-40B4-BE49-F238E27FC236}">
                    <a16:creationId xmlns:a16="http://schemas.microsoft.com/office/drawing/2014/main" id="{2EC510AE-A1B3-7A36-C994-68D04A837506}"/>
                  </a:ext>
                </a:extLst>
              </p:cNvPr>
              <p:cNvSpPr/>
              <p:nvPr/>
            </p:nvSpPr>
            <p:spPr>
              <a:xfrm>
                <a:off x="1966017"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6" name="Freeform 235">
                <a:extLst>
                  <a:ext uri="{FF2B5EF4-FFF2-40B4-BE49-F238E27FC236}">
                    <a16:creationId xmlns:a16="http://schemas.microsoft.com/office/drawing/2014/main" id="{7E89F88F-8C85-B42F-2B1B-267D21DBE136}"/>
                  </a:ext>
                </a:extLst>
              </p:cNvPr>
              <p:cNvSpPr/>
              <p:nvPr/>
            </p:nvSpPr>
            <p:spPr>
              <a:xfrm>
                <a:off x="1840122"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7" name="Freeform 236">
                <a:extLst>
                  <a:ext uri="{FF2B5EF4-FFF2-40B4-BE49-F238E27FC236}">
                    <a16:creationId xmlns:a16="http://schemas.microsoft.com/office/drawing/2014/main" id="{C4969673-D061-BAAF-B488-D41895303775}"/>
                  </a:ext>
                </a:extLst>
              </p:cNvPr>
              <p:cNvSpPr/>
              <p:nvPr/>
            </p:nvSpPr>
            <p:spPr>
              <a:xfrm>
                <a:off x="1714227"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8" name="Freeform 237">
                <a:extLst>
                  <a:ext uri="{FF2B5EF4-FFF2-40B4-BE49-F238E27FC236}">
                    <a16:creationId xmlns:a16="http://schemas.microsoft.com/office/drawing/2014/main" id="{99B7BDC3-FE3A-CC2F-BBCE-B4B28EF466A0}"/>
                  </a:ext>
                </a:extLst>
              </p:cNvPr>
              <p:cNvSpPr/>
              <p:nvPr/>
            </p:nvSpPr>
            <p:spPr>
              <a:xfrm>
                <a:off x="158819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39" name="Freeform 238">
                <a:extLst>
                  <a:ext uri="{FF2B5EF4-FFF2-40B4-BE49-F238E27FC236}">
                    <a16:creationId xmlns:a16="http://schemas.microsoft.com/office/drawing/2014/main" id="{8D366ED2-413E-CD68-5868-59516FEEF017}"/>
                  </a:ext>
                </a:extLst>
              </p:cNvPr>
              <p:cNvSpPr/>
              <p:nvPr/>
            </p:nvSpPr>
            <p:spPr>
              <a:xfrm>
                <a:off x="1462304"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40" name="Freeform 239">
                <a:extLst>
                  <a:ext uri="{FF2B5EF4-FFF2-40B4-BE49-F238E27FC236}">
                    <a16:creationId xmlns:a16="http://schemas.microsoft.com/office/drawing/2014/main" id="{C50F25AB-74B3-6C2D-E847-28B280FE0AB2}"/>
                  </a:ext>
                </a:extLst>
              </p:cNvPr>
              <p:cNvSpPr/>
              <p:nvPr/>
            </p:nvSpPr>
            <p:spPr>
              <a:xfrm>
                <a:off x="1336409" y="3625173"/>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2" name="Group 451">
                <a:extLst>
                  <a:ext uri="{FF2B5EF4-FFF2-40B4-BE49-F238E27FC236}">
                    <a16:creationId xmlns:a16="http://schemas.microsoft.com/office/drawing/2014/main" id="{0F919C92-53CF-38B8-43ED-6EC7F98B8ACC}"/>
                  </a:ext>
                </a:extLst>
              </p:cNvPr>
              <p:cNvGrpSpPr/>
              <p:nvPr/>
            </p:nvGrpSpPr>
            <p:grpSpPr>
              <a:xfrm>
                <a:off x="1295638" y="3666197"/>
                <a:ext cx="1318733" cy="76944"/>
                <a:chOff x="1295638" y="3666197"/>
                <a:chExt cx="1318733" cy="76944"/>
              </a:xfrm>
            </p:grpSpPr>
            <p:sp>
              <p:nvSpPr>
                <p:cNvPr id="241" name="TextBox 240">
                  <a:extLst>
                    <a:ext uri="{FF2B5EF4-FFF2-40B4-BE49-F238E27FC236}">
                      <a16:creationId xmlns:a16="http://schemas.microsoft.com/office/drawing/2014/main" id="{AE745412-C0EB-C900-F79C-F15C65160A72}"/>
                    </a:ext>
                  </a:extLst>
                </p:cNvPr>
                <p:cNvSpPr txBox="1"/>
                <p:nvPr/>
              </p:nvSpPr>
              <p:spPr>
                <a:xfrm>
                  <a:off x="2579105"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sp>
              <p:nvSpPr>
                <p:cNvPr id="242" name="TextBox 241">
                  <a:extLst>
                    <a:ext uri="{FF2B5EF4-FFF2-40B4-BE49-F238E27FC236}">
                      <a16:creationId xmlns:a16="http://schemas.microsoft.com/office/drawing/2014/main" id="{FC099E6E-5D67-B3B2-7BC2-497564CA5959}"/>
                    </a:ext>
                  </a:extLst>
                </p:cNvPr>
                <p:cNvSpPr txBox="1"/>
                <p:nvPr/>
              </p:nvSpPr>
              <p:spPr>
                <a:xfrm>
                  <a:off x="2464474"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a:t>
                  </a:r>
                </a:p>
              </p:txBody>
            </p:sp>
            <p:sp>
              <p:nvSpPr>
                <p:cNvPr id="243" name="TextBox 242">
                  <a:extLst>
                    <a:ext uri="{FF2B5EF4-FFF2-40B4-BE49-F238E27FC236}">
                      <a16:creationId xmlns:a16="http://schemas.microsoft.com/office/drawing/2014/main" id="{843F3E04-14E2-B860-1E7A-9E78CD51D810}"/>
                    </a:ext>
                  </a:extLst>
                </p:cNvPr>
                <p:cNvSpPr txBox="1"/>
                <p:nvPr/>
              </p:nvSpPr>
              <p:spPr>
                <a:xfrm>
                  <a:off x="2329965"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a:t>
                  </a:r>
                </a:p>
              </p:txBody>
            </p:sp>
            <p:sp>
              <p:nvSpPr>
                <p:cNvPr id="244" name="TextBox 243">
                  <a:extLst>
                    <a:ext uri="{FF2B5EF4-FFF2-40B4-BE49-F238E27FC236}">
                      <a16:creationId xmlns:a16="http://schemas.microsoft.com/office/drawing/2014/main" id="{6424844B-647B-F453-CEEF-415B50807FA2}"/>
                    </a:ext>
                  </a:extLst>
                </p:cNvPr>
                <p:cNvSpPr txBox="1"/>
                <p:nvPr/>
              </p:nvSpPr>
              <p:spPr>
                <a:xfrm>
                  <a:off x="2203673"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3</a:t>
                  </a:r>
                </a:p>
              </p:txBody>
            </p:sp>
            <p:sp>
              <p:nvSpPr>
                <p:cNvPr id="245" name="TextBox 244">
                  <a:extLst>
                    <a:ext uri="{FF2B5EF4-FFF2-40B4-BE49-F238E27FC236}">
                      <a16:creationId xmlns:a16="http://schemas.microsoft.com/office/drawing/2014/main" id="{56755CF2-3A92-425B-DC73-E60036477854}"/>
                    </a:ext>
                  </a:extLst>
                </p:cNvPr>
                <p:cNvSpPr txBox="1"/>
                <p:nvPr/>
              </p:nvSpPr>
              <p:spPr>
                <a:xfrm>
                  <a:off x="2076850"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4</a:t>
                  </a:r>
                </a:p>
              </p:txBody>
            </p:sp>
            <p:sp>
              <p:nvSpPr>
                <p:cNvPr id="246" name="TextBox 245">
                  <a:extLst>
                    <a:ext uri="{FF2B5EF4-FFF2-40B4-BE49-F238E27FC236}">
                      <a16:creationId xmlns:a16="http://schemas.microsoft.com/office/drawing/2014/main" id="{1428BCB7-437D-D560-4E33-39203109940E}"/>
                    </a:ext>
                  </a:extLst>
                </p:cNvPr>
                <p:cNvSpPr txBox="1"/>
                <p:nvPr/>
              </p:nvSpPr>
              <p:spPr>
                <a:xfrm>
                  <a:off x="1952015"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247" name="TextBox 246">
                  <a:extLst>
                    <a:ext uri="{FF2B5EF4-FFF2-40B4-BE49-F238E27FC236}">
                      <a16:creationId xmlns:a16="http://schemas.microsoft.com/office/drawing/2014/main" id="{320F7F8C-E9D5-0A3A-6242-A26418F96D26}"/>
                    </a:ext>
                  </a:extLst>
                </p:cNvPr>
                <p:cNvSpPr txBox="1"/>
                <p:nvPr/>
              </p:nvSpPr>
              <p:spPr>
                <a:xfrm>
                  <a:off x="1825193"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6</a:t>
                  </a:r>
                </a:p>
              </p:txBody>
            </p:sp>
            <p:sp>
              <p:nvSpPr>
                <p:cNvPr id="248" name="TextBox 247">
                  <a:extLst>
                    <a:ext uri="{FF2B5EF4-FFF2-40B4-BE49-F238E27FC236}">
                      <a16:creationId xmlns:a16="http://schemas.microsoft.com/office/drawing/2014/main" id="{6982354A-F21C-6383-1556-0CE849C827F7}"/>
                    </a:ext>
                  </a:extLst>
                </p:cNvPr>
                <p:cNvSpPr txBox="1"/>
                <p:nvPr/>
              </p:nvSpPr>
              <p:spPr>
                <a:xfrm>
                  <a:off x="1702346"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7</a:t>
                  </a:r>
                </a:p>
              </p:txBody>
            </p:sp>
            <p:sp>
              <p:nvSpPr>
                <p:cNvPr id="249" name="TextBox 248">
                  <a:extLst>
                    <a:ext uri="{FF2B5EF4-FFF2-40B4-BE49-F238E27FC236}">
                      <a16:creationId xmlns:a16="http://schemas.microsoft.com/office/drawing/2014/main" id="{DE1EA12C-C84B-5B28-F0D1-22B602D27FF2}"/>
                    </a:ext>
                  </a:extLst>
                </p:cNvPr>
                <p:cNvSpPr txBox="1"/>
                <p:nvPr/>
              </p:nvSpPr>
              <p:spPr>
                <a:xfrm>
                  <a:off x="1574198"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8</a:t>
                  </a:r>
                </a:p>
              </p:txBody>
            </p:sp>
            <p:sp>
              <p:nvSpPr>
                <p:cNvPr id="250" name="TextBox 249">
                  <a:extLst>
                    <a:ext uri="{FF2B5EF4-FFF2-40B4-BE49-F238E27FC236}">
                      <a16:creationId xmlns:a16="http://schemas.microsoft.com/office/drawing/2014/main" id="{E6F82D4B-CD88-278C-F149-D16ADF1034A7}"/>
                    </a:ext>
                  </a:extLst>
                </p:cNvPr>
                <p:cNvSpPr txBox="1"/>
                <p:nvPr/>
              </p:nvSpPr>
              <p:spPr>
                <a:xfrm>
                  <a:off x="1447508"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9</a:t>
                  </a:r>
                </a:p>
              </p:txBody>
            </p:sp>
            <p:sp>
              <p:nvSpPr>
                <p:cNvPr id="251" name="TextBox 250">
                  <a:extLst>
                    <a:ext uri="{FF2B5EF4-FFF2-40B4-BE49-F238E27FC236}">
                      <a16:creationId xmlns:a16="http://schemas.microsoft.com/office/drawing/2014/main" id="{D67B072A-4689-C55B-927C-511F7C3C1561}"/>
                    </a:ext>
                  </a:extLst>
                </p:cNvPr>
                <p:cNvSpPr txBox="1"/>
                <p:nvPr/>
              </p:nvSpPr>
              <p:spPr>
                <a:xfrm>
                  <a:off x="1295638"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grpSp>
          <p:sp>
            <p:nvSpPr>
              <p:cNvPr id="252" name="TextBox 251">
                <a:extLst>
                  <a:ext uri="{FF2B5EF4-FFF2-40B4-BE49-F238E27FC236}">
                    <a16:creationId xmlns:a16="http://schemas.microsoft.com/office/drawing/2014/main" id="{CB00C3BA-7DB0-4021-98F1-6F26191857F7}"/>
                  </a:ext>
                </a:extLst>
              </p:cNvPr>
              <p:cNvSpPr txBox="1"/>
              <p:nvPr/>
            </p:nvSpPr>
            <p:spPr>
              <a:xfrm>
                <a:off x="1242849" y="2898747"/>
                <a:ext cx="714939" cy="76944"/>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 (US)</a:t>
                </a:r>
              </a:p>
            </p:txBody>
          </p:sp>
          <p:sp>
            <p:nvSpPr>
              <p:cNvPr id="255" name="TextBox 254">
                <a:extLst>
                  <a:ext uri="{FF2B5EF4-FFF2-40B4-BE49-F238E27FC236}">
                    <a16:creationId xmlns:a16="http://schemas.microsoft.com/office/drawing/2014/main" id="{82C1DF33-7326-EE65-A55B-D9E93A661B51}"/>
                  </a:ext>
                </a:extLst>
              </p:cNvPr>
              <p:cNvSpPr txBox="1"/>
              <p:nvPr/>
            </p:nvSpPr>
            <p:spPr>
              <a:xfrm>
                <a:off x="1242849" y="3238244"/>
                <a:ext cx="714939" cy="76944"/>
              </a:xfrm>
              <a:prstGeom prst="rect">
                <a:avLst/>
              </a:prstGeom>
              <a:noFill/>
            </p:spPr>
            <p:txBody>
              <a:bodyPr wrap="none" lIns="0" tIns="0" rIns="0" bIns="0" rtlCol="0">
                <a:spAutoFit/>
              </a:bodyPr>
              <a:lstStyle/>
              <a:p>
                <a:pPr algn="l"/>
                <a:r>
                  <a:rPr lang="en-US" sz="500" spc="0" baseline="0" dirty="0">
                    <a:ln/>
                    <a:solidFill>
                      <a:schemeClr val="accent6">
                        <a:lumMod val="75000"/>
                      </a:schemeClr>
                    </a:solidFill>
                    <a:latin typeface="Arial" panose="020B0604020202020204" pitchFamily="34" charset="0"/>
                    <a:cs typeface="Arial" panose="020B0604020202020204" pitchFamily="34" charset="0"/>
                    <a:sym typeface="Arial"/>
                    <a:rtl val="0"/>
                  </a:rPr>
                  <a:t>Reference medicine (EU)</a:t>
                </a:r>
              </a:p>
            </p:txBody>
          </p:sp>
          <p:sp>
            <p:nvSpPr>
              <p:cNvPr id="258" name="TextBox 257">
                <a:extLst>
                  <a:ext uri="{FF2B5EF4-FFF2-40B4-BE49-F238E27FC236}">
                    <a16:creationId xmlns:a16="http://schemas.microsoft.com/office/drawing/2014/main" id="{82470ACC-523B-A307-7756-5AA6E849F315}"/>
                  </a:ext>
                </a:extLst>
              </p:cNvPr>
              <p:cNvSpPr txBox="1"/>
              <p:nvPr/>
            </p:nvSpPr>
            <p:spPr>
              <a:xfrm>
                <a:off x="1242849" y="2537397"/>
                <a:ext cx="549831"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a:t>
                </a:r>
              </a:p>
            </p:txBody>
          </p:sp>
          <p:sp>
            <p:nvSpPr>
              <p:cNvPr id="259" name="Freeform 258">
                <a:extLst>
                  <a:ext uri="{FF2B5EF4-FFF2-40B4-BE49-F238E27FC236}">
                    <a16:creationId xmlns:a16="http://schemas.microsoft.com/office/drawing/2014/main" id="{15EE6EF4-CE84-6DC0-CBCB-8C5532910E3E}"/>
                  </a:ext>
                </a:extLst>
              </p:cNvPr>
              <p:cNvSpPr/>
              <p:nvPr/>
            </p:nvSpPr>
            <p:spPr>
              <a:xfrm>
                <a:off x="1338000" y="2898393"/>
                <a:ext cx="1355027" cy="258407"/>
              </a:xfrm>
              <a:custGeom>
                <a:avLst/>
                <a:gdLst>
                  <a:gd name="connsiteX0" fmla="*/ 0 w 1355027"/>
                  <a:gd name="connsiteY0" fmla="*/ 240900 h 258407"/>
                  <a:gd name="connsiteX1" fmla="*/ 35516 w 1355027"/>
                  <a:gd name="connsiteY1" fmla="*/ 240900 h 258407"/>
                  <a:gd name="connsiteX2" fmla="*/ 46250 w 1355027"/>
                  <a:gd name="connsiteY2" fmla="*/ 233528 h 258407"/>
                  <a:gd name="connsiteX3" fmla="*/ 54996 w 1355027"/>
                  <a:gd name="connsiteY3" fmla="*/ 240900 h 258407"/>
                  <a:gd name="connsiteX4" fmla="*/ 109330 w 1355027"/>
                  <a:gd name="connsiteY4" fmla="*/ 240900 h 258407"/>
                  <a:gd name="connsiteX5" fmla="*/ 113703 w 1355027"/>
                  <a:gd name="connsiteY5" fmla="*/ 233528 h 258407"/>
                  <a:gd name="connsiteX6" fmla="*/ 116221 w 1355027"/>
                  <a:gd name="connsiteY6" fmla="*/ 240900 h 258407"/>
                  <a:gd name="connsiteX7" fmla="*/ 119004 w 1355027"/>
                  <a:gd name="connsiteY7" fmla="*/ 233528 h 258407"/>
                  <a:gd name="connsiteX8" fmla="*/ 124305 w 1355027"/>
                  <a:gd name="connsiteY8" fmla="*/ 240900 h 258407"/>
                  <a:gd name="connsiteX9" fmla="*/ 134641 w 1355027"/>
                  <a:gd name="connsiteY9" fmla="*/ 240900 h 258407"/>
                  <a:gd name="connsiteX10" fmla="*/ 145376 w 1355027"/>
                  <a:gd name="connsiteY10" fmla="*/ 229974 h 258407"/>
                  <a:gd name="connsiteX11" fmla="*/ 148556 w 1355027"/>
                  <a:gd name="connsiteY11" fmla="*/ 235502 h 258407"/>
                  <a:gd name="connsiteX12" fmla="*/ 152002 w 1355027"/>
                  <a:gd name="connsiteY12" fmla="*/ 229974 h 258407"/>
                  <a:gd name="connsiteX13" fmla="*/ 155712 w 1355027"/>
                  <a:gd name="connsiteY13" fmla="*/ 235502 h 258407"/>
                  <a:gd name="connsiteX14" fmla="*/ 158893 w 1355027"/>
                  <a:gd name="connsiteY14" fmla="*/ 229974 h 258407"/>
                  <a:gd name="connsiteX15" fmla="*/ 160218 w 1355027"/>
                  <a:gd name="connsiteY15" fmla="*/ 235502 h 258407"/>
                  <a:gd name="connsiteX16" fmla="*/ 168699 w 1355027"/>
                  <a:gd name="connsiteY16" fmla="*/ 235502 h 258407"/>
                  <a:gd name="connsiteX17" fmla="*/ 174398 w 1355027"/>
                  <a:gd name="connsiteY17" fmla="*/ 224576 h 258407"/>
                  <a:gd name="connsiteX18" fmla="*/ 181024 w 1355027"/>
                  <a:gd name="connsiteY18" fmla="*/ 232738 h 258407"/>
                  <a:gd name="connsiteX19" fmla="*/ 186325 w 1355027"/>
                  <a:gd name="connsiteY19" fmla="*/ 224576 h 258407"/>
                  <a:gd name="connsiteX20" fmla="*/ 188843 w 1355027"/>
                  <a:gd name="connsiteY20" fmla="*/ 229184 h 258407"/>
                  <a:gd name="connsiteX21" fmla="*/ 196131 w 1355027"/>
                  <a:gd name="connsiteY21" fmla="*/ 222339 h 258407"/>
                  <a:gd name="connsiteX22" fmla="*/ 200239 w 1355027"/>
                  <a:gd name="connsiteY22" fmla="*/ 234713 h 258407"/>
                  <a:gd name="connsiteX23" fmla="*/ 207130 w 1355027"/>
                  <a:gd name="connsiteY23" fmla="*/ 227867 h 258407"/>
                  <a:gd name="connsiteX24" fmla="*/ 213359 w 1355027"/>
                  <a:gd name="connsiteY24" fmla="*/ 233791 h 258407"/>
                  <a:gd name="connsiteX25" fmla="*/ 218660 w 1355027"/>
                  <a:gd name="connsiteY25" fmla="*/ 228789 h 258407"/>
                  <a:gd name="connsiteX26" fmla="*/ 222105 w 1355027"/>
                  <a:gd name="connsiteY26" fmla="*/ 216020 h 258407"/>
                  <a:gd name="connsiteX27" fmla="*/ 225816 w 1355027"/>
                  <a:gd name="connsiteY27" fmla="*/ 212861 h 258407"/>
                  <a:gd name="connsiteX28" fmla="*/ 230587 w 1355027"/>
                  <a:gd name="connsiteY28" fmla="*/ 222865 h 258407"/>
                  <a:gd name="connsiteX29" fmla="*/ 232840 w 1355027"/>
                  <a:gd name="connsiteY29" fmla="*/ 217336 h 258407"/>
                  <a:gd name="connsiteX30" fmla="*/ 238140 w 1355027"/>
                  <a:gd name="connsiteY30" fmla="*/ 212729 h 258407"/>
                  <a:gd name="connsiteX31" fmla="*/ 240658 w 1355027"/>
                  <a:gd name="connsiteY31" fmla="*/ 223655 h 258407"/>
                  <a:gd name="connsiteX32" fmla="*/ 244104 w 1355027"/>
                  <a:gd name="connsiteY32" fmla="*/ 217731 h 258407"/>
                  <a:gd name="connsiteX33" fmla="*/ 249140 w 1355027"/>
                  <a:gd name="connsiteY33" fmla="*/ 215888 h 258407"/>
                  <a:gd name="connsiteX34" fmla="*/ 251392 w 1355027"/>
                  <a:gd name="connsiteY34" fmla="*/ 209043 h 258407"/>
                  <a:gd name="connsiteX35" fmla="*/ 254175 w 1355027"/>
                  <a:gd name="connsiteY35" fmla="*/ 213124 h 258407"/>
                  <a:gd name="connsiteX36" fmla="*/ 258814 w 1355027"/>
                  <a:gd name="connsiteY36" fmla="*/ 212202 h 258407"/>
                  <a:gd name="connsiteX37" fmla="*/ 258814 w 1355027"/>
                  <a:gd name="connsiteY37" fmla="*/ 224971 h 258407"/>
                  <a:gd name="connsiteX38" fmla="*/ 264512 w 1355027"/>
                  <a:gd name="connsiteY38" fmla="*/ 217205 h 258407"/>
                  <a:gd name="connsiteX39" fmla="*/ 270210 w 1355027"/>
                  <a:gd name="connsiteY39" fmla="*/ 229052 h 258407"/>
                  <a:gd name="connsiteX40" fmla="*/ 277102 w 1355027"/>
                  <a:gd name="connsiteY40" fmla="*/ 217205 h 258407"/>
                  <a:gd name="connsiteX41" fmla="*/ 280282 w 1355027"/>
                  <a:gd name="connsiteY41" fmla="*/ 224971 h 258407"/>
                  <a:gd name="connsiteX42" fmla="*/ 288498 w 1355027"/>
                  <a:gd name="connsiteY42" fmla="*/ 213124 h 258407"/>
                  <a:gd name="connsiteX43" fmla="*/ 296582 w 1355027"/>
                  <a:gd name="connsiteY43" fmla="*/ 227736 h 258407"/>
                  <a:gd name="connsiteX44" fmla="*/ 298835 w 1355027"/>
                  <a:gd name="connsiteY44" fmla="*/ 213124 h 258407"/>
                  <a:gd name="connsiteX45" fmla="*/ 302016 w 1355027"/>
                  <a:gd name="connsiteY45" fmla="*/ 224971 h 258407"/>
                  <a:gd name="connsiteX46" fmla="*/ 304533 w 1355027"/>
                  <a:gd name="connsiteY46" fmla="*/ 219048 h 258407"/>
                  <a:gd name="connsiteX47" fmla="*/ 310232 w 1355027"/>
                  <a:gd name="connsiteY47" fmla="*/ 228262 h 258407"/>
                  <a:gd name="connsiteX48" fmla="*/ 313412 w 1355027"/>
                  <a:gd name="connsiteY48" fmla="*/ 219574 h 258407"/>
                  <a:gd name="connsiteX49" fmla="*/ 322821 w 1355027"/>
                  <a:gd name="connsiteY49" fmla="*/ 228789 h 258407"/>
                  <a:gd name="connsiteX50" fmla="*/ 325339 w 1355027"/>
                  <a:gd name="connsiteY50" fmla="*/ 215493 h 258407"/>
                  <a:gd name="connsiteX51" fmla="*/ 327857 w 1355027"/>
                  <a:gd name="connsiteY51" fmla="*/ 225103 h 258407"/>
                  <a:gd name="connsiteX52" fmla="*/ 330110 w 1355027"/>
                  <a:gd name="connsiteY52" fmla="*/ 217336 h 258407"/>
                  <a:gd name="connsiteX53" fmla="*/ 333291 w 1355027"/>
                  <a:gd name="connsiteY53" fmla="*/ 225103 h 258407"/>
                  <a:gd name="connsiteX54" fmla="*/ 337399 w 1355027"/>
                  <a:gd name="connsiteY54" fmla="*/ 209043 h 258407"/>
                  <a:gd name="connsiteX55" fmla="*/ 340182 w 1355027"/>
                  <a:gd name="connsiteY55" fmla="*/ 227341 h 258407"/>
                  <a:gd name="connsiteX56" fmla="*/ 344820 w 1355027"/>
                  <a:gd name="connsiteY56" fmla="*/ 231422 h 258407"/>
                  <a:gd name="connsiteX57" fmla="*/ 348663 w 1355027"/>
                  <a:gd name="connsiteY57" fmla="*/ 233659 h 258407"/>
                  <a:gd name="connsiteX58" fmla="*/ 353301 w 1355027"/>
                  <a:gd name="connsiteY58" fmla="*/ 224971 h 258407"/>
                  <a:gd name="connsiteX59" fmla="*/ 360590 w 1355027"/>
                  <a:gd name="connsiteY59" fmla="*/ 234581 h 258407"/>
                  <a:gd name="connsiteX60" fmla="*/ 366818 w 1355027"/>
                  <a:gd name="connsiteY60" fmla="*/ 210754 h 258407"/>
                  <a:gd name="connsiteX61" fmla="*/ 372517 w 1355027"/>
                  <a:gd name="connsiteY61" fmla="*/ 230895 h 258407"/>
                  <a:gd name="connsiteX62" fmla="*/ 375300 w 1355027"/>
                  <a:gd name="connsiteY62" fmla="*/ 216678 h 258407"/>
                  <a:gd name="connsiteX63" fmla="*/ 378480 w 1355027"/>
                  <a:gd name="connsiteY63" fmla="*/ 202461 h 258407"/>
                  <a:gd name="connsiteX64" fmla="*/ 382588 w 1355027"/>
                  <a:gd name="connsiteY64" fmla="*/ 202461 h 258407"/>
                  <a:gd name="connsiteX65" fmla="*/ 384444 w 1355027"/>
                  <a:gd name="connsiteY65" fmla="*/ 209306 h 258407"/>
                  <a:gd name="connsiteX66" fmla="*/ 387227 w 1355027"/>
                  <a:gd name="connsiteY66" fmla="*/ 165865 h 258407"/>
                  <a:gd name="connsiteX67" fmla="*/ 389744 w 1355027"/>
                  <a:gd name="connsiteY67" fmla="*/ 203382 h 258407"/>
                  <a:gd name="connsiteX68" fmla="*/ 392527 w 1355027"/>
                  <a:gd name="connsiteY68" fmla="*/ 213387 h 258407"/>
                  <a:gd name="connsiteX69" fmla="*/ 395310 w 1355027"/>
                  <a:gd name="connsiteY69" fmla="*/ 210228 h 258407"/>
                  <a:gd name="connsiteX70" fmla="*/ 396901 w 1355027"/>
                  <a:gd name="connsiteY70" fmla="*/ 230763 h 258407"/>
                  <a:gd name="connsiteX71" fmla="*/ 398491 w 1355027"/>
                  <a:gd name="connsiteY71" fmla="*/ 221680 h 258407"/>
                  <a:gd name="connsiteX72" fmla="*/ 401936 w 1355027"/>
                  <a:gd name="connsiteY72" fmla="*/ 225761 h 258407"/>
                  <a:gd name="connsiteX73" fmla="*/ 404189 w 1355027"/>
                  <a:gd name="connsiteY73" fmla="*/ 207068 h 258407"/>
                  <a:gd name="connsiteX74" fmla="*/ 407635 w 1355027"/>
                  <a:gd name="connsiteY74" fmla="*/ 215757 h 258407"/>
                  <a:gd name="connsiteX75" fmla="*/ 412671 w 1355027"/>
                  <a:gd name="connsiteY75" fmla="*/ 216283 h 258407"/>
                  <a:gd name="connsiteX76" fmla="*/ 415454 w 1355027"/>
                  <a:gd name="connsiteY76" fmla="*/ 230895 h 258407"/>
                  <a:gd name="connsiteX77" fmla="*/ 417706 w 1355027"/>
                  <a:gd name="connsiteY77" fmla="*/ 214440 h 258407"/>
                  <a:gd name="connsiteX78" fmla="*/ 423670 w 1355027"/>
                  <a:gd name="connsiteY78" fmla="*/ 232343 h 258407"/>
                  <a:gd name="connsiteX79" fmla="*/ 428706 w 1355027"/>
                  <a:gd name="connsiteY79" fmla="*/ 222339 h 258407"/>
                  <a:gd name="connsiteX80" fmla="*/ 430296 w 1355027"/>
                  <a:gd name="connsiteY80" fmla="*/ 210491 h 258407"/>
                  <a:gd name="connsiteX81" fmla="*/ 434006 w 1355027"/>
                  <a:gd name="connsiteY81" fmla="*/ 225630 h 258407"/>
                  <a:gd name="connsiteX82" fmla="*/ 438115 w 1355027"/>
                  <a:gd name="connsiteY82" fmla="*/ 234713 h 258407"/>
                  <a:gd name="connsiteX83" fmla="*/ 440368 w 1355027"/>
                  <a:gd name="connsiteY83" fmla="*/ 222339 h 258407"/>
                  <a:gd name="connsiteX84" fmla="*/ 448584 w 1355027"/>
                  <a:gd name="connsiteY84" fmla="*/ 236950 h 258407"/>
                  <a:gd name="connsiteX85" fmla="*/ 454812 w 1355027"/>
                  <a:gd name="connsiteY85" fmla="*/ 235108 h 258407"/>
                  <a:gd name="connsiteX86" fmla="*/ 460113 w 1355027"/>
                  <a:gd name="connsiteY86" fmla="*/ 239188 h 258407"/>
                  <a:gd name="connsiteX87" fmla="*/ 464221 w 1355027"/>
                  <a:gd name="connsiteY87" fmla="*/ 235108 h 258407"/>
                  <a:gd name="connsiteX88" fmla="*/ 470847 w 1355027"/>
                  <a:gd name="connsiteY88" fmla="*/ 241031 h 258407"/>
                  <a:gd name="connsiteX89" fmla="*/ 476546 w 1355027"/>
                  <a:gd name="connsiteY89" fmla="*/ 225498 h 258407"/>
                  <a:gd name="connsiteX90" fmla="*/ 482509 w 1355027"/>
                  <a:gd name="connsiteY90" fmla="*/ 241031 h 258407"/>
                  <a:gd name="connsiteX91" fmla="*/ 509544 w 1355027"/>
                  <a:gd name="connsiteY91" fmla="*/ 241031 h 258407"/>
                  <a:gd name="connsiteX92" fmla="*/ 512989 w 1355027"/>
                  <a:gd name="connsiteY92" fmla="*/ 236029 h 258407"/>
                  <a:gd name="connsiteX93" fmla="*/ 521735 w 1355027"/>
                  <a:gd name="connsiteY93" fmla="*/ 241031 h 258407"/>
                  <a:gd name="connsiteX94" fmla="*/ 529952 w 1355027"/>
                  <a:gd name="connsiteY94" fmla="*/ 241031 h 258407"/>
                  <a:gd name="connsiteX95" fmla="*/ 531542 w 1355027"/>
                  <a:gd name="connsiteY95" fmla="*/ 238267 h 258407"/>
                  <a:gd name="connsiteX96" fmla="*/ 534723 w 1355027"/>
                  <a:gd name="connsiteY96" fmla="*/ 241821 h 258407"/>
                  <a:gd name="connsiteX97" fmla="*/ 553010 w 1355027"/>
                  <a:gd name="connsiteY97" fmla="*/ 241821 h 258407"/>
                  <a:gd name="connsiteX98" fmla="*/ 556191 w 1355027"/>
                  <a:gd name="connsiteY98" fmla="*/ 239188 h 258407"/>
                  <a:gd name="connsiteX99" fmla="*/ 560299 w 1355027"/>
                  <a:gd name="connsiteY99" fmla="*/ 241821 h 258407"/>
                  <a:gd name="connsiteX100" fmla="*/ 613705 w 1355027"/>
                  <a:gd name="connsiteY100" fmla="*/ 236029 h 258407"/>
                  <a:gd name="connsiteX101" fmla="*/ 632523 w 1355027"/>
                  <a:gd name="connsiteY101" fmla="*/ 230105 h 258407"/>
                  <a:gd name="connsiteX102" fmla="*/ 665521 w 1355027"/>
                  <a:gd name="connsiteY102" fmla="*/ 224182 h 258407"/>
                  <a:gd name="connsiteX103" fmla="*/ 694410 w 1355027"/>
                  <a:gd name="connsiteY103" fmla="*/ 215493 h 258407"/>
                  <a:gd name="connsiteX104" fmla="*/ 710446 w 1355027"/>
                  <a:gd name="connsiteY104" fmla="*/ 214967 h 258407"/>
                  <a:gd name="connsiteX105" fmla="*/ 728998 w 1355027"/>
                  <a:gd name="connsiteY105" fmla="*/ 208516 h 258407"/>
                  <a:gd name="connsiteX106" fmla="*/ 742781 w 1355027"/>
                  <a:gd name="connsiteY106" fmla="*/ 208516 h 258407"/>
                  <a:gd name="connsiteX107" fmla="*/ 776043 w 1355027"/>
                  <a:gd name="connsiteY107" fmla="*/ 193378 h 258407"/>
                  <a:gd name="connsiteX108" fmla="*/ 782934 w 1355027"/>
                  <a:gd name="connsiteY108" fmla="*/ 196537 h 258407"/>
                  <a:gd name="connsiteX109" fmla="*/ 789163 w 1355027"/>
                  <a:gd name="connsiteY109" fmla="*/ 196142 h 258407"/>
                  <a:gd name="connsiteX110" fmla="*/ 791946 w 1355027"/>
                  <a:gd name="connsiteY110" fmla="*/ 185216 h 258407"/>
                  <a:gd name="connsiteX111" fmla="*/ 796982 w 1355027"/>
                  <a:gd name="connsiteY111" fmla="*/ 196669 h 258407"/>
                  <a:gd name="connsiteX112" fmla="*/ 800427 w 1355027"/>
                  <a:gd name="connsiteY112" fmla="*/ 139538 h 258407"/>
                  <a:gd name="connsiteX113" fmla="*/ 802283 w 1355027"/>
                  <a:gd name="connsiteY113" fmla="*/ 192588 h 258407"/>
                  <a:gd name="connsiteX114" fmla="*/ 806656 w 1355027"/>
                  <a:gd name="connsiteY114" fmla="*/ 171131 h 258407"/>
                  <a:gd name="connsiteX115" fmla="*/ 809439 w 1355027"/>
                  <a:gd name="connsiteY115" fmla="*/ 185743 h 258407"/>
                  <a:gd name="connsiteX116" fmla="*/ 811029 w 1355027"/>
                  <a:gd name="connsiteY116" fmla="*/ 142697 h 258407"/>
                  <a:gd name="connsiteX117" fmla="*/ 813547 w 1355027"/>
                  <a:gd name="connsiteY117" fmla="*/ 196274 h 258407"/>
                  <a:gd name="connsiteX118" fmla="*/ 816992 w 1355027"/>
                  <a:gd name="connsiteY118" fmla="*/ 0 h 258407"/>
                  <a:gd name="connsiteX119" fmla="*/ 818848 w 1355027"/>
                  <a:gd name="connsiteY119" fmla="*/ 215493 h 258407"/>
                  <a:gd name="connsiteX120" fmla="*/ 822558 w 1355027"/>
                  <a:gd name="connsiteY120" fmla="*/ 207332 h 258407"/>
                  <a:gd name="connsiteX121" fmla="*/ 822558 w 1355027"/>
                  <a:gd name="connsiteY121" fmla="*/ 216020 h 258407"/>
                  <a:gd name="connsiteX122" fmla="*/ 826666 w 1355027"/>
                  <a:gd name="connsiteY122" fmla="*/ 77404 h 258407"/>
                  <a:gd name="connsiteX123" fmla="*/ 829847 w 1355027"/>
                  <a:gd name="connsiteY123" fmla="*/ 137300 h 258407"/>
                  <a:gd name="connsiteX124" fmla="*/ 832100 w 1355027"/>
                  <a:gd name="connsiteY124" fmla="*/ 216415 h 258407"/>
                  <a:gd name="connsiteX125" fmla="*/ 834883 w 1355027"/>
                  <a:gd name="connsiteY125" fmla="*/ 206805 h 258407"/>
                  <a:gd name="connsiteX126" fmla="*/ 837666 w 1355027"/>
                  <a:gd name="connsiteY126" fmla="*/ 211807 h 258407"/>
                  <a:gd name="connsiteX127" fmla="*/ 842039 w 1355027"/>
                  <a:gd name="connsiteY127" fmla="*/ 207200 h 258407"/>
                  <a:gd name="connsiteX128" fmla="*/ 848002 w 1355027"/>
                  <a:gd name="connsiteY128" fmla="*/ 214967 h 258407"/>
                  <a:gd name="connsiteX129" fmla="*/ 853038 w 1355027"/>
                  <a:gd name="connsiteY129" fmla="*/ 209438 h 258407"/>
                  <a:gd name="connsiteX130" fmla="*/ 860857 w 1355027"/>
                  <a:gd name="connsiteY130" fmla="*/ 216283 h 258407"/>
                  <a:gd name="connsiteX131" fmla="*/ 866820 w 1355027"/>
                  <a:gd name="connsiteY131" fmla="*/ 205752 h 258407"/>
                  <a:gd name="connsiteX132" fmla="*/ 872121 w 1355027"/>
                  <a:gd name="connsiteY132" fmla="*/ 215362 h 258407"/>
                  <a:gd name="connsiteX133" fmla="*/ 879410 w 1355027"/>
                  <a:gd name="connsiteY133" fmla="*/ 215888 h 258407"/>
                  <a:gd name="connsiteX134" fmla="*/ 883518 w 1355027"/>
                  <a:gd name="connsiteY134" fmla="*/ 224576 h 258407"/>
                  <a:gd name="connsiteX135" fmla="*/ 887626 w 1355027"/>
                  <a:gd name="connsiteY135" fmla="*/ 223260 h 258407"/>
                  <a:gd name="connsiteX136" fmla="*/ 892662 w 1355027"/>
                  <a:gd name="connsiteY136" fmla="*/ 198512 h 258407"/>
                  <a:gd name="connsiteX137" fmla="*/ 898890 w 1355027"/>
                  <a:gd name="connsiteY137" fmla="*/ 204041 h 258407"/>
                  <a:gd name="connsiteX138" fmla="*/ 906179 w 1355027"/>
                  <a:gd name="connsiteY138" fmla="*/ 226419 h 258407"/>
                  <a:gd name="connsiteX139" fmla="*/ 913070 w 1355027"/>
                  <a:gd name="connsiteY139" fmla="*/ 230500 h 258407"/>
                  <a:gd name="connsiteX140" fmla="*/ 920359 w 1355027"/>
                  <a:gd name="connsiteY140" fmla="*/ 218653 h 258407"/>
                  <a:gd name="connsiteX141" fmla="*/ 935466 w 1355027"/>
                  <a:gd name="connsiteY141" fmla="*/ 227341 h 258407"/>
                  <a:gd name="connsiteX142" fmla="*/ 943285 w 1355027"/>
                  <a:gd name="connsiteY142" fmla="*/ 226814 h 258407"/>
                  <a:gd name="connsiteX143" fmla="*/ 946466 w 1355027"/>
                  <a:gd name="connsiteY143" fmla="*/ 206673 h 258407"/>
                  <a:gd name="connsiteX144" fmla="*/ 949646 w 1355027"/>
                  <a:gd name="connsiteY144" fmla="*/ 224971 h 258407"/>
                  <a:gd name="connsiteX145" fmla="*/ 954947 w 1355027"/>
                  <a:gd name="connsiteY145" fmla="*/ 213124 h 258407"/>
                  <a:gd name="connsiteX146" fmla="*/ 956537 w 1355027"/>
                  <a:gd name="connsiteY146" fmla="*/ 197985 h 258407"/>
                  <a:gd name="connsiteX147" fmla="*/ 960910 w 1355027"/>
                  <a:gd name="connsiteY147" fmla="*/ 209833 h 258407"/>
                  <a:gd name="connsiteX148" fmla="*/ 975355 w 1355027"/>
                  <a:gd name="connsiteY148" fmla="*/ 175738 h 258407"/>
                  <a:gd name="connsiteX149" fmla="*/ 983174 w 1355027"/>
                  <a:gd name="connsiteY149" fmla="*/ 198907 h 258407"/>
                  <a:gd name="connsiteX150" fmla="*/ 990065 w 1355027"/>
                  <a:gd name="connsiteY150" fmla="*/ 168235 h 258407"/>
                  <a:gd name="connsiteX151" fmla="*/ 996691 w 1355027"/>
                  <a:gd name="connsiteY151" fmla="*/ 173764 h 258407"/>
                  <a:gd name="connsiteX152" fmla="*/ 1003317 w 1355027"/>
                  <a:gd name="connsiteY152" fmla="*/ 161390 h 258407"/>
                  <a:gd name="connsiteX153" fmla="*/ 1006100 w 1355027"/>
                  <a:gd name="connsiteY153" fmla="*/ 148094 h 258407"/>
                  <a:gd name="connsiteX154" fmla="*/ 1007690 w 1355027"/>
                  <a:gd name="connsiteY154" fmla="*/ 105970 h 258407"/>
                  <a:gd name="connsiteX155" fmla="*/ 1009943 w 1355027"/>
                  <a:gd name="connsiteY155" fmla="*/ 181399 h 258407"/>
                  <a:gd name="connsiteX156" fmla="*/ 1019087 w 1355027"/>
                  <a:gd name="connsiteY156" fmla="*/ 171394 h 258407"/>
                  <a:gd name="connsiteX157" fmla="*/ 1019087 w 1355027"/>
                  <a:gd name="connsiteY157" fmla="*/ 120845 h 258407"/>
                  <a:gd name="connsiteX158" fmla="*/ 1023858 w 1355027"/>
                  <a:gd name="connsiteY158" fmla="*/ 160863 h 258407"/>
                  <a:gd name="connsiteX159" fmla="*/ 1023858 w 1355027"/>
                  <a:gd name="connsiteY159" fmla="*/ 136115 h 258407"/>
                  <a:gd name="connsiteX160" fmla="*/ 1027038 w 1355027"/>
                  <a:gd name="connsiteY160" fmla="*/ 180082 h 258407"/>
                  <a:gd name="connsiteX161" fmla="*/ 1031411 w 1355027"/>
                  <a:gd name="connsiteY161" fmla="*/ 175607 h 258407"/>
                  <a:gd name="connsiteX162" fmla="*/ 1033664 w 1355027"/>
                  <a:gd name="connsiteY162" fmla="*/ 185480 h 258407"/>
                  <a:gd name="connsiteX163" fmla="*/ 1039363 w 1355027"/>
                  <a:gd name="connsiteY163" fmla="*/ 178634 h 258407"/>
                  <a:gd name="connsiteX164" fmla="*/ 1043206 w 1355027"/>
                  <a:gd name="connsiteY164" fmla="*/ 187717 h 258407"/>
                  <a:gd name="connsiteX165" fmla="*/ 1050760 w 1355027"/>
                  <a:gd name="connsiteY165" fmla="*/ 184558 h 258407"/>
                  <a:gd name="connsiteX166" fmla="*/ 1056988 w 1355027"/>
                  <a:gd name="connsiteY166" fmla="*/ 142039 h 258407"/>
                  <a:gd name="connsiteX167" fmla="*/ 1056988 w 1355027"/>
                  <a:gd name="connsiteY167" fmla="*/ 156651 h 258407"/>
                  <a:gd name="connsiteX168" fmla="*/ 1058843 w 1355027"/>
                  <a:gd name="connsiteY168" fmla="*/ 158888 h 258407"/>
                  <a:gd name="connsiteX169" fmla="*/ 1058843 w 1355027"/>
                  <a:gd name="connsiteY169" fmla="*/ 173500 h 258407"/>
                  <a:gd name="connsiteX170" fmla="*/ 1062952 w 1355027"/>
                  <a:gd name="connsiteY170" fmla="*/ 179424 h 258407"/>
                  <a:gd name="connsiteX171" fmla="*/ 1066132 w 1355027"/>
                  <a:gd name="connsiteY171" fmla="*/ 190350 h 258407"/>
                  <a:gd name="connsiteX172" fmla="*/ 1069843 w 1355027"/>
                  <a:gd name="connsiteY172" fmla="*/ 190745 h 258407"/>
                  <a:gd name="connsiteX173" fmla="*/ 1069843 w 1355027"/>
                  <a:gd name="connsiteY173" fmla="*/ 181135 h 258407"/>
                  <a:gd name="connsiteX174" fmla="*/ 1073023 w 1355027"/>
                  <a:gd name="connsiteY174" fmla="*/ 146778 h 258407"/>
                  <a:gd name="connsiteX175" fmla="*/ 1074216 w 1355027"/>
                  <a:gd name="connsiteY175" fmla="*/ 173369 h 258407"/>
                  <a:gd name="connsiteX176" fmla="*/ 1076469 w 1355027"/>
                  <a:gd name="connsiteY176" fmla="*/ 159678 h 258407"/>
                  <a:gd name="connsiteX177" fmla="*/ 1078722 w 1355027"/>
                  <a:gd name="connsiteY177" fmla="*/ 188507 h 258407"/>
                  <a:gd name="connsiteX178" fmla="*/ 1082432 w 1355027"/>
                  <a:gd name="connsiteY178" fmla="*/ 196274 h 258407"/>
                  <a:gd name="connsiteX179" fmla="*/ 1085613 w 1355027"/>
                  <a:gd name="connsiteY179" fmla="*/ 120581 h 258407"/>
                  <a:gd name="connsiteX180" fmla="*/ 1088793 w 1355027"/>
                  <a:gd name="connsiteY180" fmla="*/ 185875 h 258407"/>
                  <a:gd name="connsiteX181" fmla="*/ 1095419 w 1355027"/>
                  <a:gd name="connsiteY181" fmla="*/ 162969 h 258407"/>
                  <a:gd name="connsiteX182" fmla="*/ 1098600 w 1355027"/>
                  <a:gd name="connsiteY182" fmla="*/ 204172 h 258407"/>
                  <a:gd name="connsiteX183" fmla="*/ 1102708 w 1355027"/>
                  <a:gd name="connsiteY183" fmla="*/ 169420 h 258407"/>
                  <a:gd name="connsiteX184" fmla="*/ 1105491 w 1355027"/>
                  <a:gd name="connsiteY184" fmla="*/ 209175 h 258407"/>
                  <a:gd name="connsiteX185" fmla="*/ 1108009 w 1355027"/>
                  <a:gd name="connsiteY185" fmla="*/ 169815 h 258407"/>
                  <a:gd name="connsiteX186" fmla="*/ 1111189 w 1355027"/>
                  <a:gd name="connsiteY186" fmla="*/ 217336 h 258407"/>
                  <a:gd name="connsiteX187" fmla="*/ 1113972 w 1355027"/>
                  <a:gd name="connsiteY187" fmla="*/ 217336 h 258407"/>
                  <a:gd name="connsiteX188" fmla="*/ 1116755 w 1355027"/>
                  <a:gd name="connsiteY188" fmla="*/ 172052 h 258407"/>
                  <a:gd name="connsiteX189" fmla="*/ 1120863 w 1355027"/>
                  <a:gd name="connsiteY189" fmla="*/ 161521 h 258407"/>
                  <a:gd name="connsiteX190" fmla="*/ 1120863 w 1355027"/>
                  <a:gd name="connsiteY190" fmla="*/ 137300 h 258407"/>
                  <a:gd name="connsiteX191" fmla="*/ 1122718 w 1355027"/>
                  <a:gd name="connsiteY191" fmla="*/ 175475 h 258407"/>
                  <a:gd name="connsiteX192" fmla="*/ 1125236 w 1355027"/>
                  <a:gd name="connsiteY192" fmla="*/ 206937 h 258407"/>
                  <a:gd name="connsiteX193" fmla="*/ 1127489 w 1355027"/>
                  <a:gd name="connsiteY193" fmla="*/ 152965 h 258407"/>
                  <a:gd name="connsiteX194" fmla="*/ 1132525 w 1355027"/>
                  <a:gd name="connsiteY194" fmla="*/ 207332 h 258407"/>
                  <a:gd name="connsiteX195" fmla="*/ 1135043 w 1355027"/>
                  <a:gd name="connsiteY195" fmla="*/ 190350 h 258407"/>
                  <a:gd name="connsiteX196" fmla="*/ 1137296 w 1355027"/>
                  <a:gd name="connsiteY196" fmla="*/ 190350 h 258407"/>
                  <a:gd name="connsiteX197" fmla="*/ 1140476 w 1355027"/>
                  <a:gd name="connsiteY197" fmla="*/ 145066 h 258407"/>
                  <a:gd name="connsiteX198" fmla="*/ 1143657 w 1355027"/>
                  <a:gd name="connsiteY198" fmla="*/ 163364 h 258407"/>
                  <a:gd name="connsiteX199" fmla="*/ 1149355 w 1355027"/>
                  <a:gd name="connsiteY199" fmla="*/ 28829 h 258407"/>
                  <a:gd name="connsiteX200" fmla="*/ 1153728 w 1355027"/>
                  <a:gd name="connsiteY200" fmla="*/ 101494 h 258407"/>
                  <a:gd name="connsiteX201" fmla="*/ 1156909 w 1355027"/>
                  <a:gd name="connsiteY201" fmla="*/ 40150 h 258407"/>
                  <a:gd name="connsiteX202" fmla="*/ 1158499 w 1355027"/>
                  <a:gd name="connsiteY202" fmla="*/ 154018 h 258407"/>
                  <a:gd name="connsiteX203" fmla="*/ 1161945 w 1355027"/>
                  <a:gd name="connsiteY203" fmla="*/ 70822 h 258407"/>
                  <a:gd name="connsiteX204" fmla="*/ 1165125 w 1355027"/>
                  <a:gd name="connsiteY204" fmla="*/ 117422 h 258407"/>
                  <a:gd name="connsiteX205" fmla="*/ 1171751 w 1355027"/>
                  <a:gd name="connsiteY205" fmla="*/ 145330 h 258407"/>
                  <a:gd name="connsiteX206" fmla="*/ 1174004 w 1355027"/>
                  <a:gd name="connsiteY206" fmla="*/ 131639 h 258407"/>
                  <a:gd name="connsiteX207" fmla="*/ 1176522 w 1355027"/>
                  <a:gd name="connsiteY207" fmla="*/ 184163 h 258407"/>
                  <a:gd name="connsiteX208" fmla="*/ 1180233 w 1355027"/>
                  <a:gd name="connsiteY208" fmla="*/ 161258 h 258407"/>
                  <a:gd name="connsiteX209" fmla="*/ 1180233 w 1355027"/>
                  <a:gd name="connsiteY209" fmla="*/ 207068 h 258407"/>
                  <a:gd name="connsiteX210" fmla="*/ 1184076 w 1355027"/>
                  <a:gd name="connsiteY210" fmla="*/ 205752 h 258407"/>
                  <a:gd name="connsiteX211" fmla="*/ 1188184 w 1355027"/>
                  <a:gd name="connsiteY211" fmla="*/ 229052 h 258407"/>
                  <a:gd name="connsiteX212" fmla="*/ 1193220 w 1355027"/>
                  <a:gd name="connsiteY212" fmla="*/ 220759 h 258407"/>
                  <a:gd name="connsiteX213" fmla="*/ 1196930 w 1355027"/>
                  <a:gd name="connsiteY213" fmla="*/ 232212 h 258407"/>
                  <a:gd name="connsiteX214" fmla="*/ 1201038 w 1355027"/>
                  <a:gd name="connsiteY214" fmla="*/ 225366 h 258407"/>
                  <a:gd name="connsiteX215" fmla="*/ 1206074 w 1355027"/>
                  <a:gd name="connsiteY215" fmla="*/ 224971 h 258407"/>
                  <a:gd name="connsiteX216" fmla="*/ 1208857 w 1355027"/>
                  <a:gd name="connsiteY216" fmla="*/ 196669 h 258407"/>
                  <a:gd name="connsiteX217" fmla="*/ 1211110 w 1355027"/>
                  <a:gd name="connsiteY217" fmla="*/ 215493 h 258407"/>
                  <a:gd name="connsiteX218" fmla="*/ 1212700 w 1355027"/>
                  <a:gd name="connsiteY218" fmla="*/ 215493 h 258407"/>
                  <a:gd name="connsiteX219" fmla="*/ 1212700 w 1355027"/>
                  <a:gd name="connsiteY219" fmla="*/ 231027 h 258407"/>
                  <a:gd name="connsiteX220" fmla="*/ 1217074 w 1355027"/>
                  <a:gd name="connsiteY220" fmla="*/ 213650 h 258407"/>
                  <a:gd name="connsiteX221" fmla="*/ 1221844 w 1355027"/>
                  <a:gd name="connsiteY221" fmla="*/ 235108 h 258407"/>
                  <a:gd name="connsiteX222" fmla="*/ 1225555 w 1355027"/>
                  <a:gd name="connsiteY222" fmla="*/ 227736 h 258407"/>
                  <a:gd name="connsiteX223" fmla="*/ 1231253 w 1355027"/>
                  <a:gd name="connsiteY223" fmla="*/ 237740 h 258407"/>
                  <a:gd name="connsiteX224" fmla="*/ 1245035 w 1355027"/>
                  <a:gd name="connsiteY224" fmla="*/ 237345 h 258407"/>
                  <a:gd name="connsiteX225" fmla="*/ 1250734 w 1355027"/>
                  <a:gd name="connsiteY225" fmla="*/ 223655 h 258407"/>
                  <a:gd name="connsiteX226" fmla="*/ 1253914 w 1355027"/>
                  <a:gd name="connsiteY226" fmla="*/ 233265 h 258407"/>
                  <a:gd name="connsiteX227" fmla="*/ 1259878 w 1355027"/>
                  <a:gd name="connsiteY227" fmla="*/ 233659 h 258407"/>
                  <a:gd name="connsiteX228" fmla="*/ 1266106 w 1355027"/>
                  <a:gd name="connsiteY228" fmla="*/ 241295 h 258407"/>
                  <a:gd name="connsiteX229" fmla="*/ 1268359 w 1355027"/>
                  <a:gd name="connsiteY229" fmla="*/ 122951 h 258407"/>
                  <a:gd name="connsiteX230" fmla="*/ 1270877 w 1355027"/>
                  <a:gd name="connsiteY230" fmla="*/ 258408 h 258407"/>
                  <a:gd name="connsiteX231" fmla="*/ 1274588 w 1355027"/>
                  <a:gd name="connsiteY231" fmla="*/ 235502 h 258407"/>
                  <a:gd name="connsiteX232" fmla="*/ 1355028 w 1355027"/>
                  <a:gd name="connsiteY232" fmla="*/ 236819 h 25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1355027" h="258407">
                    <a:moveTo>
                      <a:pt x="0" y="240900"/>
                    </a:moveTo>
                    <a:lnTo>
                      <a:pt x="35516" y="240900"/>
                    </a:lnTo>
                    <a:cubicBezTo>
                      <a:pt x="35516" y="240900"/>
                      <a:pt x="45190" y="233528"/>
                      <a:pt x="46250" y="233528"/>
                    </a:cubicBezTo>
                    <a:cubicBezTo>
                      <a:pt x="47310" y="233528"/>
                      <a:pt x="54996" y="240900"/>
                      <a:pt x="54996" y="240900"/>
                    </a:cubicBezTo>
                    <a:lnTo>
                      <a:pt x="109330" y="240900"/>
                    </a:lnTo>
                    <a:lnTo>
                      <a:pt x="113703" y="233528"/>
                    </a:lnTo>
                    <a:lnTo>
                      <a:pt x="116221" y="240900"/>
                    </a:lnTo>
                    <a:lnTo>
                      <a:pt x="119004" y="233528"/>
                    </a:lnTo>
                    <a:lnTo>
                      <a:pt x="124305" y="240900"/>
                    </a:lnTo>
                    <a:lnTo>
                      <a:pt x="134641" y="240900"/>
                    </a:lnTo>
                    <a:lnTo>
                      <a:pt x="145376" y="229974"/>
                    </a:lnTo>
                    <a:lnTo>
                      <a:pt x="148556" y="235502"/>
                    </a:lnTo>
                    <a:lnTo>
                      <a:pt x="152002" y="229974"/>
                    </a:lnTo>
                    <a:lnTo>
                      <a:pt x="155712" y="235502"/>
                    </a:lnTo>
                    <a:lnTo>
                      <a:pt x="158893" y="229974"/>
                    </a:lnTo>
                    <a:cubicBezTo>
                      <a:pt x="158893" y="229974"/>
                      <a:pt x="158230" y="236424"/>
                      <a:pt x="160218" y="235502"/>
                    </a:cubicBezTo>
                    <a:cubicBezTo>
                      <a:pt x="162073" y="234581"/>
                      <a:pt x="168699" y="235502"/>
                      <a:pt x="168699" y="235502"/>
                    </a:cubicBezTo>
                    <a:lnTo>
                      <a:pt x="174398" y="224576"/>
                    </a:lnTo>
                    <a:cubicBezTo>
                      <a:pt x="174398" y="224576"/>
                      <a:pt x="179964" y="234186"/>
                      <a:pt x="181024" y="232738"/>
                    </a:cubicBezTo>
                    <a:cubicBezTo>
                      <a:pt x="181951" y="231422"/>
                      <a:pt x="186325" y="224576"/>
                      <a:pt x="186325" y="224576"/>
                    </a:cubicBezTo>
                    <a:cubicBezTo>
                      <a:pt x="186325" y="224576"/>
                      <a:pt x="187650" y="229184"/>
                      <a:pt x="188843" y="229184"/>
                    </a:cubicBezTo>
                    <a:cubicBezTo>
                      <a:pt x="190035" y="229184"/>
                      <a:pt x="196131" y="222339"/>
                      <a:pt x="196131" y="222339"/>
                    </a:cubicBezTo>
                    <a:lnTo>
                      <a:pt x="200239" y="234713"/>
                    </a:lnTo>
                    <a:lnTo>
                      <a:pt x="207130" y="227867"/>
                    </a:lnTo>
                    <a:cubicBezTo>
                      <a:pt x="207130" y="227867"/>
                      <a:pt x="212431" y="234713"/>
                      <a:pt x="213359" y="233791"/>
                    </a:cubicBezTo>
                    <a:cubicBezTo>
                      <a:pt x="214287" y="232870"/>
                      <a:pt x="218660" y="228789"/>
                      <a:pt x="218660" y="228789"/>
                    </a:cubicBezTo>
                    <a:lnTo>
                      <a:pt x="222105" y="216020"/>
                    </a:lnTo>
                    <a:lnTo>
                      <a:pt x="225816" y="212861"/>
                    </a:lnTo>
                    <a:lnTo>
                      <a:pt x="230587" y="222865"/>
                    </a:lnTo>
                    <a:lnTo>
                      <a:pt x="232840" y="217336"/>
                    </a:lnTo>
                    <a:lnTo>
                      <a:pt x="238140" y="212729"/>
                    </a:lnTo>
                    <a:lnTo>
                      <a:pt x="240658" y="223655"/>
                    </a:lnTo>
                    <a:lnTo>
                      <a:pt x="244104" y="217731"/>
                    </a:lnTo>
                    <a:lnTo>
                      <a:pt x="249140" y="215888"/>
                    </a:lnTo>
                    <a:lnTo>
                      <a:pt x="251392" y="209043"/>
                    </a:lnTo>
                    <a:lnTo>
                      <a:pt x="254175" y="213124"/>
                    </a:lnTo>
                    <a:cubicBezTo>
                      <a:pt x="254175" y="213124"/>
                      <a:pt x="258814" y="210886"/>
                      <a:pt x="258814" y="212202"/>
                    </a:cubicBezTo>
                    <a:cubicBezTo>
                      <a:pt x="258814" y="213519"/>
                      <a:pt x="257886" y="226419"/>
                      <a:pt x="258814" y="224971"/>
                    </a:cubicBezTo>
                    <a:cubicBezTo>
                      <a:pt x="259741" y="223655"/>
                      <a:pt x="264512" y="217205"/>
                      <a:pt x="264512" y="217205"/>
                    </a:cubicBezTo>
                    <a:lnTo>
                      <a:pt x="270210" y="229052"/>
                    </a:lnTo>
                    <a:lnTo>
                      <a:pt x="277102" y="217205"/>
                    </a:lnTo>
                    <a:lnTo>
                      <a:pt x="280282" y="224971"/>
                    </a:lnTo>
                    <a:lnTo>
                      <a:pt x="288498" y="213124"/>
                    </a:lnTo>
                    <a:lnTo>
                      <a:pt x="296582" y="227736"/>
                    </a:lnTo>
                    <a:lnTo>
                      <a:pt x="298835" y="213124"/>
                    </a:lnTo>
                    <a:lnTo>
                      <a:pt x="302016" y="224971"/>
                    </a:lnTo>
                    <a:lnTo>
                      <a:pt x="304533" y="219048"/>
                    </a:lnTo>
                    <a:lnTo>
                      <a:pt x="310232" y="228262"/>
                    </a:lnTo>
                    <a:lnTo>
                      <a:pt x="313412" y="219574"/>
                    </a:lnTo>
                    <a:lnTo>
                      <a:pt x="322821" y="228789"/>
                    </a:lnTo>
                    <a:lnTo>
                      <a:pt x="325339" y="215493"/>
                    </a:lnTo>
                    <a:lnTo>
                      <a:pt x="327857" y="225103"/>
                    </a:lnTo>
                    <a:lnTo>
                      <a:pt x="330110" y="217336"/>
                    </a:lnTo>
                    <a:lnTo>
                      <a:pt x="333291" y="225103"/>
                    </a:lnTo>
                    <a:lnTo>
                      <a:pt x="337399" y="209043"/>
                    </a:lnTo>
                    <a:lnTo>
                      <a:pt x="340182" y="227341"/>
                    </a:lnTo>
                    <a:lnTo>
                      <a:pt x="344820" y="231422"/>
                    </a:lnTo>
                    <a:lnTo>
                      <a:pt x="348663" y="233659"/>
                    </a:lnTo>
                    <a:lnTo>
                      <a:pt x="353301" y="224971"/>
                    </a:lnTo>
                    <a:lnTo>
                      <a:pt x="360590" y="234581"/>
                    </a:lnTo>
                    <a:lnTo>
                      <a:pt x="366818" y="210754"/>
                    </a:lnTo>
                    <a:lnTo>
                      <a:pt x="372517" y="230895"/>
                    </a:lnTo>
                    <a:lnTo>
                      <a:pt x="375300" y="216678"/>
                    </a:lnTo>
                    <a:lnTo>
                      <a:pt x="378480" y="202461"/>
                    </a:lnTo>
                    <a:lnTo>
                      <a:pt x="382588" y="202461"/>
                    </a:lnTo>
                    <a:lnTo>
                      <a:pt x="384444" y="209306"/>
                    </a:lnTo>
                    <a:lnTo>
                      <a:pt x="387227" y="165865"/>
                    </a:lnTo>
                    <a:lnTo>
                      <a:pt x="389744" y="203382"/>
                    </a:lnTo>
                    <a:lnTo>
                      <a:pt x="392527" y="213387"/>
                    </a:lnTo>
                    <a:lnTo>
                      <a:pt x="395310" y="210228"/>
                    </a:lnTo>
                    <a:lnTo>
                      <a:pt x="396901" y="230763"/>
                    </a:lnTo>
                    <a:lnTo>
                      <a:pt x="398491" y="221680"/>
                    </a:lnTo>
                    <a:lnTo>
                      <a:pt x="401936" y="225761"/>
                    </a:lnTo>
                    <a:lnTo>
                      <a:pt x="404189" y="207068"/>
                    </a:lnTo>
                    <a:lnTo>
                      <a:pt x="407635" y="215757"/>
                    </a:lnTo>
                    <a:lnTo>
                      <a:pt x="412671" y="216283"/>
                    </a:lnTo>
                    <a:lnTo>
                      <a:pt x="415454" y="230895"/>
                    </a:lnTo>
                    <a:lnTo>
                      <a:pt x="417706" y="214440"/>
                    </a:lnTo>
                    <a:lnTo>
                      <a:pt x="423670" y="232343"/>
                    </a:lnTo>
                    <a:cubicBezTo>
                      <a:pt x="423670" y="232343"/>
                      <a:pt x="428441" y="223655"/>
                      <a:pt x="428706" y="222339"/>
                    </a:cubicBezTo>
                    <a:cubicBezTo>
                      <a:pt x="428971" y="220891"/>
                      <a:pt x="430296" y="210491"/>
                      <a:pt x="430296" y="210491"/>
                    </a:cubicBezTo>
                    <a:lnTo>
                      <a:pt x="434006" y="225630"/>
                    </a:lnTo>
                    <a:lnTo>
                      <a:pt x="438115" y="234713"/>
                    </a:lnTo>
                    <a:lnTo>
                      <a:pt x="440368" y="222339"/>
                    </a:lnTo>
                    <a:lnTo>
                      <a:pt x="448584" y="236950"/>
                    </a:lnTo>
                    <a:lnTo>
                      <a:pt x="454812" y="235108"/>
                    </a:lnTo>
                    <a:lnTo>
                      <a:pt x="460113" y="239188"/>
                    </a:lnTo>
                    <a:lnTo>
                      <a:pt x="464221" y="235108"/>
                    </a:lnTo>
                    <a:lnTo>
                      <a:pt x="470847" y="241031"/>
                    </a:lnTo>
                    <a:lnTo>
                      <a:pt x="476546" y="225498"/>
                    </a:lnTo>
                    <a:lnTo>
                      <a:pt x="482509" y="241031"/>
                    </a:lnTo>
                    <a:lnTo>
                      <a:pt x="509544" y="241031"/>
                    </a:lnTo>
                    <a:lnTo>
                      <a:pt x="512989" y="236029"/>
                    </a:lnTo>
                    <a:cubicBezTo>
                      <a:pt x="512989" y="236029"/>
                      <a:pt x="520543" y="239188"/>
                      <a:pt x="521735" y="241031"/>
                    </a:cubicBezTo>
                    <a:cubicBezTo>
                      <a:pt x="523061" y="242874"/>
                      <a:pt x="529952" y="241031"/>
                      <a:pt x="529952" y="241031"/>
                    </a:cubicBezTo>
                    <a:lnTo>
                      <a:pt x="531542" y="238267"/>
                    </a:lnTo>
                    <a:lnTo>
                      <a:pt x="534723" y="241821"/>
                    </a:lnTo>
                    <a:lnTo>
                      <a:pt x="553010" y="241821"/>
                    </a:lnTo>
                    <a:lnTo>
                      <a:pt x="556191" y="239188"/>
                    </a:lnTo>
                    <a:lnTo>
                      <a:pt x="560299" y="241821"/>
                    </a:lnTo>
                    <a:lnTo>
                      <a:pt x="613705" y="236029"/>
                    </a:lnTo>
                    <a:lnTo>
                      <a:pt x="632523" y="230105"/>
                    </a:lnTo>
                    <a:lnTo>
                      <a:pt x="665521" y="224182"/>
                    </a:lnTo>
                    <a:lnTo>
                      <a:pt x="694410" y="215493"/>
                    </a:lnTo>
                    <a:lnTo>
                      <a:pt x="710446" y="214967"/>
                    </a:lnTo>
                    <a:lnTo>
                      <a:pt x="728998" y="208516"/>
                    </a:lnTo>
                    <a:lnTo>
                      <a:pt x="742781" y="208516"/>
                    </a:lnTo>
                    <a:lnTo>
                      <a:pt x="776043" y="193378"/>
                    </a:lnTo>
                    <a:lnTo>
                      <a:pt x="782934" y="196537"/>
                    </a:lnTo>
                    <a:lnTo>
                      <a:pt x="789163" y="196142"/>
                    </a:lnTo>
                    <a:lnTo>
                      <a:pt x="791946" y="185216"/>
                    </a:lnTo>
                    <a:lnTo>
                      <a:pt x="796982" y="196669"/>
                    </a:lnTo>
                    <a:lnTo>
                      <a:pt x="800427" y="139538"/>
                    </a:lnTo>
                    <a:lnTo>
                      <a:pt x="802283" y="192588"/>
                    </a:lnTo>
                    <a:lnTo>
                      <a:pt x="806656" y="171131"/>
                    </a:lnTo>
                    <a:lnTo>
                      <a:pt x="809439" y="185743"/>
                    </a:lnTo>
                    <a:lnTo>
                      <a:pt x="811029" y="142697"/>
                    </a:lnTo>
                    <a:lnTo>
                      <a:pt x="813547" y="196274"/>
                    </a:lnTo>
                    <a:lnTo>
                      <a:pt x="816992" y="0"/>
                    </a:lnTo>
                    <a:lnTo>
                      <a:pt x="818848" y="215493"/>
                    </a:lnTo>
                    <a:lnTo>
                      <a:pt x="822558" y="207332"/>
                    </a:lnTo>
                    <a:lnTo>
                      <a:pt x="822558" y="216020"/>
                    </a:lnTo>
                    <a:lnTo>
                      <a:pt x="826666" y="77404"/>
                    </a:lnTo>
                    <a:lnTo>
                      <a:pt x="829847" y="137300"/>
                    </a:lnTo>
                    <a:lnTo>
                      <a:pt x="832100" y="216415"/>
                    </a:lnTo>
                    <a:lnTo>
                      <a:pt x="834883" y="206805"/>
                    </a:lnTo>
                    <a:lnTo>
                      <a:pt x="837666" y="211807"/>
                    </a:lnTo>
                    <a:lnTo>
                      <a:pt x="842039" y="207200"/>
                    </a:lnTo>
                    <a:lnTo>
                      <a:pt x="848002" y="214967"/>
                    </a:lnTo>
                    <a:lnTo>
                      <a:pt x="853038" y="209438"/>
                    </a:lnTo>
                    <a:lnTo>
                      <a:pt x="860857" y="216283"/>
                    </a:lnTo>
                    <a:lnTo>
                      <a:pt x="866820" y="205752"/>
                    </a:lnTo>
                    <a:lnTo>
                      <a:pt x="872121" y="215362"/>
                    </a:lnTo>
                    <a:lnTo>
                      <a:pt x="879410" y="215888"/>
                    </a:lnTo>
                    <a:lnTo>
                      <a:pt x="883518" y="224576"/>
                    </a:lnTo>
                    <a:lnTo>
                      <a:pt x="887626" y="223260"/>
                    </a:lnTo>
                    <a:lnTo>
                      <a:pt x="892662" y="198512"/>
                    </a:lnTo>
                    <a:lnTo>
                      <a:pt x="898890" y="204041"/>
                    </a:lnTo>
                    <a:lnTo>
                      <a:pt x="906179" y="226419"/>
                    </a:lnTo>
                    <a:lnTo>
                      <a:pt x="913070" y="230500"/>
                    </a:lnTo>
                    <a:lnTo>
                      <a:pt x="920359" y="218653"/>
                    </a:lnTo>
                    <a:lnTo>
                      <a:pt x="935466" y="227341"/>
                    </a:lnTo>
                    <a:lnTo>
                      <a:pt x="943285" y="226814"/>
                    </a:lnTo>
                    <a:lnTo>
                      <a:pt x="946466" y="206673"/>
                    </a:lnTo>
                    <a:cubicBezTo>
                      <a:pt x="946466" y="206673"/>
                      <a:pt x="948321" y="225366"/>
                      <a:pt x="949646" y="224971"/>
                    </a:cubicBezTo>
                    <a:cubicBezTo>
                      <a:pt x="950839" y="224576"/>
                      <a:pt x="954947" y="213124"/>
                      <a:pt x="954947" y="213124"/>
                    </a:cubicBezTo>
                    <a:lnTo>
                      <a:pt x="956537" y="197985"/>
                    </a:lnTo>
                    <a:lnTo>
                      <a:pt x="960910" y="209833"/>
                    </a:lnTo>
                    <a:lnTo>
                      <a:pt x="975355" y="175738"/>
                    </a:lnTo>
                    <a:lnTo>
                      <a:pt x="983174" y="198907"/>
                    </a:lnTo>
                    <a:lnTo>
                      <a:pt x="990065" y="168235"/>
                    </a:lnTo>
                    <a:lnTo>
                      <a:pt x="996691" y="173764"/>
                    </a:lnTo>
                    <a:lnTo>
                      <a:pt x="1003317" y="161390"/>
                    </a:lnTo>
                    <a:lnTo>
                      <a:pt x="1006100" y="148094"/>
                    </a:lnTo>
                    <a:lnTo>
                      <a:pt x="1007690" y="105970"/>
                    </a:lnTo>
                    <a:lnTo>
                      <a:pt x="1009943" y="181399"/>
                    </a:lnTo>
                    <a:lnTo>
                      <a:pt x="1019087" y="171394"/>
                    </a:lnTo>
                    <a:lnTo>
                      <a:pt x="1019087" y="120845"/>
                    </a:lnTo>
                    <a:cubicBezTo>
                      <a:pt x="1019087" y="120845"/>
                      <a:pt x="1023858" y="164154"/>
                      <a:pt x="1023858" y="160863"/>
                    </a:cubicBezTo>
                    <a:lnTo>
                      <a:pt x="1023858" y="136115"/>
                    </a:lnTo>
                    <a:lnTo>
                      <a:pt x="1027038" y="180082"/>
                    </a:lnTo>
                    <a:lnTo>
                      <a:pt x="1031411" y="175607"/>
                    </a:lnTo>
                    <a:lnTo>
                      <a:pt x="1033664" y="185480"/>
                    </a:lnTo>
                    <a:lnTo>
                      <a:pt x="1039363" y="178634"/>
                    </a:lnTo>
                    <a:cubicBezTo>
                      <a:pt x="1039363" y="178634"/>
                      <a:pt x="1041881" y="187717"/>
                      <a:pt x="1043206" y="187717"/>
                    </a:cubicBezTo>
                    <a:cubicBezTo>
                      <a:pt x="1044531" y="187717"/>
                      <a:pt x="1050760" y="184558"/>
                      <a:pt x="1050760" y="184558"/>
                    </a:cubicBezTo>
                    <a:lnTo>
                      <a:pt x="1056988" y="142039"/>
                    </a:lnTo>
                    <a:lnTo>
                      <a:pt x="1056988" y="156651"/>
                    </a:lnTo>
                    <a:cubicBezTo>
                      <a:pt x="1056988" y="156651"/>
                      <a:pt x="1058843" y="157572"/>
                      <a:pt x="1058843" y="158888"/>
                    </a:cubicBezTo>
                    <a:lnTo>
                      <a:pt x="1058843" y="173500"/>
                    </a:lnTo>
                    <a:lnTo>
                      <a:pt x="1062952" y="179424"/>
                    </a:lnTo>
                    <a:lnTo>
                      <a:pt x="1066132" y="190350"/>
                    </a:lnTo>
                    <a:lnTo>
                      <a:pt x="1069843" y="190745"/>
                    </a:lnTo>
                    <a:lnTo>
                      <a:pt x="1069843" y="181135"/>
                    </a:lnTo>
                    <a:lnTo>
                      <a:pt x="1073023" y="146778"/>
                    </a:lnTo>
                    <a:lnTo>
                      <a:pt x="1074216" y="173369"/>
                    </a:lnTo>
                    <a:lnTo>
                      <a:pt x="1076469" y="159678"/>
                    </a:lnTo>
                    <a:lnTo>
                      <a:pt x="1078722" y="188507"/>
                    </a:lnTo>
                    <a:lnTo>
                      <a:pt x="1082432" y="196274"/>
                    </a:lnTo>
                    <a:lnTo>
                      <a:pt x="1085613" y="120581"/>
                    </a:lnTo>
                    <a:lnTo>
                      <a:pt x="1088793" y="185875"/>
                    </a:lnTo>
                    <a:lnTo>
                      <a:pt x="1095419" y="162969"/>
                    </a:lnTo>
                    <a:lnTo>
                      <a:pt x="1098600" y="204172"/>
                    </a:lnTo>
                    <a:lnTo>
                      <a:pt x="1102708" y="169420"/>
                    </a:lnTo>
                    <a:lnTo>
                      <a:pt x="1105491" y="209175"/>
                    </a:lnTo>
                    <a:lnTo>
                      <a:pt x="1108009" y="169815"/>
                    </a:lnTo>
                    <a:lnTo>
                      <a:pt x="1111189" y="217336"/>
                    </a:lnTo>
                    <a:lnTo>
                      <a:pt x="1113972" y="217336"/>
                    </a:lnTo>
                    <a:cubicBezTo>
                      <a:pt x="1113972" y="217336"/>
                      <a:pt x="1116755" y="173369"/>
                      <a:pt x="1116755" y="172052"/>
                    </a:cubicBezTo>
                    <a:cubicBezTo>
                      <a:pt x="1116755" y="170736"/>
                      <a:pt x="1120863" y="161521"/>
                      <a:pt x="1120863" y="161521"/>
                    </a:cubicBezTo>
                    <a:lnTo>
                      <a:pt x="1120863" y="137300"/>
                    </a:lnTo>
                    <a:lnTo>
                      <a:pt x="1122718" y="175475"/>
                    </a:lnTo>
                    <a:lnTo>
                      <a:pt x="1125236" y="206937"/>
                    </a:lnTo>
                    <a:lnTo>
                      <a:pt x="1127489" y="152965"/>
                    </a:lnTo>
                    <a:lnTo>
                      <a:pt x="1132525" y="207332"/>
                    </a:lnTo>
                    <a:lnTo>
                      <a:pt x="1135043" y="190350"/>
                    </a:lnTo>
                    <a:lnTo>
                      <a:pt x="1137296" y="190350"/>
                    </a:lnTo>
                    <a:lnTo>
                      <a:pt x="1140476" y="145066"/>
                    </a:lnTo>
                    <a:lnTo>
                      <a:pt x="1143657" y="163364"/>
                    </a:lnTo>
                    <a:lnTo>
                      <a:pt x="1149355" y="28829"/>
                    </a:lnTo>
                    <a:lnTo>
                      <a:pt x="1153728" y="101494"/>
                    </a:lnTo>
                    <a:lnTo>
                      <a:pt x="1156909" y="40150"/>
                    </a:lnTo>
                    <a:lnTo>
                      <a:pt x="1158499" y="154018"/>
                    </a:lnTo>
                    <a:lnTo>
                      <a:pt x="1161945" y="70822"/>
                    </a:lnTo>
                    <a:lnTo>
                      <a:pt x="1165125" y="117422"/>
                    </a:lnTo>
                    <a:lnTo>
                      <a:pt x="1171751" y="145330"/>
                    </a:lnTo>
                    <a:lnTo>
                      <a:pt x="1174004" y="131639"/>
                    </a:lnTo>
                    <a:lnTo>
                      <a:pt x="1176522" y="184163"/>
                    </a:lnTo>
                    <a:lnTo>
                      <a:pt x="1180233" y="161258"/>
                    </a:lnTo>
                    <a:lnTo>
                      <a:pt x="1180233" y="207068"/>
                    </a:lnTo>
                    <a:lnTo>
                      <a:pt x="1184076" y="205752"/>
                    </a:lnTo>
                    <a:lnTo>
                      <a:pt x="1188184" y="229052"/>
                    </a:lnTo>
                    <a:lnTo>
                      <a:pt x="1193220" y="220759"/>
                    </a:lnTo>
                    <a:lnTo>
                      <a:pt x="1196930" y="232212"/>
                    </a:lnTo>
                    <a:lnTo>
                      <a:pt x="1201038" y="225366"/>
                    </a:lnTo>
                    <a:lnTo>
                      <a:pt x="1206074" y="224971"/>
                    </a:lnTo>
                    <a:lnTo>
                      <a:pt x="1208857" y="196669"/>
                    </a:lnTo>
                    <a:lnTo>
                      <a:pt x="1211110" y="215493"/>
                    </a:lnTo>
                    <a:lnTo>
                      <a:pt x="1212700" y="215493"/>
                    </a:lnTo>
                    <a:lnTo>
                      <a:pt x="1212700" y="231027"/>
                    </a:lnTo>
                    <a:lnTo>
                      <a:pt x="1217074" y="213650"/>
                    </a:lnTo>
                    <a:lnTo>
                      <a:pt x="1221844" y="235108"/>
                    </a:lnTo>
                    <a:lnTo>
                      <a:pt x="1225555" y="227736"/>
                    </a:lnTo>
                    <a:lnTo>
                      <a:pt x="1231253" y="237740"/>
                    </a:lnTo>
                    <a:lnTo>
                      <a:pt x="1245035" y="237345"/>
                    </a:lnTo>
                    <a:lnTo>
                      <a:pt x="1250734" y="223655"/>
                    </a:lnTo>
                    <a:lnTo>
                      <a:pt x="1253914" y="233265"/>
                    </a:lnTo>
                    <a:lnTo>
                      <a:pt x="1259878" y="233659"/>
                    </a:lnTo>
                    <a:lnTo>
                      <a:pt x="1266106" y="241295"/>
                    </a:lnTo>
                    <a:lnTo>
                      <a:pt x="1268359" y="122951"/>
                    </a:lnTo>
                    <a:lnTo>
                      <a:pt x="1270877" y="258408"/>
                    </a:lnTo>
                    <a:lnTo>
                      <a:pt x="1274588" y="235502"/>
                    </a:lnTo>
                    <a:lnTo>
                      <a:pt x="1355028" y="236819"/>
                    </a:lnTo>
                  </a:path>
                </a:pathLst>
              </a:custGeom>
              <a:noFill/>
              <a:ln w="6350"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260" name="Freeform 259">
                <a:extLst>
                  <a:ext uri="{FF2B5EF4-FFF2-40B4-BE49-F238E27FC236}">
                    <a16:creationId xmlns:a16="http://schemas.microsoft.com/office/drawing/2014/main" id="{B6536893-DBE7-19C8-645A-F52F4541CEFC}"/>
                  </a:ext>
                </a:extLst>
              </p:cNvPr>
              <p:cNvSpPr/>
              <p:nvPr/>
            </p:nvSpPr>
            <p:spPr>
              <a:xfrm>
                <a:off x="1338000" y="3261454"/>
                <a:ext cx="1355160" cy="241426"/>
              </a:xfrm>
              <a:custGeom>
                <a:avLst/>
                <a:gdLst>
                  <a:gd name="connsiteX0" fmla="*/ 0 w 1355160"/>
                  <a:gd name="connsiteY0" fmla="*/ 223655 h 241426"/>
                  <a:gd name="connsiteX1" fmla="*/ 35516 w 1355160"/>
                  <a:gd name="connsiteY1" fmla="*/ 223655 h 241426"/>
                  <a:gd name="connsiteX2" fmla="*/ 46250 w 1355160"/>
                  <a:gd name="connsiteY2" fmla="*/ 216283 h 241426"/>
                  <a:gd name="connsiteX3" fmla="*/ 54996 w 1355160"/>
                  <a:gd name="connsiteY3" fmla="*/ 223655 h 241426"/>
                  <a:gd name="connsiteX4" fmla="*/ 109330 w 1355160"/>
                  <a:gd name="connsiteY4" fmla="*/ 223655 h 241426"/>
                  <a:gd name="connsiteX5" fmla="*/ 113703 w 1355160"/>
                  <a:gd name="connsiteY5" fmla="*/ 216283 h 241426"/>
                  <a:gd name="connsiteX6" fmla="*/ 116221 w 1355160"/>
                  <a:gd name="connsiteY6" fmla="*/ 223655 h 241426"/>
                  <a:gd name="connsiteX7" fmla="*/ 119004 w 1355160"/>
                  <a:gd name="connsiteY7" fmla="*/ 216283 h 241426"/>
                  <a:gd name="connsiteX8" fmla="*/ 124305 w 1355160"/>
                  <a:gd name="connsiteY8" fmla="*/ 223655 h 241426"/>
                  <a:gd name="connsiteX9" fmla="*/ 134641 w 1355160"/>
                  <a:gd name="connsiteY9" fmla="*/ 223655 h 241426"/>
                  <a:gd name="connsiteX10" fmla="*/ 145376 w 1355160"/>
                  <a:gd name="connsiteY10" fmla="*/ 212729 h 241426"/>
                  <a:gd name="connsiteX11" fmla="*/ 148556 w 1355160"/>
                  <a:gd name="connsiteY11" fmla="*/ 218258 h 241426"/>
                  <a:gd name="connsiteX12" fmla="*/ 152002 w 1355160"/>
                  <a:gd name="connsiteY12" fmla="*/ 212729 h 241426"/>
                  <a:gd name="connsiteX13" fmla="*/ 155712 w 1355160"/>
                  <a:gd name="connsiteY13" fmla="*/ 218258 h 241426"/>
                  <a:gd name="connsiteX14" fmla="*/ 158893 w 1355160"/>
                  <a:gd name="connsiteY14" fmla="*/ 212729 h 241426"/>
                  <a:gd name="connsiteX15" fmla="*/ 160218 w 1355160"/>
                  <a:gd name="connsiteY15" fmla="*/ 218258 h 241426"/>
                  <a:gd name="connsiteX16" fmla="*/ 168699 w 1355160"/>
                  <a:gd name="connsiteY16" fmla="*/ 218258 h 241426"/>
                  <a:gd name="connsiteX17" fmla="*/ 174398 w 1355160"/>
                  <a:gd name="connsiteY17" fmla="*/ 207332 h 241426"/>
                  <a:gd name="connsiteX18" fmla="*/ 181024 w 1355160"/>
                  <a:gd name="connsiteY18" fmla="*/ 215493 h 241426"/>
                  <a:gd name="connsiteX19" fmla="*/ 186325 w 1355160"/>
                  <a:gd name="connsiteY19" fmla="*/ 207332 h 241426"/>
                  <a:gd name="connsiteX20" fmla="*/ 188843 w 1355160"/>
                  <a:gd name="connsiteY20" fmla="*/ 211939 h 241426"/>
                  <a:gd name="connsiteX21" fmla="*/ 196131 w 1355160"/>
                  <a:gd name="connsiteY21" fmla="*/ 205094 h 241426"/>
                  <a:gd name="connsiteX22" fmla="*/ 200239 w 1355160"/>
                  <a:gd name="connsiteY22" fmla="*/ 217468 h 241426"/>
                  <a:gd name="connsiteX23" fmla="*/ 207130 w 1355160"/>
                  <a:gd name="connsiteY23" fmla="*/ 210623 h 241426"/>
                  <a:gd name="connsiteX24" fmla="*/ 213359 w 1355160"/>
                  <a:gd name="connsiteY24" fmla="*/ 216546 h 241426"/>
                  <a:gd name="connsiteX25" fmla="*/ 218660 w 1355160"/>
                  <a:gd name="connsiteY25" fmla="*/ 211544 h 241426"/>
                  <a:gd name="connsiteX26" fmla="*/ 222105 w 1355160"/>
                  <a:gd name="connsiteY26" fmla="*/ 198775 h 241426"/>
                  <a:gd name="connsiteX27" fmla="*/ 225816 w 1355160"/>
                  <a:gd name="connsiteY27" fmla="*/ 195616 h 241426"/>
                  <a:gd name="connsiteX28" fmla="*/ 230587 w 1355160"/>
                  <a:gd name="connsiteY28" fmla="*/ 205620 h 241426"/>
                  <a:gd name="connsiteX29" fmla="*/ 232840 w 1355160"/>
                  <a:gd name="connsiteY29" fmla="*/ 200091 h 241426"/>
                  <a:gd name="connsiteX30" fmla="*/ 238140 w 1355160"/>
                  <a:gd name="connsiteY30" fmla="*/ 195484 h 241426"/>
                  <a:gd name="connsiteX31" fmla="*/ 240658 w 1355160"/>
                  <a:gd name="connsiteY31" fmla="*/ 206410 h 241426"/>
                  <a:gd name="connsiteX32" fmla="*/ 244104 w 1355160"/>
                  <a:gd name="connsiteY32" fmla="*/ 200486 h 241426"/>
                  <a:gd name="connsiteX33" fmla="*/ 249140 w 1355160"/>
                  <a:gd name="connsiteY33" fmla="*/ 198643 h 241426"/>
                  <a:gd name="connsiteX34" fmla="*/ 251392 w 1355160"/>
                  <a:gd name="connsiteY34" fmla="*/ 191798 h 241426"/>
                  <a:gd name="connsiteX35" fmla="*/ 254175 w 1355160"/>
                  <a:gd name="connsiteY35" fmla="*/ 195879 h 241426"/>
                  <a:gd name="connsiteX36" fmla="*/ 258814 w 1355160"/>
                  <a:gd name="connsiteY36" fmla="*/ 194958 h 241426"/>
                  <a:gd name="connsiteX37" fmla="*/ 258814 w 1355160"/>
                  <a:gd name="connsiteY37" fmla="*/ 207727 h 241426"/>
                  <a:gd name="connsiteX38" fmla="*/ 264512 w 1355160"/>
                  <a:gd name="connsiteY38" fmla="*/ 199960 h 241426"/>
                  <a:gd name="connsiteX39" fmla="*/ 270210 w 1355160"/>
                  <a:gd name="connsiteY39" fmla="*/ 211807 h 241426"/>
                  <a:gd name="connsiteX40" fmla="*/ 277102 w 1355160"/>
                  <a:gd name="connsiteY40" fmla="*/ 199960 h 241426"/>
                  <a:gd name="connsiteX41" fmla="*/ 280282 w 1355160"/>
                  <a:gd name="connsiteY41" fmla="*/ 207727 h 241426"/>
                  <a:gd name="connsiteX42" fmla="*/ 288498 w 1355160"/>
                  <a:gd name="connsiteY42" fmla="*/ 195879 h 241426"/>
                  <a:gd name="connsiteX43" fmla="*/ 296582 w 1355160"/>
                  <a:gd name="connsiteY43" fmla="*/ 210491 h 241426"/>
                  <a:gd name="connsiteX44" fmla="*/ 298835 w 1355160"/>
                  <a:gd name="connsiteY44" fmla="*/ 195879 h 241426"/>
                  <a:gd name="connsiteX45" fmla="*/ 302016 w 1355160"/>
                  <a:gd name="connsiteY45" fmla="*/ 207727 h 241426"/>
                  <a:gd name="connsiteX46" fmla="*/ 304533 w 1355160"/>
                  <a:gd name="connsiteY46" fmla="*/ 201803 h 241426"/>
                  <a:gd name="connsiteX47" fmla="*/ 310232 w 1355160"/>
                  <a:gd name="connsiteY47" fmla="*/ 211018 h 241426"/>
                  <a:gd name="connsiteX48" fmla="*/ 313412 w 1355160"/>
                  <a:gd name="connsiteY48" fmla="*/ 202329 h 241426"/>
                  <a:gd name="connsiteX49" fmla="*/ 322821 w 1355160"/>
                  <a:gd name="connsiteY49" fmla="*/ 211544 h 241426"/>
                  <a:gd name="connsiteX50" fmla="*/ 325339 w 1355160"/>
                  <a:gd name="connsiteY50" fmla="*/ 198249 h 241426"/>
                  <a:gd name="connsiteX51" fmla="*/ 327857 w 1355160"/>
                  <a:gd name="connsiteY51" fmla="*/ 207858 h 241426"/>
                  <a:gd name="connsiteX52" fmla="*/ 330110 w 1355160"/>
                  <a:gd name="connsiteY52" fmla="*/ 200091 h 241426"/>
                  <a:gd name="connsiteX53" fmla="*/ 333291 w 1355160"/>
                  <a:gd name="connsiteY53" fmla="*/ 207858 h 241426"/>
                  <a:gd name="connsiteX54" fmla="*/ 337399 w 1355160"/>
                  <a:gd name="connsiteY54" fmla="*/ 191798 h 241426"/>
                  <a:gd name="connsiteX55" fmla="*/ 340182 w 1355160"/>
                  <a:gd name="connsiteY55" fmla="*/ 210096 h 241426"/>
                  <a:gd name="connsiteX56" fmla="*/ 344820 w 1355160"/>
                  <a:gd name="connsiteY56" fmla="*/ 214177 h 241426"/>
                  <a:gd name="connsiteX57" fmla="*/ 348663 w 1355160"/>
                  <a:gd name="connsiteY57" fmla="*/ 216415 h 241426"/>
                  <a:gd name="connsiteX58" fmla="*/ 353301 w 1355160"/>
                  <a:gd name="connsiteY58" fmla="*/ 207727 h 241426"/>
                  <a:gd name="connsiteX59" fmla="*/ 360590 w 1355160"/>
                  <a:gd name="connsiteY59" fmla="*/ 217336 h 241426"/>
                  <a:gd name="connsiteX60" fmla="*/ 366818 w 1355160"/>
                  <a:gd name="connsiteY60" fmla="*/ 193510 h 241426"/>
                  <a:gd name="connsiteX61" fmla="*/ 372517 w 1355160"/>
                  <a:gd name="connsiteY61" fmla="*/ 213650 h 241426"/>
                  <a:gd name="connsiteX62" fmla="*/ 375300 w 1355160"/>
                  <a:gd name="connsiteY62" fmla="*/ 199433 h 241426"/>
                  <a:gd name="connsiteX63" fmla="*/ 378480 w 1355160"/>
                  <a:gd name="connsiteY63" fmla="*/ 185216 h 241426"/>
                  <a:gd name="connsiteX64" fmla="*/ 382588 w 1355160"/>
                  <a:gd name="connsiteY64" fmla="*/ 185216 h 241426"/>
                  <a:gd name="connsiteX65" fmla="*/ 384444 w 1355160"/>
                  <a:gd name="connsiteY65" fmla="*/ 192061 h 241426"/>
                  <a:gd name="connsiteX66" fmla="*/ 387227 w 1355160"/>
                  <a:gd name="connsiteY66" fmla="*/ 148621 h 241426"/>
                  <a:gd name="connsiteX67" fmla="*/ 389744 w 1355160"/>
                  <a:gd name="connsiteY67" fmla="*/ 186138 h 241426"/>
                  <a:gd name="connsiteX68" fmla="*/ 392527 w 1355160"/>
                  <a:gd name="connsiteY68" fmla="*/ 196142 h 241426"/>
                  <a:gd name="connsiteX69" fmla="*/ 395310 w 1355160"/>
                  <a:gd name="connsiteY69" fmla="*/ 192983 h 241426"/>
                  <a:gd name="connsiteX70" fmla="*/ 396901 w 1355160"/>
                  <a:gd name="connsiteY70" fmla="*/ 213519 h 241426"/>
                  <a:gd name="connsiteX71" fmla="*/ 398491 w 1355160"/>
                  <a:gd name="connsiteY71" fmla="*/ 204436 h 241426"/>
                  <a:gd name="connsiteX72" fmla="*/ 401936 w 1355160"/>
                  <a:gd name="connsiteY72" fmla="*/ 208516 h 241426"/>
                  <a:gd name="connsiteX73" fmla="*/ 404189 w 1355160"/>
                  <a:gd name="connsiteY73" fmla="*/ 189824 h 241426"/>
                  <a:gd name="connsiteX74" fmla="*/ 407635 w 1355160"/>
                  <a:gd name="connsiteY74" fmla="*/ 198512 h 241426"/>
                  <a:gd name="connsiteX75" fmla="*/ 412671 w 1355160"/>
                  <a:gd name="connsiteY75" fmla="*/ 199038 h 241426"/>
                  <a:gd name="connsiteX76" fmla="*/ 415454 w 1355160"/>
                  <a:gd name="connsiteY76" fmla="*/ 213650 h 241426"/>
                  <a:gd name="connsiteX77" fmla="*/ 417706 w 1355160"/>
                  <a:gd name="connsiteY77" fmla="*/ 197195 h 241426"/>
                  <a:gd name="connsiteX78" fmla="*/ 423670 w 1355160"/>
                  <a:gd name="connsiteY78" fmla="*/ 215098 h 241426"/>
                  <a:gd name="connsiteX79" fmla="*/ 428706 w 1355160"/>
                  <a:gd name="connsiteY79" fmla="*/ 205094 h 241426"/>
                  <a:gd name="connsiteX80" fmla="*/ 430296 w 1355160"/>
                  <a:gd name="connsiteY80" fmla="*/ 193246 h 241426"/>
                  <a:gd name="connsiteX81" fmla="*/ 434006 w 1355160"/>
                  <a:gd name="connsiteY81" fmla="*/ 208385 h 241426"/>
                  <a:gd name="connsiteX82" fmla="*/ 438115 w 1355160"/>
                  <a:gd name="connsiteY82" fmla="*/ 217468 h 241426"/>
                  <a:gd name="connsiteX83" fmla="*/ 440368 w 1355160"/>
                  <a:gd name="connsiteY83" fmla="*/ 205094 h 241426"/>
                  <a:gd name="connsiteX84" fmla="*/ 448584 w 1355160"/>
                  <a:gd name="connsiteY84" fmla="*/ 219706 h 241426"/>
                  <a:gd name="connsiteX85" fmla="*/ 454812 w 1355160"/>
                  <a:gd name="connsiteY85" fmla="*/ 217863 h 241426"/>
                  <a:gd name="connsiteX86" fmla="*/ 460113 w 1355160"/>
                  <a:gd name="connsiteY86" fmla="*/ 221944 h 241426"/>
                  <a:gd name="connsiteX87" fmla="*/ 464221 w 1355160"/>
                  <a:gd name="connsiteY87" fmla="*/ 217863 h 241426"/>
                  <a:gd name="connsiteX88" fmla="*/ 470847 w 1355160"/>
                  <a:gd name="connsiteY88" fmla="*/ 223787 h 241426"/>
                  <a:gd name="connsiteX89" fmla="*/ 476546 w 1355160"/>
                  <a:gd name="connsiteY89" fmla="*/ 208253 h 241426"/>
                  <a:gd name="connsiteX90" fmla="*/ 482509 w 1355160"/>
                  <a:gd name="connsiteY90" fmla="*/ 223787 h 241426"/>
                  <a:gd name="connsiteX91" fmla="*/ 509544 w 1355160"/>
                  <a:gd name="connsiteY91" fmla="*/ 223787 h 241426"/>
                  <a:gd name="connsiteX92" fmla="*/ 512989 w 1355160"/>
                  <a:gd name="connsiteY92" fmla="*/ 218784 h 241426"/>
                  <a:gd name="connsiteX93" fmla="*/ 521735 w 1355160"/>
                  <a:gd name="connsiteY93" fmla="*/ 223787 h 241426"/>
                  <a:gd name="connsiteX94" fmla="*/ 529952 w 1355160"/>
                  <a:gd name="connsiteY94" fmla="*/ 223787 h 241426"/>
                  <a:gd name="connsiteX95" fmla="*/ 531542 w 1355160"/>
                  <a:gd name="connsiteY95" fmla="*/ 221022 h 241426"/>
                  <a:gd name="connsiteX96" fmla="*/ 534723 w 1355160"/>
                  <a:gd name="connsiteY96" fmla="*/ 224576 h 241426"/>
                  <a:gd name="connsiteX97" fmla="*/ 553010 w 1355160"/>
                  <a:gd name="connsiteY97" fmla="*/ 224576 h 241426"/>
                  <a:gd name="connsiteX98" fmla="*/ 556191 w 1355160"/>
                  <a:gd name="connsiteY98" fmla="*/ 221944 h 241426"/>
                  <a:gd name="connsiteX99" fmla="*/ 560299 w 1355160"/>
                  <a:gd name="connsiteY99" fmla="*/ 224576 h 241426"/>
                  <a:gd name="connsiteX100" fmla="*/ 613705 w 1355160"/>
                  <a:gd name="connsiteY100" fmla="*/ 218784 h 241426"/>
                  <a:gd name="connsiteX101" fmla="*/ 632523 w 1355160"/>
                  <a:gd name="connsiteY101" fmla="*/ 212860 h 241426"/>
                  <a:gd name="connsiteX102" fmla="*/ 665521 w 1355160"/>
                  <a:gd name="connsiteY102" fmla="*/ 202988 h 241426"/>
                  <a:gd name="connsiteX103" fmla="*/ 694410 w 1355160"/>
                  <a:gd name="connsiteY103" fmla="*/ 194299 h 241426"/>
                  <a:gd name="connsiteX104" fmla="*/ 710446 w 1355160"/>
                  <a:gd name="connsiteY104" fmla="*/ 193773 h 241426"/>
                  <a:gd name="connsiteX105" fmla="*/ 728998 w 1355160"/>
                  <a:gd name="connsiteY105" fmla="*/ 187323 h 241426"/>
                  <a:gd name="connsiteX106" fmla="*/ 742781 w 1355160"/>
                  <a:gd name="connsiteY106" fmla="*/ 187323 h 241426"/>
                  <a:gd name="connsiteX107" fmla="*/ 776043 w 1355160"/>
                  <a:gd name="connsiteY107" fmla="*/ 172184 h 241426"/>
                  <a:gd name="connsiteX108" fmla="*/ 782934 w 1355160"/>
                  <a:gd name="connsiteY108" fmla="*/ 179293 h 241426"/>
                  <a:gd name="connsiteX109" fmla="*/ 789163 w 1355160"/>
                  <a:gd name="connsiteY109" fmla="*/ 178898 h 241426"/>
                  <a:gd name="connsiteX110" fmla="*/ 791946 w 1355160"/>
                  <a:gd name="connsiteY110" fmla="*/ 40150 h 241426"/>
                  <a:gd name="connsiteX111" fmla="*/ 796982 w 1355160"/>
                  <a:gd name="connsiteY111" fmla="*/ 179424 h 241426"/>
                  <a:gd name="connsiteX112" fmla="*/ 800427 w 1355160"/>
                  <a:gd name="connsiteY112" fmla="*/ 122293 h 241426"/>
                  <a:gd name="connsiteX113" fmla="*/ 802283 w 1355160"/>
                  <a:gd name="connsiteY113" fmla="*/ 175343 h 241426"/>
                  <a:gd name="connsiteX114" fmla="*/ 806656 w 1355160"/>
                  <a:gd name="connsiteY114" fmla="*/ 130059 h 241426"/>
                  <a:gd name="connsiteX115" fmla="*/ 809439 w 1355160"/>
                  <a:gd name="connsiteY115" fmla="*/ 168498 h 241426"/>
                  <a:gd name="connsiteX116" fmla="*/ 811029 w 1355160"/>
                  <a:gd name="connsiteY116" fmla="*/ 110708 h 241426"/>
                  <a:gd name="connsiteX117" fmla="*/ 813547 w 1355160"/>
                  <a:gd name="connsiteY117" fmla="*/ 173500 h 241426"/>
                  <a:gd name="connsiteX118" fmla="*/ 816992 w 1355160"/>
                  <a:gd name="connsiteY118" fmla="*/ 21852 h 241426"/>
                  <a:gd name="connsiteX119" fmla="*/ 818848 w 1355160"/>
                  <a:gd name="connsiteY119" fmla="*/ 174159 h 241426"/>
                  <a:gd name="connsiteX120" fmla="*/ 822558 w 1355160"/>
                  <a:gd name="connsiteY120" fmla="*/ 189955 h 241426"/>
                  <a:gd name="connsiteX121" fmla="*/ 822558 w 1355160"/>
                  <a:gd name="connsiteY121" fmla="*/ 198643 h 241426"/>
                  <a:gd name="connsiteX122" fmla="*/ 826666 w 1355160"/>
                  <a:gd name="connsiteY122" fmla="*/ 189165 h 241426"/>
                  <a:gd name="connsiteX123" fmla="*/ 829847 w 1355160"/>
                  <a:gd name="connsiteY123" fmla="*/ 192061 h 241426"/>
                  <a:gd name="connsiteX124" fmla="*/ 832100 w 1355160"/>
                  <a:gd name="connsiteY124" fmla="*/ 199170 h 241426"/>
                  <a:gd name="connsiteX125" fmla="*/ 834883 w 1355160"/>
                  <a:gd name="connsiteY125" fmla="*/ 189560 h 241426"/>
                  <a:gd name="connsiteX126" fmla="*/ 837666 w 1355160"/>
                  <a:gd name="connsiteY126" fmla="*/ 194563 h 241426"/>
                  <a:gd name="connsiteX127" fmla="*/ 842039 w 1355160"/>
                  <a:gd name="connsiteY127" fmla="*/ 189955 h 241426"/>
                  <a:gd name="connsiteX128" fmla="*/ 848002 w 1355160"/>
                  <a:gd name="connsiteY128" fmla="*/ 197722 h 241426"/>
                  <a:gd name="connsiteX129" fmla="*/ 853038 w 1355160"/>
                  <a:gd name="connsiteY129" fmla="*/ 192193 h 241426"/>
                  <a:gd name="connsiteX130" fmla="*/ 860857 w 1355160"/>
                  <a:gd name="connsiteY130" fmla="*/ 199038 h 241426"/>
                  <a:gd name="connsiteX131" fmla="*/ 866820 w 1355160"/>
                  <a:gd name="connsiteY131" fmla="*/ 188507 h 241426"/>
                  <a:gd name="connsiteX132" fmla="*/ 872121 w 1355160"/>
                  <a:gd name="connsiteY132" fmla="*/ 198117 h 241426"/>
                  <a:gd name="connsiteX133" fmla="*/ 879410 w 1355160"/>
                  <a:gd name="connsiteY133" fmla="*/ 198643 h 241426"/>
                  <a:gd name="connsiteX134" fmla="*/ 883518 w 1355160"/>
                  <a:gd name="connsiteY134" fmla="*/ 207332 h 241426"/>
                  <a:gd name="connsiteX135" fmla="*/ 887626 w 1355160"/>
                  <a:gd name="connsiteY135" fmla="*/ 206015 h 241426"/>
                  <a:gd name="connsiteX136" fmla="*/ 892662 w 1355160"/>
                  <a:gd name="connsiteY136" fmla="*/ 181267 h 241426"/>
                  <a:gd name="connsiteX137" fmla="*/ 898890 w 1355160"/>
                  <a:gd name="connsiteY137" fmla="*/ 186796 h 241426"/>
                  <a:gd name="connsiteX138" fmla="*/ 906179 w 1355160"/>
                  <a:gd name="connsiteY138" fmla="*/ 209175 h 241426"/>
                  <a:gd name="connsiteX139" fmla="*/ 913070 w 1355160"/>
                  <a:gd name="connsiteY139" fmla="*/ 213255 h 241426"/>
                  <a:gd name="connsiteX140" fmla="*/ 920359 w 1355160"/>
                  <a:gd name="connsiteY140" fmla="*/ 201408 h 241426"/>
                  <a:gd name="connsiteX141" fmla="*/ 935466 w 1355160"/>
                  <a:gd name="connsiteY141" fmla="*/ 199433 h 241426"/>
                  <a:gd name="connsiteX142" fmla="*/ 943285 w 1355160"/>
                  <a:gd name="connsiteY142" fmla="*/ 194299 h 241426"/>
                  <a:gd name="connsiteX143" fmla="*/ 946466 w 1355160"/>
                  <a:gd name="connsiteY143" fmla="*/ 174159 h 241426"/>
                  <a:gd name="connsiteX144" fmla="*/ 949646 w 1355160"/>
                  <a:gd name="connsiteY144" fmla="*/ 192456 h 241426"/>
                  <a:gd name="connsiteX145" fmla="*/ 954947 w 1355160"/>
                  <a:gd name="connsiteY145" fmla="*/ 180609 h 241426"/>
                  <a:gd name="connsiteX146" fmla="*/ 956537 w 1355160"/>
                  <a:gd name="connsiteY146" fmla="*/ 165470 h 241426"/>
                  <a:gd name="connsiteX147" fmla="*/ 960910 w 1355160"/>
                  <a:gd name="connsiteY147" fmla="*/ 177318 h 241426"/>
                  <a:gd name="connsiteX148" fmla="*/ 975355 w 1355160"/>
                  <a:gd name="connsiteY148" fmla="*/ 143223 h 241426"/>
                  <a:gd name="connsiteX149" fmla="*/ 983174 w 1355160"/>
                  <a:gd name="connsiteY149" fmla="*/ 166392 h 241426"/>
                  <a:gd name="connsiteX150" fmla="*/ 990065 w 1355160"/>
                  <a:gd name="connsiteY150" fmla="*/ 135720 h 241426"/>
                  <a:gd name="connsiteX151" fmla="*/ 996691 w 1355160"/>
                  <a:gd name="connsiteY151" fmla="*/ 141249 h 241426"/>
                  <a:gd name="connsiteX152" fmla="*/ 1003317 w 1355160"/>
                  <a:gd name="connsiteY152" fmla="*/ 128875 h 241426"/>
                  <a:gd name="connsiteX153" fmla="*/ 1006100 w 1355160"/>
                  <a:gd name="connsiteY153" fmla="*/ 115579 h 241426"/>
                  <a:gd name="connsiteX154" fmla="*/ 1006895 w 1355160"/>
                  <a:gd name="connsiteY154" fmla="*/ 66478 h 241426"/>
                  <a:gd name="connsiteX155" fmla="*/ 1009811 w 1355160"/>
                  <a:gd name="connsiteY155" fmla="*/ 148884 h 241426"/>
                  <a:gd name="connsiteX156" fmla="*/ 1016834 w 1355160"/>
                  <a:gd name="connsiteY156" fmla="*/ 130586 h 241426"/>
                  <a:gd name="connsiteX157" fmla="*/ 1018955 w 1355160"/>
                  <a:gd name="connsiteY157" fmla="*/ 76351 h 241426"/>
                  <a:gd name="connsiteX158" fmla="*/ 1023725 w 1355160"/>
                  <a:gd name="connsiteY158" fmla="*/ 128217 h 241426"/>
                  <a:gd name="connsiteX159" fmla="*/ 1023725 w 1355160"/>
                  <a:gd name="connsiteY159" fmla="*/ 103468 h 241426"/>
                  <a:gd name="connsiteX160" fmla="*/ 1026906 w 1355160"/>
                  <a:gd name="connsiteY160" fmla="*/ 127690 h 241426"/>
                  <a:gd name="connsiteX161" fmla="*/ 1031279 w 1355160"/>
                  <a:gd name="connsiteY161" fmla="*/ 123214 h 241426"/>
                  <a:gd name="connsiteX162" fmla="*/ 1033532 w 1355160"/>
                  <a:gd name="connsiteY162" fmla="*/ 133087 h 241426"/>
                  <a:gd name="connsiteX163" fmla="*/ 1039230 w 1355160"/>
                  <a:gd name="connsiteY163" fmla="*/ 126242 h 241426"/>
                  <a:gd name="connsiteX164" fmla="*/ 1043073 w 1355160"/>
                  <a:gd name="connsiteY164" fmla="*/ 135457 h 241426"/>
                  <a:gd name="connsiteX165" fmla="*/ 1050627 w 1355160"/>
                  <a:gd name="connsiteY165" fmla="*/ 132297 h 241426"/>
                  <a:gd name="connsiteX166" fmla="*/ 1055795 w 1355160"/>
                  <a:gd name="connsiteY166" fmla="*/ 67794 h 241426"/>
                  <a:gd name="connsiteX167" fmla="*/ 1059108 w 1355160"/>
                  <a:gd name="connsiteY167" fmla="*/ 118475 h 241426"/>
                  <a:gd name="connsiteX168" fmla="*/ 1062686 w 1355160"/>
                  <a:gd name="connsiteY168" fmla="*/ 107812 h 241426"/>
                  <a:gd name="connsiteX169" fmla="*/ 1066265 w 1355160"/>
                  <a:gd name="connsiteY169" fmla="*/ 117027 h 241426"/>
                  <a:gd name="connsiteX170" fmla="*/ 1073156 w 1355160"/>
                  <a:gd name="connsiteY170" fmla="*/ 67794 h 241426"/>
                  <a:gd name="connsiteX171" fmla="*/ 1074348 w 1355160"/>
                  <a:gd name="connsiteY171" fmla="*/ 107681 h 241426"/>
                  <a:gd name="connsiteX172" fmla="*/ 1076601 w 1355160"/>
                  <a:gd name="connsiteY172" fmla="*/ 117685 h 241426"/>
                  <a:gd name="connsiteX173" fmla="*/ 1078854 w 1355160"/>
                  <a:gd name="connsiteY173" fmla="*/ 134140 h 241426"/>
                  <a:gd name="connsiteX174" fmla="*/ 1082565 w 1355160"/>
                  <a:gd name="connsiteY174" fmla="*/ 156256 h 241426"/>
                  <a:gd name="connsiteX175" fmla="*/ 1085745 w 1355160"/>
                  <a:gd name="connsiteY175" fmla="*/ 88198 h 241426"/>
                  <a:gd name="connsiteX176" fmla="*/ 1088926 w 1355160"/>
                  <a:gd name="connsiteY176" fmla="*/ 153491 h 241426"/>
                  <a:gd name="connsiteX177" fmla="*/ 1095552 w 1355160"/>
                  <a:gd name="connsiteY177" fmla="*/ 130586 h 241426"/>
                  <a:gd name="connsiteX178" fmla="*/ 1098732 w 1355160"/>
                  <a:gd name="connsiteY178" fmla="*/ 171789 h 241426"/>
                  <a:gd name="connsiteX179" fmla="*/ 1102840 w 1355160"/>
                  <a:gd name="connsiteY179" fmla="*/ 137036 h 241426"/>
                  <a:gd name="connsiteX180" fmla="*/ 1105491 w 1355160"/>
                  <a:gd name="connsiteY180" fmla="*/ 180609 h 241426"/>
                  <a:gd name="connsiteX181" fmla="*/ 1109731 w 1355160"/>
                  <a:gd name="connsiteY181" fmla="*/ 133482 h 241426"/>
                  <a:gd name="connsiteX182" fmla="*/ 1111322 w 1355160"/>
                  <a:gd name="connsiteY182" fmla="*/ 196011 h 241426"/>
                  <a:gd name="connsiteX183" fmla="*/ 1114105 w 1355160"/>
                  <a:gd name="connsiteY183" fmla="*/ 196011 h 241426"/>
                  <a:gd name="connsiteX184" fmla="*/ 1116888 w 1355160"/>
                  <a:gd name="connsiteY184" fmla="*/ 132034 h 241426"/>
                  <a:gd name="connsiteX185" fmla="*/ 1120996 w 1355160"/>
                  <a:gd name="connsiteY185" fmla="*/ 144540 h 241426"/>
                  <a:gd name="connsiteX186" fmla="*/ 1120996 w 1355160"/>
                  <a:gd name="connsiteY186" fmla="*/ 7109 h 241426"/>
                  <a:gd name="connsiteX187" fmla="*/ 1122851 w 1355160"/>
                  <a:gd name="connsiteY187" fmla="*/ 158494 h 241426"/>
                  <a:gd name="connsiteX188" fmla="*/ 1125369 w 1355160"/>
                  <a:gd name="connsiteY188" fmla="*/ 182057 h 241426"/>
                  <a:gd name="connsiteX189" fmla="*/ 1127622 w 1355160"/>
                  <a:gd name="connsiteY189" fmla="*/ 124926 h 241426"/>
                  <a:gd name="connsiteX190" fmla="*/ 1132658 w 1355160"/>
                  <a:gd name="connsiteY190" fmla="*/ 182452 h 241426"/>
                  <a:gd name="connsiteX191" fmla="*/ 1135176 w 1355160"/>
                  <a:gd name="connsiteY191" fmla="*/ 173369 h 241426"/>
                  <a:gd name="connsiteX192" fmla="*/ 1137428 w 1355160"/>
                  <a:gd name="connsiteY192" fmla="*/ 173369 h 241426"/>
                  <a:gd name="connsiteX193" fmla="*/ 1138224 w 1355160"/>
                  <a:gd name="connsiteY193" fmla="*/ 118475 h 241426"/>
                  <a:gd name="connsiteX194" fmla="*/ 1143789 w 1355160"/>
                  <a:gd name="connsiteY194" fmla="*/ 146383 h 241426"/>
                  <a:gd name="connsiteX195" fmla="*/ 1149488 w 1355160"/>
                  <a:gd name="connsiteY195" fmla="*/ 0 h 241426"/>
                  <a:gd name="connsiteX196" fmla="*/ 1153861 w 1355160"/>
                  <a:gd name="connsiteY196" fmla="*/ 84512 h 241426"/>
                  <a:gd name="connsiteX197" fmla="*/ 1157042 w 1355160"/>
                  <a:gd name="connsiteY197" fmla="*/ 11321 h 241426"/>
                  <a:gd name="connsiteX198" fmla="*/ 1158632 w 1355160"/>
                  <a:gd name="connsiteY198" fmla="*/ 139011 h 241426"/>
                  <a:gd name="connsiteX199" fmla="*/ 1162077 w 1355160"/>
                  <a:gd name="connsiteY199" fmla="*/ 38044 h 241426"/>
                  <a:gd name="connsiteX200" fmla="*/ 1165258 w 1355160"/>
                  <a:gd name="connsiteY200" fmla="*/ 100441 h 241426"/>
                  <a:gd name="connsiteX201" fmla="*/ 1171884 w 1355160"/>
                  <a:gd name="connsiteY201" fmla="*/ 128348 h 241426"/>
                  <a:gd name="connsiteX202" fmla="*/ 1174137 w 1355160"/>
                  <a:gd name="connsiteY202" fmla="*/ 114658 h 241426"/>
                  <a:gd name="connsiteX203" fmla="*/ 1176655 w 1355160"/>
                  <a:gd name="connsiteY203" fmla="*/ 167182 h 241426"/>
                  <a:gd name="connsiteX204" fmla="*/ 1180365 w 1355160"/>
                  <a:gd name="connsiteY204" fmla="*/ 144276 h 241426"/>
                  <a:gd name="connsiteX205" fmla="*/ 1180365 w 1355160"/>
                  <a:gd name="connsiteY205" fmla="*/ 190087 h 241426"/>
                  <a:gd name="connsiteX206" fmla="*/ 1184208 w 1355160"/>
                  <a:gd name="connsiteY206" fmla="*/ 188770 h 241426"/>
                  <a:gd name="connsiteX207" fmla="*/ 1188316 w 1355160"/>
                  <a:gd name="connsiteY207" fmla="*/ 216020 h 241426"/>
                  <a:gd name="connsiteX208" fmla="*/ 1193352 w 1355160"/>
                  <a:gd name="connsiteY208" fmla="*/ 203777 h 241426"/>
                  <a:gd name="connsiteX209" fmla="*/ 1197063 w 1355160"/>
                  <a:gd name="connsiteY209" fmla="*/ 219179 h 241426"/>
                  <a:gd name="connsiteX210" fmla="*/ 1201171 w 1355160"/>
                  <a:gd name="connsiteY210" fmla="*/ 208385 h 241426"/>
                  <a:gd name="connsiteX211" fmla="*/ 1206207 w 1355160"/>
                  <a:gd name="connsiteY211" fmla="*/ 207990 h 241426"/>
                  <a:gd name="connsiteX212" fmla="*/ 1208990 w 1355160"/>
                  <a:gd name="connsiteY212" fmla="*/ 179687 h 241426"/>
                  <a:gd name="connsiteX213" fmla="*/ 1211243 w 1355160"/>
                  <a:gd name="connsiteY213" fmla="*/ 198512 h 241426"/>
                  <a:gd name="connsiteX214" fmla="*/ 1212833 w 1355160"/>
                  <a:gd name="connsiteY214" fmla="*/ 198512 h 241426"/>
                  <a:gd name="connsiteX215" fmla="*/ 1212833 w 1355160"/>
                  <a:gd name="connsiteY215" fmla="*/ 217994 h 241426"/>
                  <a:gd name="connsiteX216" fmla="*/ 1217206 w 1355160"/>
                  <a:gd name="connsiteY216" fmla="*/ 196669 h 241426"/>
                  <a:gd name="connsiteX217" fmla="*/ 1221977 w 1355160"/>
                  <a:gd name="connsiteY217" fmla="*/ 222075 h 241426"/>
                  <a:gd name="connsiteX218" fmla="*/ 1225687 w 1355160"/>
                  <a:gd name="connsiteY218" fmla="*/ 210754 h 241426"/>
                  <a:gd name="connsiteX219" fmla="*/ 1231386 w 1355160"/>
                  <a:gd name="connsiteY219" fmla="*/ 224708 h 241426"/>
                  <a:gd name="connsiteX220" fmla="*/ 1245168 w 1355160"/>
                  <a:gd name="connsiteY220" fmla="*/ 220364 h 241426"/>
                  <a:gd name="connsiteX221" fmla="*/ 1250866 w 1355160"/>
                  <a:gd name="connsiteY221" fmla="*/ 206673 h 241426"/>
                  <a:gd name="connsiteX222" fmla="*/ 1254047 w 1355160"/>
                  <a:gd name="connsiteY222" fmla="*/ 216283 h 241426"/>
                  <a:gd name="connsiteX223" fmla="*/ 1260010 w 1355160"/>
                  <a:gd name="connsiteY223" fmla="*/ 221549 h 241426"/>
                  <a:gd name="connsiteX224" fmla="*/ 1266239 w 1355160"/>
                  <a:gd name="connsiteY224" fmla="*/ 229184 h 241426"/>
                  <a:gd name="connsiteX225" fmla="*/ 1268492 w 1355160"/>
                  <a:gd name="connsiteY225" fmla="*/ 29882 h 241426"/>
                  <a:gd name="connsiteX226" fmla="*/ 1271010 w 1355160"/>
                  <a:gd name="connsiteY226" fmla="*/ 241426 h 241426"/>
                  <a:gd name="connsiteX227" fmla="*/ 1274720 w 1355160"/>
                  <a:gd name="connsiteY227" fmla="*/ 222470 h 241426"/>
                  <a:gd name="connsiteX228" fmla="*/ 1355160 w 1355160"/>
                  <a:gd name="connsiteY228" fmla="*/ 223787 h 241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1355160" h="241426">
                    <a:moveTo>
                      <a:pt x="0" y="223655"/>
                    </a:moveTo>
                    <a:lnTo>
                      <a:pt x="35516" y="223655"/>
                    </a:lnTo>
                    <a:cubicBezTo>
                      <a:pt x="35516" y="223655"/>
                      <a:pt x="45190" y="216283"/>
                      <a:pt x="46250" y="216283"/>
                    </a:cubicBezTo>
                    <a:cubicBezTo>
                      <a:pt x="47310" y="216283"/>
                      <a:pt x="54996" y="223655"/>
                      <a:pt x="54996" y="223655"/>
                    </a:cubicBezTo>
                    <a:lnTo>
                      <a:pt x="109330" y="223655"/>
                    </a:lnTo>
                    <a:lnTo>
                      <a:pt x="113703" y="216283"/>
                    </a:lnTo>
                    <a:lnTo>
                      <a:pt x="116221" y="223655"/>
                    </a:lnTo>
                    <a:lnTo>
                      <a:pt x="119004" y="216283"/>
                    </a:lnTo>
                    <a:lnTo>
                      <a:pt x="124305" y="223655"/>
                    </a:lnTo>
                    <a:lnTo>
                      <a:pt x="134641" y="223655"/>
                    </a:lnTo>
                    <a:lnTo>
                      <a:pt x="145376" y="212729"/>
                    </a:lnTo>
                    <a:lnTo>
                      <a:pt x="148556" y="218258"/>
                    </a:lnTo>
                    <a:lnTo>
                      <a:pt x="152002" y="212729"/>
                    </a:lnTo>
                    <a:lnTo>
                      <a:pt x="155712" y="218258"/>
                    </a:lnTo>
                    <a:lnTo>
                      <a:pt x="158893" y="212729"/>
                    </a:lnTo>
                    <a:cubicBezTo>
                      <a:pt x="158893" y="212729"/>
                      <a:pt x="158230" y="219179"/>
                      <a:pt x="160218" y="218258"/>
                    </a:cubicBezTo>
                    <a:cubicBezTo>
                      <a:pt x="162073" y="217336"/>
                      <a:pt x="168699" y="218258"/>
                      <a:pt x="168699" y="218258"/>
                    </a:cubicBezTo>
                    <a:lnTo>
                      <a:pt x="174398" y="207332"/>
                    </a:lnTo>
                    <a:cubicBezTo>
                      <a:pt x="174398" y="207332"/>
                      <a:pt x="179964" y="216941"/>
                      <a:pt x="181024" y="215493"/>
                    </a:cubicBezTo>
                    <a:cubicBezTo>
                      <a:pt x="181951" y="214177"/>
                      <a:pt x="186325" y="207332"/>
                      <a:pt x="186325" y="207332"/>
                    </a:cubicBezTo>
                    <a:cubicBezTo>
                      <a:pt x="186325" y="207332"/>
                      <a:pt x="187650" y="211939"/>
                      <a:pt x="188843" y="211939"/>
                    </a:cubicBezTo>
                    <a:cubicBezTo>
                      <a:pt x="190035" y="211939"/>
                      <a:pt x="196131" y="205094"/>
                      <a:pt x="196131" y="205094"/>
                    </a:cubicBezTo>
                    <a:lnTo>
                      <a:pt x="200239" y="217468"/>
                    </a:lnTo>
                    <a:lnTo>
                      <a:pt x="207130" y="210623"/>
                    </a:lnTo>
                    <a:cubicBezTo>
                      <a:pt x="207130" y="210623"/>
                      <a:pt x="212431" y="217468"/>
                      <a:pt x="213359" y="216546"/>
                    </a:cubicBezTo>
                    <a:cubicBezTo>
                      <a:pt x="214287" y="215625"/>
                      <a:pt x="218660" y="211544"/>
                      <a:pt x="218660" y="211544"/>
                    </a:cubicBezTo>
                    <a:lnTo>
                      <a:pt x="222105" y="198775"/>
                    </a:lnTo>
                    <a:lnTo>
                      <a:pt x="225816" y="195616"/>
                    </a:lnTo>
                    <a:lnTo>
                      <a:pt x="230587" y="205620"/>
                    </a:lnTo>
                    <a:lnTo>
                      <a:pt x="232840" y="200091"/>
                    </a:lnTo>
                    <a:lnTo>
                      <a:pt x="238140" y="195484"/>
                    </a:lnTo>
                    <a:lnTo>
                      <a:pt x="240658" y="206410"/>
                    </a:lnTo>
                    <a:lnTo>
                      <a:pt x="244104" y="200486"/>
                    </a:lnTo>
                    <a:lnTo>
                      <a:pt x="249140" y="198643"/>
                    </a:lnTo>
                    <a:lnTo>
                      <a:pt x="251392" y="191798"/>
                    </a:lnTo>
                    <a:lnTo>
                      <a:pt x="254175" y="195879"/>
                    </a:lnTo>
                    <a:cubicBezTo>
                      <a:pt x="254175" y="195879"/>
                      <a:pt x="258814" y="193641"/>
                      <a:pt x="258814" y="194958"/>
                    </a:cubicBezTo>
                    <a:cubicBezTo>
                      <a:pt x="258814" y="196274"/>
                      <a:pt x="257886" y="209175"/>
                      <a:pt x="258814" y="207727"/>
                    </a:cubicBezTo>
                    <a:cubicBezTo>
                      <a:pt x="259741" y="206410"/>
                      <a:pt x="264512" y="199960"/>
                      <a:pt x="264512" y="199960"/>
                    </a:cubicBezTo>
                    <a:lnTo>
                      <a:pt x="270210" y="211807"/>
                    </a:lnTo>
                    <a:lnTo>
                      <a:pt x="277102" y="199960"/>
                    </a:lnTo>
                    <a:lnTo>
                      <a:pt x="280282" y="207727"/>
                    </a:lnTo>
                    <a:lnTo>
                      <a:pt x="288498" y="195879"/>
                    </a:lnTo>
                    <a:lnTo>
                      <a:pt x="296582" y="210491"/>
                    </a:lnTo>
                    <a:lnTo>
                      <a:pt x="298835" y="195879"/>
                    </a:lnTo>
                    <a:lnTo>
                      <a:pt x="302016" y="207727"/>
                    </a:lnTo>
                    <a:lnTo>
                      <a:pt x="304533" y="201803"/>
                    </a:lnTo>
                    <a:lnTo>
                      <a:pt x="310232" y="211018"/>
                    </a:lnTo>
                    <a:lnTo>
                      <a:pt x="313412" y="202329"/>
                    </a:lnTo>
                    <a:lnTo>
                      <a:pt x="322821" y="211544"/>
                    </a:lnTo>
                    <a:lnTo>
                      <a:pt x="325339" y="198249"/>
                    </a:lnTo>
                    <a:lnTo>
                      <a:pt x="327857" y="207858"/>
                    </a:lnTo>
                    <a:lnTo>
                      <a:pt x="330110" y="200091"/>
                    </a:lnTo>
                    <a:lnTo>
                      <a:pt x="333291" y="207858"/>
                    </a:lnTo>
                    <a:lnTo>
                      <a:pt x="337399" y="191798"/>
                    </a:lnTo>
                    <a:lnTo>
                      <a:pt x="340182" y="210096"/>
                    </a:lnTo>
                    <a:lnTo>
                      <a:pt x="344820" y="214177"/>
                    </a:lnTo>
                    <a:lnTo>
                      <a:pt x="348663" y="216415"/>
                    </a:lnTo>
                    <a:lnTo>
                      <a:pt x="353301" y="207727"/>
                    </a:lnTo>
                    <a:lnTo>
                      <a:pt x="360590" y="217336"/>
                    </a:lnTo>
                    <a:lnTo>
                      <a:pt x="366818" y="193510"/>
                    </a:lnTo>
                    <a:lnTo>
                      <a:pt x="372517" y="213650"/>
                    </a:lnTo>
                    <a:lnTo>
                      <a:pt x="375300" y="199433"/>
                    </a:lnTo>
                    <a:lnTo>
                      <a:pt x="378480" y="185216"/>
                    </a:lnTo>
                    <a:lnTo>
                      <a:pt x="382588" y="185216"/>
                    </a:lnTo>
                    <a:lnTo>
                      <a:pt x="384444" y="192061"/>
                    </a:lnTo>
                    <a:lnTo>
                      <a:pt x="387227" y="148621"/>
                    </a:lnTo>
                    <a:lnTo>
                      <a:pt x="389744" y="186138"/>
                    </a:lnTo>
                    <a:lnTo>
                      <a:pt x="392527" y="196142"/>
                    </a:lnTo>
                    <a:lnTo>
                      <a:pt x="395310" y="192983"/>
                    </a:lnTo>
                    <a:lnTo>
                      <a:pt x="396901" y="213519"/>
                    </a:lnTo>
                    <a:lnTo>
                      <a:pt x="398491" y="204436"/>
                    </a:lnTo>
                    <a:lnTo>
                      <a:pt x="401936" y="208516"/>
                    </a:lnTo>
                    <a:lnTo>
                      <a:pt x="404189" y="189824"/>
                    </a:lnTo>
                    <a:lnTo>
                      <a:pt x="407635" y="198512"/>
                    </a:lnTo>
                    <a:lnTo>
                      <a:pt x="412671" y="199038"/>
                    </a:lnTo>
                    <a:lnTo>
                      <a:pt x="415454" y="213650"/>
                    </a:lnTo>
                    <a:lnTo>
                      <a:pt x="417706" y="197195"/>
                    </a:lnTo>
                    <a:lnTo>
                      <a:pt x="423670" y="215098"/>
                    </a:lnTo>
                    <a:cubicBezTo>
                      <a:pt x="423670" y="215098"/>
                      <a:pt x="428441" y="206410"/>
                      <a:pt x="428706" y="205094"/>
                    </a:cubicBezTo>
                    <a:cubicBezTo>
                      <a:pt x="428971" y="203646"/>
                      <a:pt x="430296" y="193246"/>
                      <a:pt x="430296" y="193246"/>
                    </a:cubicBezTo>
                    <a:lnTo>
                      <a:pt x="434006" y="208385"/>
                    </a:lnTo>
                    <a:lnTo>
                      <a:pt x="438115" y="217468"/>
                    </a:lnTo>
                    <a:lnTo>
                      <a:pt x="440368" y="205094"/>
                    </a:lnTo>
                    <a:lnTo>
                      <a:pt x="448584" y="219706"/>
                    </a:lnTo>
                    <a:lnTo>
                      <a:pt x="454812" y="217863"/>
                    </a:lnTo>
                    <a:lnTo>
                      <a:pt x="460113" y="221944"/>
                    </a:lnTo>
                    <a:lnTo>
                      <a:pt x="464221" y="217863"/>
                    </a:lnTo>
                    <a:lnTo>
                      <a:pt x="470847" y="223787"/>
                    </a:lnTo>
                    <a:lnTo>
                      <a:pt x="476546" y="208253"/>
                    </a:lnTo>
                    <a:lnTo>
                      <a:pt x="482509" y="223787"/>
                    </a:lnTo>
                    <a:lnTo>
                      <a:pt x="509544" y="223787"/>
                    </a:lnTo>
                    <a:lnTo>
                      <a:pt x="512989" y="218784"/>
                    </a:lnTo>
                    <a:cubicBezTo>
                      <a:pt x="512989" y="218784"/>
                      <a:pt x="520543" y="221944"/>
                      <a:pt x="521735" y="223787"/>
                    </a:cubicBezTo>
                    <a:cubicBezTo>
                      <a:pt x="523061" y="225629"/>
                      <a:pt x="529952" y="223787"/>
                      <a:pt x="529952" y="223787"/>
                    </a:cubicBezTo>
                    <a:lnTo>
                      <a:pt x="531542" y="221022"/>
                    </a:lnTo>
                    <a:lnTo>
                      <a:pt x="534723" y="224576"/>
                    </a:lnTo>
                    <a:lnTo>
                      <a:pt x="553010" y="224576"/>
                    </a:lnTo>
                    <a:lnTo>
                      <a:pt x="556191" y="221944"/>
                    </a:lnTo>
                    <a:lnTo>
                      <a:pt x="560299" y="224576"/>
                    </a:lnTo>
                    <a:lnTo>
                      <a:pt x="613705" y="218784"/>
                    </a:lnTo>
                    <a:lnTo>
                      <a:pt x="632523" y="212860"/>
                    </a:lnTo>
                    <a:lnTo>
                      <a:pt x="665521" y="202988"/>
                    </a:lnTo>
                    <a:lnTo>
                      <a:pt x="694410" y="194299"/>
                    </a:lnTo>
                    <a:lnTo>
                      <a:pt x="710446" y="193773"/>
                    </a:lnTo>
                    <a:lnTo>
                      <a:pt x="728998" y="187323"/>
                    </a:lnTo>
                    <a:lnTo>
                      <a:pt x="742781" y="187323"/>
                    </a:lnTo>
                    <a:lnTo>
                      <a:pt x="776043" y="172184"/>
                    </a:lnTo>
                    <a:lnTo>
                      <a:pt x="782934" y="179293"/>
                    </a:lnTo>
                    <a:lnTo>
                      <a:pt x="789163" y="178898"/>
                    </a:lnTo>
                    <a:lnTo>
                      <a:pt x="791946" y="40150"/>
                    </a:lnTo>
                    <a:lnTo>
                      <a:pt x="796982" y="179424"/>
                    </a:lnTo>
                    <a:lnTo>
                      <a:pt x="800427" y="122293"/>
                    </a:lnTo>
                    <a:lnTo>
                      <a:pt x="802283" y="175343"/>
                    </a:lnTo>
                    <a:lnTo>
                      <a:pt x="806656" y="130059"/>
                    </a:lnTo>
                    <a:lnTo>
                      <a:pt x="809439" y="168498"/>
                    </a:lnTo>
                    <a:lnTo>
                      <a:pt x="811029" y="110708"/>
                    </a:lnTo>
                    <a:lnTo>
                      <a:pt x="813547" y="173500"/>
                    </a:lnTo>
                    <a:lnTo>
                      <a:pt x="816992" y="21852"/>
                    </a:lnTo>
                    <a:lnTo>
                      <a:pt x="818848" y="174159"/>
                    </a:lnTo>
                    <a:lnTo>
                      <a:pt x="822558" y="189955"/>
                    </a:lnTo>
                    <a:lnTo>
                      <a:pt x="822558" y="198643"/>
                    </a:lnTo>
                    <a:lnTo>
                      <a:pt x="826666" y="189165"/>
                    </a:lnTo>
                    <a:lnTo>
                      <a:pt x="829847" y="192061"/>
                    </a:lnTo>
                    <a:lnTo>
                      <a:pt x="832100" y="199170"/>
                    </a:lnTo>
                    <a:lnTo>
                      <a:pt x="834883" y="189560"/>
                    </a:lnTo>
                    <a:lnTo>
                      <a:pt x="837666" y="194563"/>
                    </a:lnTo>
                    <a:lnTo>
                      <a:pt x="842039" y="189955"/>
                    </a:lnTo>
                    <a:lnTo>
                      <a:pt x="848002" y="197722"/>
                    </a:lnTo>
                    <a:lnTo>
                      <a:pt x="853038" y="192193"/>
                    </a:lnTo>
                    <a:lnTo>
                      <a:pt x="860857" y="199038"/>
                    </a:lnTo>
                    <a:lnTo>
                      <a:pt x="866820" y="188507"/>
                    </a:lnTo>
                    <a:lnTo>
                      <a:pt x="872121" y="198117"/>
                    </a:lnTo>
                    <a:lnTo>
                      <a:pt x="879410" y="198643"/>
                    </a:lnTo>
                    <a:lnTo>
                      <a:pt x="883518" y="207332"/>
                    </a:lnTo>
                    <a:lnTo>
                      <a:pt x="887626" y="206015"/>
                    </a:lnTo>
                    <a:lnTo>
                      <a:pt x="892662" y="181267"/>
                    </a:lnTo>
                    <a:lnTo>
                      <a:pt x="898890" y="186796"/>
                    </a:lnTo>
                    <a:lnTo>
                      <a:pt x="906179" y="209175"/>
                    </a:lnTo>
                    <a:lnTo>
                      <a:pt x="913070" y="213255"/>
                    </a:lnTo>
                    <a:lnTo>
                      <a:pt x="920359" y="201408"/>
                    </a:lnTo>
                    <a:lnTo>
                      <a:pt x="935466" y="199433"/>
                    </a:lnTo>
                    <a:lnTo>
                      <a:pt x="943285" y="194299"/>
                    </a:lnTo>
                    <a:lnTo>
                      <a:pt x="946466" y="174159"/>
                    </a:lnTo>
                    <a:cubicBezTo>
                      <a:pt x="946466" y="174159"/>
                      <a:pt x="948321" y="192851"/>
                      <a:pt x="949646" y="192456"/>
                    </a:cubicBezTo>
                    <a:cubicBezTo>
                      <a:pt x="950839" y="191930"/>
                      <a:pt x="954947" y="180609"/>
                      <a:pt x="954947" y="180609"/>
                    </a:cubicBezTo>
                    <a:lnTo>
                      <a:pt x="956537" y="165470"/>
                    </a:lnTo>
                    <a:lnTo>
                      <a:pt x="960910" y="177318"/>
                    </a:lnTo>
                    <a:lnTo>
                      <a:pt x="975355" y="143223"/>
                    </a:lnTo>
                    <a:lnTo>
                      <a:pt x="983174" y="166392"/>
                    </a:lnTo>
                    <a:lnTo>
                      <a:pt x="990065" y="135720"/>
                    </a:lnTo>
                    <a:lnTo>
                      <a:pt x="996691" y="141249"/>
                    </a:lnTo>
                    <a:lnTo>
                      <a:pt x="1003317" y="128875"/>
                    </a:lnTo>
                    <a:lnTo>
                      <a:pt x="1006100" y="115579"/>
                    </a:lnTo>
                    <a:lnTo>
                      <a:pt x="1006895" y="66478"/>
                    </a:lnTo>
                    <a:lnTo>
                      <a:pt x="1009811" y="148884"/>
                    </a:lnTo>
                    <a:lnTo>
                      <a:pt x="1016834" y="130586"/>
                    </a:lnTo>
                    <a:lnTo>
                      <a:pt x="1018955" y="76351"/>
                    </a:lnTo>
                    <a:cubicBezTo>
                      <a:pt x="1018955" y="76351"/>
                      <a:pt x="1023725" y="131507"/>
                      <a:pt x="1023725" y="128217"/>
                    </a:cubicBezTo>
                    <a:lnTo>
                      <a:pt x="1023725" y="103468"/>
                    </a:lnTo>
                    <a:lnTo>
                      <a:pt x="1026906" y="127690"/>
                    </a:lnTo>
                    <a:lnTo>
                      <a:pt x="1031279" y="123214"/>
                    </a:lnTo>
                    <a:lnTo>
                      <a:pt x="1033532" y="133087"/>
                    </a:lnTo>
                    <a:lnTo>
                      <a:pt x="1039230" y="126242"/>
                    </a:lnTo>
                    <a:cubicBezTo>
                      <a:pt x="1039230" y="126242"/>
                      <a:pt x="1041748" y="135457"/>
                      <a:pt x="1043073" y="135457"/>
                    </a:cubicBezTo>
                    <a:cubicBezTo>
                      <a:pt x="1044399" y="135457"/>
                      <a:pt x="1050627" y="132297"/>
                      <a:pt x="1050627" y="132297"/>
                    </a:cubicBezTo>
                    <a:lnTo>
                      <a:pt x="1055795" y="67794"/>
                    </a:lnTo>
                    <a:lnTo>
                      <a:pt x="1059108" y="118475"/>
                    </a:lnTo>
                    <a:lnTo>
                      <a:pt x="1062686" y="107812"/>
                    </a:lnTo>
                    <a:lnTo>
                      <a:pt x="1066265" y="117027"/>
                    </a:lnTo>
                    <a:lnTo>
                      <a:pt x="1073156" y="67794"/>
                    </a:lnTo>
                    <a:lnTo>
                      <a:pt x="1074348" y="107681"/>
                    </a:lnTo>
                    <a:lnTo>
                      <a:pt x="1076601" y="117685"/>
                    </a:lnTo>
                    <a:lnTo>
                      <a:pt x="1078854" y="134140"/>
                    </a:lnTo>
                    <a:lnTo>
                      <a:pt x="1082565" y="156256"/>
                    </a:lnTo>
                    <a:lnTo>
                      <a:pt x="1085745" y="88198"/>
                    </a:lnTo>
                    <a:lnTo>
                      <a:pt x="1088926" y="153491"/>
                    </a:lnTo>
                    <a:lnTo>
                      <a:pt x="1095552" y="130586"/>
                    </a:lnTo>
                    <a:lnTo>
                      <a:pt x="1098732" y="171789"/>
                    </a:lnTo>
                    <a:lnTo>
                      <a:pt x="1102840" y="137036"/>
                    </a:lnTo>
                    <a:lnTo>
                      <a:pt x="1105491" y="180609"/>
                    </a:lnTo>
                    <a:lnTo>
                      <a:pt x="1109731" y="133482"/>
                    </a:lnTo>
                    <a:lnTo>
                      <a:pt x="1111322" y="196011"/>
                    </a:lnTo>
                    <a:lnTo>
                      <a:pt x="1114105" y="196011"/>
                    </a:lnTo>
                    <a:cubicBezTo>
                      <a:pt x="1114105" y="196011"/>
                      <a:pt x="1116888" y="133350"/>
                      <a:pt x="1116888" y="132034"/>
                    </a:cubicBezTo>
                    <a:cubicBezTo>
                      <a:pt x="1116888" y="130718"/>
                      <a:pt x="1120996" y="144540"/>
                      <a:pt x="1120996" y="144540"/>
                    </a:cubicBezTo>
                    <a:lnTo>
                      <a:pt x="1120996" y="7109"/>
                    </a:lnTo>
                    <a:lnTo>
                      <a:pt x="1122851" y="158494"/>
                    </a:lnTo>
                    <a:lnTo>
                      <a:pt x="1125369" y="182057"/>
                    </a:lnTo>
                    <a:lnTo>
                      <a:pt x="1127622" y="124926"/>
                    </a:lnTo>
                    <a:lnTo>
                      <a:pt x="1132658" y="182452"/>
                    </a:lnTo>
                    <a:lnTo>
                      <a:pt x="1135176" y="173369"/>
                    </a:lnTo>
                    <a:lnTo>
                      <a:pt x="1137428" y="173369"/>
                    </a:lnTo>
                    <a:lnTo>
                      <a:pt x="1138224" y="118475"/>
                    </a:lnTo>
                    <a:lnTo>
                      <a:pt x="1143789" y="146383"/>
                    </a:lnTo>
                    <a:lnTo>
                      <a:pt x="1149488" y="0"/>
                    </a:lnTo>
                    <a:lnTo>
                      <a:pt x="1153861" y="84512"/>
                    </a:lnTo>
                    <a:lnTo>
                      <a:pt x="1157042" y="11321"/>
                    </a:lnTo>
                    <a:lnTo>
                      <a:pt x="1158632" y="139011"/>
                    </a:lnTo>
                    <a:lnTo>
                      <a:pt x="1162077" y="38044"/>
                    </a:lnTo>
                    <a:lnTo>
                      <a:pt x="1165258" y="100441"/>
                    </a:lnTo>
                    <a:lnTo>
                      <a:pt x="1171884" y="128348"/>
                    </a:lnTo>
                    <a:lnTo>
                      <a:pt x="1174137" y="114658"/>
                    </a:lnTo>
                    <a:lnTo>
                      <a:pt x="1176655" y="167182"/>
                    </a:lnTo>
                    <a:lnTo>
                      <a:pt x="1180365" y="144276"/>
                    </a:lnTo>
                    <a:lnTo>
                      <a:pt x="1180365" y="190087"/>
                    </a:lnTo>
                    <a:lnTo>
                      <a:pt x="1184208" y="188770"/>
                    </a:lnTo>
                    <a:lnTo>
                      <a:pt x="1188316" y="216020"/>
                    </a:lnTo>
                    <a:lnTo>
                      <a:pt x="1193352" y="203777"/>
                    </a:lnTo>
                    <a:lnTo>
                      <a:pt x="1197063" y="219179"/>
                    </a:lnTo>
                    <a:lnTo>
                      <a:pt x="1201171" y="208385"/>
                    </a:lnTo>
                    <a:lnTo>
                      <a:pt x="1206207" y="207990"/>
                    </a:lnTo>
                    <a:lnTo>
                      <a:pt x="1208990" y="179687"/>
                    </a:lnTo>
                    <a:lnTo>
                      <a:pt x="1211243" y="198512"/>
                    </a:lnTo>
                    <a:lnTo>
                      <a:pt x="1212833" y="198512"/>
                    </a:lnTo>
                    <a:lnTo>
                      <a:pt x="1212833" y="217994"/>
                    </a:lnTo>
                    <a:lnTo>
                      <a:pt x="1217206" y="196669"/>
                    </a:lnTo>
                    <a:lnTo>
                      <a:pt x="1221977" y="222075"/>
                    </a:lnTo>
                    <a:lnTo>
                      <a:pt x="1225687" y="210754"/>
                    </a:lnTo>
                    <a:lnTo>
                      <a:pt x="1231386" y="224708"/>
                    </a:lnTo>
                    <a:lnTo>
                      <a:pt x="1245168" y="220364"/>
                    </a:lnTo>
                    <a:lnTo>
                      <a:pt x="1250866" y="206673"/>
                    </a:lnTo>
                    <a:lnTo>
                      <a:pt x="1254047" y="216283"/>
                    </a:lnTo>
                    <a:lnTo>
                      <a:pt x="1260010" y="221549"/>
                    </a:lnTo>
                    <a:lnTo>
                      <a:pt x="1266239" y="229184"/>
                    </a:lnTo>
                    <a:lnTo>
                      <a:pt x="1268492" y="29882"/>
                    </a:lnTo>
                    <a:lnTo>
                      <a:pt x="1271010" y="241426"/>
                    </a:lnTo>
                    <a:lnTo>
                      <a:pt x="1274720" y="222470"/>
                    </a:lnTo>
                    <a:lnTo>
                      <a:pt x="1355160" y="223787"/>
                    </a:lnTo>
                  </a:path>
                </a:pathLst>
              </a:custGeom>
              <a:noFill/>
              <a:ln w="6350"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261" name="Freeform 260">
                <a:extLst>
                  <a:ext uri="{FF2B5EF4-FFF2-40B4-BE49-F238E27FC236}">
                    <a16:creationId xmlns:a16="http://schemas.microsoft.com/office/drawing/2014/main" id="{9EB16D77-9646-84AD-FE9F-1333604E7004}"/>
                  </a:ext>
                </a:extLst>
              </p:cNvPr>
              <p:cNvSpPr/>
              <p:nvPr/>
            </p:nvSpPr>
            <p:spPr>
              <a:xfrm>
                <a:off x="1339325" y="2552051"/>
                <a:ext cx="1353967" cy="228657"/>
              </a:xfrm>
              <a:custGeom>
                <a:avLst/>
                <a:gdLst>
                  <a:gd name="connsiteX0" fmla="*/ 0 w 1353967"/>
                  <a:gd name="connsiteY0" fmla="*/ 220101 h 228657"/>
                  <a:gd name="connsiteX1" fmla="*/ 20673 w 1353967"/>
                  <a:gd name="connsiteY1" fmla="*/ 220101 h 228657"/>
                  <a:gd name="connsiteX2" fmla="*/ 24119 w 1353967"/>
                  <a:gd name="connsiteY2" fmla="*/ 217863 h 228657"/>
                  <a:gd name="connsiteX3" fmla="*/ 28757 w 1353967"/>
                  <a:gd name="connsiteY3" fmla="*/ 222470 h 228657"/>
                  <a:gd name="connsiteX4" fmla="*/ 41612 w 1353967"/>
                  <a:gd name="connsiteY4" fmla="*/ 222470 h 228657"/>
                  <a:gd name="connsiteX5" fmla="*/ 45057 w 1353967"/>
                  <a:gd name="connsiteY5" fmla="*/ 214703 h 228657"/>
                  <a:gd name="connsiteX6" fmla="*/ 49430 w 1353967"/>
                  <a:gd name="connsiteY6" fmla="*/ 214703 h 228657"/>
                  <a:gd name="connsiteX7" fmla="*/ 52213 w 1353967"/>
                  <a:gd name="connsiteY7" fmla="*/ 222470 h 228657"/>
                  <a:gd name="connsiteX8" fmla="*/ 77657 w 1353967"/>
                  <a:gd name="connsiteY8" fmla="*/ 220627 h 228657"/>
                  <a:gd name="connsiteX9" fmla="*/ 78585 w 1353967"/>
                  <a:gd name="connsiteY9" fmla="*/ 217468 h 228657"/>
                  <a:gd name="connsiteX10" fmla="*/ 81368 w 1353967"/>
                  <a:gd name="connsiteY10" fmla="*/ 220627 h 228657"/>
                  <a:gd name="connsiteX11" fmla="*/ 112113 w 1353967"/>
                  <a:gd name="connsiteY11" fmla="*/ 219706 h 228657"/>
                  <a:gd name="connsiteX12" fmla="*/ 115558 w 1353967"/>
                  <a:gd name="connsiteY12" fmla="*/ 216546 h 228657"/>
                  <a:gd name="connsiteX13" fmla="*/ 124702 w 1353967"/>
                  <a:gd name="connsiteY13" fmla="*/ 216546 h 228657"/>
                  <a:gd name="connsiteX14" fmla="*/ 125895 w 1353967"/>
                  <a:gd name="connsiteY14" fmla="*/ 222075 h 228657"/>
                  <a:gd name="connsiteX15" fmla="*/ 140075 w 1353967"/>
                  <a:gd name="connsiteY15" fmla="*/ 220232 h 228657"/>
                  <a:gd name="connsiteX16" fmla="*/ 148291 w 1353967"/>
                  <a:gd name="connsiteY16" fmla="*/ 210623 h 228657"/>
                  <a:gd name="connsiteX17" fmla="*/ 163664 w 1353967"/>
                  <a:gd name="connsiteY17" fmla="*/ 218784 h 228657"/>
                  <a:gd name="connsiteX18" fmla="*/ 168302 w 1353967"/>
                  <a:gd name="connsiteY18" fmla="*/ 213255 h 228657"/>
                  <a:gd name="connsiteX19" fmla="*/ 170157 w 1353967"/>
                  <a:gd name="connsiteY19" fmla="*/ 216415 h 228657"/>
                  <a:gd name="connsiteX20" fmla="*/ 176121 w 1353967"/>
                  <a:gd name="connsiteY20" fmla="*/ 205094 h 228657"/>
                  <a:gd name="connsiteX21" fmla="*/ 184337 w 1353967"/>
                  <a:gd name="connsiteY21" fmla="*/ 213782 h 228657"/>
                  <a:gd name="connsiteX22" fmla="*/ 188710 w 1353967"/>
                  <a:gd name="connsiteY22" fmla="*/ 205094 h 228657"/>
                  <a:gd name="connsiteX23" fmla="*/ 193083 w 1353967"/>
                  <a:gd name="connsiteY23" fmla="*/ 209175 h 228657"/>
                  <a:gd name="connsiteX24" fmla="*/ 196529 w 1353967"/>
                  <a:gd name="connsiteY24" fmla="*/ 203251 h 228657"/>
                  <a:gd name="connsiteX25" fmla="*/ 202492 w 1353967"/>
                  <a:gd name="connsiteY25" fmla="*/ 217336 h 228657"/>
                  <a:gd name="connsiteX26" fmla="*/ 209648 w 1353967"/>
                  <a:gd name="connsiteY26" fmla="*/ 207332 h 228657"/>
                  <a:gd name="connsiteX27" fmla="*/ 215347 w 1353967"/>
                  <a:gd name="connsiteY27" fmla="*/ 216415 h 228657"/>
                  <a:gd name="connsiteX28" fmla="*/ 228864 w 1353967"/>
                  <a:gd name="connsiteY28" fmla="*/ 193641 h 228657"/>
                  <a:gd name="connsiteX29" fmla="*/ 232309 w 1353967"/>
                  <a:gd name="connsiteY29" fmla="*/ 204567 h 228657"/>
                  <a:gd name="connsiteX30" fmla="*/ 238273 w 1353967"/>
                  <a:gd name="connsiteY30" fmla="*/ 194958 h 228657"/>
                  <a:gd name="connsiteX31" fmla="*/ 243044 w 1353967"/>
                  <a:gd name="connsiteY31" fmla="*/ 205489 h 228657"/>
                  <a:gd name="connsiteX32" fmla="*/ 252453 w 1353967"/>
                  <a:gd name="connsiteY32" fmla="*/ 189034 h 228657"/>
                  <a:gd name="connsiteX33" fmla="*/ 255898 w 1353967"/>
                  <a:gd name="connsiteY33" fmla="*/ 191798 h 228657"/>
                  <a:gd name="connsiteX34" fmla="*/ 259609 w 1353967"/>
                  <a:gd name="connsiteY34" fmla="*/ 191272 h 228657"/>
                  <a:gd name="connsiteX35" fmla="*/ 260536 w 1353967"/>
                  <a:gd name="connsiteY35" fmla="*/ 202724 h 228657"/>
                  <a:gd name="connsiteX36" fmla="*/ 267163 w 1353967"/>
                  <a:gd name="connsiteY36" fmla="*/ 195879 h 228657"/>
                  <a:gd name="connsiteX37" fmla="*/ 271536 w 1353967"/>
                  <a:gd name="connsiteY37" fmla="*/ 209570 h 228657"/>
                  <a:gd name="connsiteX38" fmla="*/ 278162 w 1353967"/>
                  <a:gd name="connsiteY38" fmla="*/ 197722 h 228657"/>
                  <a:gd name="connsiteX39" fmla="*/ 281872 w 1353967"/>
                  <a:gd name="connsiteY39" fmla="*/ 205884 h 228657"/>
                  <a:gd name="connsiteX40" fmla="*/ 291281 w 1353967"/>
                  <a:gd name="connsiteY40" fmla="*/ 192720 h 228657"/>
                  <a:gd name="connsiteX41" fmla="*/ 297245 w 1353967"/>
                  <a:gd name="connsiteY41" fmla="*/ 203646 h 228657"/>
                  <a:gd name="connsiteX42" fmla="*/ 300955 w 1353967"/>
                  <a:gd name="connsiteY42" fmla="*/ 194563 h 228657"/>
                  <a:gd name="connsiteX43" fmla="*/ 303738 w 1353967"/>
                  <a:gd name="connsiteY43" fmla="*/ 203646 h 228657"/>
                  <a:gd name="connsiteX44" fmla="*/ 307184 w 1353967"/>
                  <a:gd name="connsiteY44" fmla="*/ 196801 h 228657"/>
                  <a:gd name="connsiteX45" fmla="*/ 311822 w 1353967"/>
                  <a:gd name="connsiteY45" fmla="*/ 208121 h 228657"/>
                  <a:gd name="connsiteX46" fmla="*/ 315003 w 1353967"/>
                  <a:gd name="connsiteY46" fmla="*/ 200881 h 228657"/>
                  <a:gd name="connsiteX47" fmla="*/ 318713 w 1353967"/>
                  <a:gd name="connsiteY47" fmla="*/ 205489 h 228657"/>
                  <a:gd name="connsiteX48" fmla="*/ 323749 w 1353967"/>
                  <a:gd name="connsiteY48" fmla="*/ 208648 h 228657"/>
                  <a:gd name="connsiteX49" fmla="*/ 326532 w 1353967"/>
                  <a:gd name="connsiteY49" fmla="*/ 195484 h 228657"/>
                  <a:gd name="connsiteX50" fmla="*/ 329977 w 1353967"/>
                  <a:gd name="connsiteY50" fmla="*/ 208648 h 228657"/>
                  <a:gd name="connsiteX51" fmla="*/ 332495 w 1353967"/>
                  <a:gd name="connsiteY51" fmla="*/ 199565 h 228657"/>
                  <a:gd name="connsiteX52" fmla="*/ 333821 w 1353967"/>
                  <a:gd name="connsiteY52" fmla="*/ 203251 h 228657"/>
                  <a:gd name="connsiteX53" fmla="*/ 337531 w 1353967"/>
                  <a:gd name="connsiteY53" fmla="*/ 186796 h 228657"/>
                  <a:gd name="connsiteX54" fmla="*/ 341639 w 1353967"/>
                  <a:gd name="connsiteY54" fmla="*/ 204962 h 228657"/>
                  <a:gd name="connsiteX55" fmla="*/ 348795 w 1353967"/>
                  <a:gd name="connsiteY55" fmla="*/ 214572 h 228657"/>
                  <a:gd name="connsiteX56" fmla="*/ 356349 w 1353967"/>
                  <a:gd name="connsiteY56" fmla="*/ 202329 h 228657"/>
                  <a:gd name="connsiteX57" fmla="*/ 358867 w 1353967"/>
                  <a:gd name="connsiteY57" fmla="*/ 215098 h 228657"/>
                  <a:gd name="connsiteX58" fmla="*/ 362710 w 1353967"/>
                  <a:gd name="connsiteY58" fmla="*/ 214703 h 228657"/>
                  <a:gd name="connsiteX59" fmla="*/ 368011 w 1353967"/>
                  <a:gd name="connsiteY59" fmla="*/ 190613 h 228657"/>
                  <a:gd name="connsiteX60" fmla="*/ 373047 w 1353967"/>
                  <a:gd name="connsiteY60" fmla="*/ 212992 h 228657"/>
                  <a:gd name="connsiteX61" fmla="*/ 374902 w 1353967"/>
                  <a:gd name="connsiteY61" fmla="*/ 197985 h 228657"/>
                  <a:gd name="connsiteX62" fmla="*/ 376492 w 1353967"/>
                  <a:gd name="connsiteY62" fmla="*/ 197064 h 228657"/>
                  <a:gd name="connsiteX63" fmla="*/ 381528 w 1353967"/>
                  <a:gd name="connsiteY63" fmla="*/ 180214 h 228657"/>
                  <a:gd name="connsiteX64" fmla="*/ 384709 w 1353967"/>
                  <a:gd name="connsiteY64" fmla="*/ 190219 h 228657"/>
                  <a:gd name="connsiteX65" fmla="*/ 387227 w 1353967"/>
                  <a:gd name="connsiteY65" fmla="*/ 150990 h 228657"/>
                  <a:gd name="connsiteX66" fmla="*/ 392262 w 1353967"/>
                  <a:gd name="connsiteY66" fmla="*/ 181004 h 228657"/>
                  <a:gd name="connsiteX67" fmla="*/ 395708 w 1353967"/>
                  <a:gd name="connsiteY67" fmla="*/ 198380 h 228657"/>
                  <a:gd name="connsiteX68" fmla="*/ 397563 w 1353967"/>
                  <a:gd name="connsiteY68" fmla="*/ 187849 h 228657"/>
                  <a:gd name="connsiteX69" fmla="*/ 397298 w 1353967"/>
                  <a:gd name="connsiteY69" fmla="*/ 209306 h 228657"/>
                  <a:gd name="connsiteX70" fmla="*/ 400081 w 1353967"/>
                  <a:gd name="connsiteY70" fmla="*/ 198380 h 228657"/>
                  <a:gd name="connsiteX71" fmla="*/ 403527 w 1353967"/>
                  <a:gd name="connsiteY71" fmla="*/ 205225 h 228657"/>
                  <a:gd name="connsiteX72" fmla="*/ 406972 w 1353967"/>
                  <a:gd name="connsiteY72" fmla="*/ 183768 h 228657"/>
                  <a:gd name="connsiteX73" fmla="*/ 409225 w 1353967"/>
                  <a:gd name="connsiteY73" fmla="*/ 195616 h 228657"/>
                  <a:gd name="connsiteX74" fmla="*/ 413598 w 1353967"/>
                  <a:gd name="connsiteY74" fmla="*/ 196537 h 228657"/>
                  <a:gd name="connsiteX75" fmla="*/ 414261 w 1353967"/>
                  <a:gd name="connsiteY75" fmla="*/ 208385 h 228657"/>
                  <a:gd name="connsiteX76" fmla="*/ 420887 w 1353967"/>
                  <a:gd name="connsiteY76" fmla="*/ 192061 h 228657"/>
                  <a:gd name="connsiteX77" fmla="*/ 424730 w 1353967"/>
                  <a:gd name="connsiteY77" fmla="*/ 213914 h 228657"/>
                  <a:gd name="connsiteX78" fmla="*/ 427248 w 1353967"/>
                  <a:gd name="connsiteY78" fmla="*/ 205225 h 228657"/>
                  <a:gd name="connsiteX79" fmla="*/ 432549 w 1353967"/>
                  <a:gd name="connsiteY79" fmla="*/ 185611 h 228657"/>
                  <a:gd name="connsiteX80" fmla="*/ 434802 w 1353967"/>
                  <a:gd name="connsiteY80" fmla="*/ 203382 h 228657"/>
                  <a:gd name="connsiteX81" fmla="*/ 439572 w 1353967"/>
                  <a:gd name="connsiteY81" fmla="*/ 212992 h 228657"/>
                  <a:gd name="connsiteX82" fmla="*/ 442753 w 1353967"/>
                  <a:gd name="connsiteY82" fmla="*/ 197985 h 228657"/>
                  <a:gd name="connsiteX83" fmla="*/ 450307 w 1353967"/>
                  <a:gd name="connsiteY83" fmla="*/ 217073 h 228657"/>
                  <a:gd name="connsiteX84" fmla="*/ 455342 w 1353967"/>
                  <a:gd name="connsiteY84" fmla="*/ 212071 h 228657"/>
                  <a:gd name="connsiteX85" fmla="*/ 464089 w 1353967"/>
                  <a:gd name="connsiteY85" fmla="*/ 219311 h 228657"/>
                  <a:gd name="connsiteX86" fmla="*/ 465281 w 1353967"/>
                  <a:gd name="connsiteY86" fmla="*/ 212860 h 228657"/>
                  <a:gd name="connsiteX87" fmla="*/ 471908 w 1353967"/>
                  <a:gd name="connsiteY87" fmla="*/ 219311 h 228657"/>
                  <a:gd name="connsiteX88" fmla="*/ 477606 w 1353967"/>
                  <a:gd name="connsiteY88" fmla="*/ 203382 h 228657"/>
                  <a:gd name="connsiteX89" fmla="*/ 479859 w 1353967"/>
                  <a:gd name="connsiteY89" fmla="*/ 215625 h 228657"/>
                  <a:gd name="connsiteX90" fmla="*/ 485160 w 1353967"/>
                  <a:gd name="connsiteY90" fmla="*/ 221022 h 228657"/>
                  <a:gd name="connsiteX91" fmla="*/ 511796 w 1353967"/>
                  <a:gd name="connsiteY91" fmla="*/ 220101 h 228657"/>
                  <a:gd name="connsiteX92" fmla="*/ 515640 w 1353967"/>
                  <a:gd name="connsiteY92" fmla="*/ 216415 h 228657"/>
                  <a:gd name="connsiteX93" fmla="*/ 519748 w 1353967"/>
                  <a:gd name="connsiteY93" fmla="*/ 222733 h 228657"/>
                  <a:gd name="connsiteX94" fmla="*/ 527566 w 1353967"/>
                  <a:gd name="connsiteY94" fmla="*/ 222733 h 228657"/>
                  <a:gd name="connsiteX95" fmla="*/ 533530 w 1353967"/>
                  <a:gd name="connsiteY95" fmla="*/ 216810 h 228657"/>
                  <a:gd name="connsiteX96" fmla="*/ 539228 w 1353967"/>
                  <a:gd name="connsiteY96" fmla="*/ 222207 h 228657"/>
                  <a:gd name="connsiteX97" fmla="*/ 586671 w 1353967"/>
                  <a:gd name="connsiteY97" fmla="*/ 220890 h 228657"/>
                  <a:gd name="connsiteX98" fmla="*/ 631330 w 1353967"/>
                  <a:gd name="connsiteY98" fmla="*/ 210886 h 228657"/>
                  <a:gd name="connsiteX99" fmla="*/ 642992 w 1353967"/>
                  <a:gd name="connsiteY99" fmla="*/ 211807 h 228657"/>
                  <a:gd name="connsiteX100" fmla="*/ 657437 w 1353967"/>
                  <a:gd name="connsiteY100" fmla="*/ 206805 h 228657"/>
                  <a:gd name="connsiteX101" fmla="*/ 674665 w 1353967"/>
                  <a:gd name="connsiteY101" fmla="*/ 205884 h 228657"/>
                  <a:gd name="connsiteX102" fmla="*/ 690302 w 1353967"/>
                  <a:gd name="connsiteY102" fmla="*/ 199960 h 228657"/>
                  <a:gd name="connsiteX103" fmla="*/ 710048 w 1353967"/>
                  <a:gd name="connsiteY103" fmla="*/ 198643 h 228657"/>
                  <a:gd name="connsiteX104" fmla="*/ 751527 w 1353967"/>
                  <a:gd name="connsiteY104" fmla="*/ 194036 h 228657"/>
                  <a:gd name="connsiteX105" fmla="*/ 766634 w 1353967"/>
                  <a:gd name="connsiteY105" fmla="*/ 185874 h 228657"/>
                  <a:gd name="connsiteX106" fmla="*/ 770345 w 1353967"/>
                  <a:gd name="connsiteY106" fmla="*/ 186269 h 228657"/>
                  <a:gd name="connsiteX107" fmla="*/ 774188 w 1353967"/>
                  <a:gd name="connsiteY107" fmla="*/ 183505 h 228657"/>
                  <a:gd name="connsiteX108" fmla="*/ 783995 w 1353967"/>
                  <a:gd name="connsiteY108" fmla="*/ 183505 h 228657"/>
                  <a:gd name="connsiteX109" fmla="*/ 787175 w 1353967"/>
                  <a:gd name="connsiteY109" fmla="*/ 180741 h 228657"/>
                  <a:gd name="connsiteX110" fmla="*/ 791813 w 1353967"/>
                  <a:gd name="connsiteY110" fmla="*/ 180741 h 228657"/>
                  <a:gd name="connsiteX111" fmla="*/ 794596 w 1353967"/>
                  <a:gd name="connsiteY111" fmla="*/ 131508 h 228657"/>
                  <a:gd name="connsiteX112" fmla="*/ 795524 w 1353967"/>
                  <a:gd name="connsiteY112" fmla="*/ 169288 h 228657"/>
                  <a:gd name="connsiteX113" fmla="*/ 799632 w 1353967"/>
                  <a:gd name="connsiteY113" fmla="*/ 184821 h 228657"/>
                  <a:gd name="connsiteX114" fmla="*/ 801885 w 1353967"/>
                  <a:gd name="connsiteY114" fmla="*/ 169815 h 228657"/>
                  <a:gd name="connsiteX115" fmla="*/ 805066 w 1353967"/>
                  <a:gd name="connsiteY115" fmla="*/ 168893 h 228657"/>
                  <a:gd name="connsiteX116" fmla="*/ 806391 w 1353967"/>
                  <a:gd name="connsiteY116" fmla="*/ 158494 h 228657"/>
                  <a:gd name="connsiteX117" fmla="*/ 809571 w 1353967"/>
                  <a:gd name="connsiteY117" fmla="*/ 174817 h 228657"/>
                  <a:gd name="connsiteX118" fmla="*/ 809571 w 1353967"/>
                  <a:gd name="connsiteY118" fmla="*/ 133350 h 228657"/>
                  <a:gd name="connsiteX119" fmla="*/ 811824 w 1353967"/>
                  <a:gd name="connsiteY119" fmla="*/ 117817 h 228657"/>
                  <a:gd name="connsiteX120" fmla="*/ 814342 w 1353967"/>
                  <a:gd name="connsiteY120" fmla="*/ 167445 h 228657"/>
                  <a:gd name="connsiteX121" fmla="*/ 818053 w 1353967"/>
                  <a:gd name="connsiteY121" fmla="*/ 77272 h 228657"/>
                  <a:gd name="connsiteX122" fmla="*/ 817390 w 1353967"/>
                  <a:gd name="connsiteY122" fmla="*/ 179293 h 228657"/>
                  <a:gd name="connsiteX123" fmla="*/ 822426 w 1353967"/>
                  <a:gd name="connsiteY123" fmla="*/ 178898 h 228657"/>
                  <a:gd name="connsiteX124" fmla="*/ 824281 w 1353967"/>
                  <a:gd name="connsiteY124" fmla="*/ 195221 h 228657"/>
                  <a:gd name="connsiteX125" fmla="*/ 827727 w 1353967"/>
                  <a:gd name="connsiteY125" fmla="*/ 105970 h 228657"/>
                  <a:gd name="connsiteX126" fmla="*/ 829582 w 1353967"/>
                  <a:gd name="connsiteY126" fmla="*/ 193904 h 228657"/>
                  <a:gd name="connsiteX127" fmla="*/ 834353 w 1353967"/>
                  <a:gd name="connsiteY127" fmla="*/ 188902 h 228657"/>
                  <a:gd name="connsiteX128" fmla="*/ 840316 w 1353967"/>
                  <a:gd name="connsiteY128" fmla="*/ 192983 h 228657"/>
                  <a:gd name="connsiteX129" fmla="*/ 844159 w 1353967"/>
                  <a:gd name="connsiteY129" fmla="*/ 188376 h 228657"/>
                  <a:gd name="connsiteX130" fmla="*/ 850785 w 1353967"/>
                  <a:gd name="connsiteY130" fmla="*/ 197459 h 228657"/>
                  <a:gd name="connsiteX131" fmla="*/ 854231 w 1353967"/>
                  <a:gd name="connsiteY131" fmla="*/ 191930 h 228657"/>
                  <a:gd name="connsiteX132" fmla="*/ 861387 w 1353967"/>
                  <a:gd name="connsiteY132" fmla="*/ 198775 h 228657"/>
                  <a:gd name="connsiteX133" fmla="*/ 870796 w 1353967"/>
                  <a:gd name="connsiteY133" fmla="*/ 190613 h 228657"/>
                  <a:gd name="connsiteX134" fmla="*/ 872651 w 1353967"/>
                  <a:gd name="connsiteY134" fmla="*/ 197854 h 228657"/>
                  <a:gd name="connsiteX135" fmla="*/ 879807 w 1353967"/>
                  <a:gd name="connsiteY135" fmla="*/ 200092 h 228657"/>
                  <a:gd name="connsiteX136" fmla="*/ 886433 w 1353967"/>
                  <a:gd name="connsiteY136" fmla="*/ 206410 h 228657"/>
                  <a:gd name="connsiteX137" fmla="*/ 893325 w 1353967"/>
                  <a:gd name="connsiteY137" fmla="*/ 176396 h 228657"/>
                  <a:gd name="connsiteX138" fmla="*/ 897035 w 1353967"/>
                  <a:gd name="connsiteY138" fmla="*/ 185480 h 228657"/>
                  <a:gd name="connsiteX139" fmla="*/ 899553 w 1353967"/>
                  <a:gd name="connsiteY139" fmla="*/ 184558 h 228657"/>
                  <a:gd name="connsiteX140" fmla="*/ 908034 w 1353967"/>
                  <a:gd name="connsiteY140" fmla="*/ 209175 h 228657"/>
                  <a:gd name="connsiteX141" fmla="*/ 914263 w 1353967"/>
                  <a:gd name="connsiteY141" fmla="*/ 209175 h 228657"/>
                  <a:gd name="connsiteX142" fmla="*/ 921154 w 1353967"/>
                  <a:gd name="connsiteY142" fmla="*/ 194563 h 228657"/>
                  <a:gd name="connsiteX143" fmla="*/ 930298 w 1353967"/>
                  <a:gd name="connsiteY143" fmla="*/ 204567 h 228657"/>
                  <a:gd name="connsiteX144" fmla="*/ 945008 w 1353967"/>
                  <a:gd name="connsiteY144" fmla="*/ 206410 h 228657"/>
                  <a:gd name="connsiteX145" fmla="*/ 946598 w 1353967"/>
                  <a:gd name="connsiteY145" fmla="*/ 187323 h 228657"/>
                  <a:gd name="connsiteX146" fmla="*/ 950971 w 1353967"/>
                  <a:gd name="connsiteY146" fmla="*/ 204699 h 228657"/>
                  <a:gd name="connsiteX147" fmla="*/ 953489 w 1353967"/>
                  <a:gd name="connsiteY147" fmla="*/ 189692 h 228657"/>
                  <a:gd name="connsiteX148" fmla="*/ 957200 w 1353967"/>
                  <a:gd name="connsiteY148" fmla="*/ 176923 h 228657"/>
                  <a:gd name="connsiteX149" fmla="*/ 963428 w 1353967"/>
                  <a:gd name="connsiteY149" fmla="*/ 188771 h 228657"/>
                  <a:gd name="connsiteX150" fmla="*/ 966211 w 1353967"/>
                  <a:gd name="connsiteY150" fmla="*/ 177844 h 228657"/>
                  <a:gd name="connsiteX151" fmla="*/ 976018 w 1353967"/>
                  <a:gd name="connsiteY151" fmla="*/ 150990 h 228657"/>
                  <a:gd name="connsiteX152" fmla="*/ 984764 w 1353967"/>
                  <a:gd name="connsiteY152" fmla="*/ 179687 h 228657"/>
                  <a:gd name="connsiteX153" fmla="*/ 990462 w 1353967"/>
                  <a:gd name="connsiteY153" fmla="*/ 145461 h 228657"/>
                  <a:gd name="connsiteX154" fmla="*/ 997089 w 1353967"/>
                  <a:gd name="connsiteY154" fmla="*/ 153623 h 228657"/>
                  <a:gd name="connsiteX155" fmla="*/ 1003052 w 1353967"/>
                  <a:gd name="connsiteY155" fmla="*/ 148094 h 228657"/>
                  <a:gd name="connsiteX156" fmla="*/ 1003715 w 1353967"/>
                  <a:gd name="connsiteY156" fmla="*/ 122556 h 228657"/>
                  <a:gd name="connsiteX157" fmla="*/ 1006233 w 1353967"/>
                  <a:gd name="connsiteY157" fmla="*/ 138484 h 228657"/>
                  <a:gd name="connsiteX158" fmla="*/ 1008485 w 1353967"/>
                  <a:gd name="connsiteY158" fmla="*/ 77404 h 228657"/>
                  <a:gd name="connsiteX159" fmla="*/ 1010341 w 1353967"/>
                  <a:gd name="connsiteY159" fmla="*/ 158888 h 228657"/>
                  <a:gd name="connsiteX160" fmla="*/ 1018557 w 1353967"/>
                  <a:gd name="connsiteY160" fmla="*/ 141512 h 228657"/>
                  <a:gd name="connsiteX161" fmla="*/ 1021340 w 1353967"/>
                  <a:gd name="connsiteY161" fmla="*/ 96491 h 228657"/>
                  <a:gd name="connsiteX162" fmla="*/ 1025050 w 1353967"/>
                  <a:gd name="connsiteY162" fmla="*/ 142039 h 228657"/>
                  <a:gd name="connsiteX163" fmla="*/ 1025713 w 1353967"/>
                  <a:gd name="connsiteY163" fmla="*/ 113868 h 228657"/>
                  <a:gd name="connsiteX164" fmla="*/ 1027568 w 1353967"/>
                  <a:gd name="connsiteY164" fmla="*/ 150727 h 228657"/>
                  <a:gd name="connsiteX165" fmla="*/ 1033532 w 1353967"/>
                  <a:gd name="connsiteY165" fmla="*/ 156651 h 228657"/>
                  <a:gd name="connsiteX166" fmla="*/ 1038568 w 1353967"/>
                  <a:gd name="connsiteY166" fmla="*/ 151122 h 228657"/>
                  <a:gd name="connsiteX167" fmla="*/ 1045459 w 1353967"/>
                  <a:gd name="connsiteY167" fmla="*/ 162048 h 228657"/>
                  <a:gd name="connsiteX168" fmla="*/ 1049832 w 1353967"/>
                  <a:gd name="connsiteY168" fmla="*/ 156651 h 228657"/>
                  <a:gd name="connsiteX169" fmla="*/ 1053012 w 1353967"/>
                  <a:gd name="connsiteY169" fmla="*/ 156124 h 228657"/>
                  <a:gd name="connsiteX170" fmla="*/ 1053277 w 1353967"/>
                  <a:gd name="connsiteY170" fmla="*/ 133745 h 228657"/>
                  <a:gd name="connsiteX171" fmla="*/ 1055795 w 1353967"/>
                  <a:gd name="connsiteY171" fmla="*/ 132429 h 228657"/>
                  <a:gd name="connsiteX172" fmla="*/ 1055795 w 1353967"/>
                  <a:gd name="connsiteY172" fmla="*/ 111893 h 228657"/>
                  <a:gd name="connsiteX173" fmla="*/ 1060566 w 1353967"/>
                  <a:gd name="connsiteY173" fmla="*/ 143750 h 228657"/>
                  <a:gd name="connsiteX174" fmla="*/ 1062819 w 1353967"/>
                  <a:gd name="connsiteY174" fmla="*/ 144276 h 228657"/>
                  <a:gd name="connsiteX175" fmla="*/ 1063482 w 1353967"/>
                  <a:gd name="connsiteY175" fmla="*/ 152438 h 228657"/>
                  <a:gd name="connsiteX176" fmla="*/ 1065072 w 1353967"/>
                  <a:gd name="connsiteY176" fmla="*/ 155203 h 228657"/>
                  <a:gd name="connsiteX177" fmla="*/ 1065072 w 1353967"/>
                  <a:gd name="connsiteY177" fmla="*/ 162969 h 228657"/>
                  <a:gd name="connsiteX178" fmla="*/ 1070373 w 1353967"/>
                  <a:gd name="connsiteY178" fmla="*/ 162969 h 228657"/>
                  <a:gd name="connsiteX179" fmla="*/ 1072626 w 1353967"/>
                  <a:gd name="connsiteY179" fmla="*/ 117817 h 228657"/>
                  <a:gd name="connsiteX180" fmla="*/ 1076071 w 1353967"/>
                  <a:gd name="connsiteY180" fmla="*/ 150200 h 228657"/>
                  <a:gd name="connsiteX181" fmla="*/ 1077661 w 1353967"/>
                  <a:gd name="connsiteY181" fmla="*/ 131113 h 228657"/>
                  <a:gd name="connsiteX182" fmla="*/ 1082035 w 1353967"/>
                  <a:gd name="connsiteY182" fmla="*/ 174817 h 228657"/>
                  <a:gd name="connsiteX183" fmla="*/ 1087070 w 1353967"/>
                  <a:gd name="connsiteY183" fmla="*/ 96886 h 228657"/>
                  <a:gd name="connsiteX184" fmla="*/ 1091841 w 1353967"/>
                  <a:gd name="connsiteY184" fmla="*/ 162048 h 228657"/>
                  <a:gd name="connsiteX185" fmla="*/ 1093431 w 1353967"/>
                  <a:gd name="connsiteY185" fmla="*/ 137431 h 228657"/>
                  <a:gd name="connsiteX186" fmla="*/ 1099395 w 1353967"/>
                  <a:gd name="connsiteY186" fmla="*/ 177976 h 228657"/>
                  <a:gd name="connsiteX187" fmla="*/ 1100720 w 1353967"/>
                  <a:gd name="connsiteY187" fmla="*/ 153886 h 228657"/>
                  <a:gd name="connsiteX188" fmla="*/ 1104431 w 1353967"/>
                  <a:gd name="connsiteY188" fmla="*/ 179424 h 228657"/>
                  <a:gd name="connsiteX189" fmla="*/ 1107611 w 1353967"/>
                  <a:gd name="connsiteY189" fmla="*/ 123872 h 228657"/>
                  <a:gd name="connsiteX190" fmla="*/ 1114237 w 1353967"/>
                  <a:gd name="connsiteY190" fmla="*/ 194958 h 228657"/>
                  <a:gd name="connsiteX191" fmla="*/ 1117683 w 1353967"/>
                  <a:gd name="connsiteY191" fmla="*/ 145330 h 228657"/>
                  <a:gd name="connsiteX192" fmla="*/ 1121791 w 1353967"/>
                  <a:gd name="connsiteY192" fmla="*/ 144408 h 228657"/>
                  <a:gd name="connsiteX193" fmla="*/ 1123381 w 1353967"/>
                  <a:gd name="connsiteY193" fmla="*/ 122951 h 228657"/>
                  <a:gd name="connsiteX194" fmla="*/ 1125634 w 1353967"/>
                  <a:gd name="connsiteY194" fmla="*/ 180346 h 228657"/>
                  <a:gd name="connsiteX195" fmla="*/ 1128152 w 1353967"/>
                  <a:gd name="connsiteY195" fmla="*/ 127032 h 228657"/>
                  <a:gd name="connsiteX196" fmla="*/ 1133188 w 1353967"/>
                  <a:gd name="connsiteY196" fmla="*/ 184821 h 228657"/>
                  <a:gd name="connsiteX197" fmla="*/ 1135706 w 1353967"/>
                  <a:gd name="connsiteY197" fmla="*/ 167972 h 228657"/>
                  <a:gd name="connsiteX198" fmla="*/ 1138489 w 1353967"/>
                  <a:gd name="connsiteY198" fmla="*/ 167577 h 228657"/>
                  <a:gd name="connsiteX199" fmla="*/ 1139681 w 1353967"/>
                  <a:gd name="connsiteY199" fmla="*/ 119265 h 228657"/>
                  <a:gd name="connsiteX200" fmla="*/ 1144982 w 1353967"/>
                  <a:gd name="connsiteY200" fmla="*/ 141644 h 228657"/>
                  <a:gd name="connsiteX201" fmla="*/ 1145910 w 1353967"/>
                  <a:gd name="connsiteY201" fmla="*/ 90173 h 228657"/>
                  <a:gd name="connsiteX202" fmla="*/ 1149090 w 1353967"/>
                  <a:gd name="connsiteY202" fmla="*/ 81485 h 228657"/>
                  <a:gd name="connsiteX203" fmla="*/ 1149355 w 1353967"/>
                  <a:gd name="connsiteY203" fmla="*/ 0 h 228657"/>
                  <a:gd name="connsiteX204" fmla="*/ 1153463 w 1353967"/>
                  <a:gd name="connsiteY204" fmla="*/ 79247 h 228657"/>
                  <a:gd name="connsiteX205" fmla="*/ 1155981 w 1353967"/>
                  <a:gd name="connsiteY205" fmla="*/ 10531 h 228657"/>
                  <a:gd name="connsiteX206" fmla="*/ 1158499 w 1353967"/>
                  <a:gd name="connsiteY206" fmla="*/ 134798 h 228657"/>
                  <a:gd name="connsiteX207" fmla="*/ 1162872 w 1353967"/>
                  <a:gd name="connsiteY207" fmla="*/ 43309 h 228657"/>
                  <a:gd name="connsiteX208" fmla="*/ 1164463 w 1353967"/>
                  <a:gd name="connsiteY208" fmla="*/ 90173 h 228657"/>
                  <a:gd name="connsiteX209" fmla="*/ 1167908 w 1353967"/>
                  <a:gd name="connsiteY209" fmla="*/ 99256 h 228657"/>
                  <a:gd name="connsiteX210" fmla="*/ 1169499 w 1353967"/>
                  <a:gd name="connsiteY210" fmla="*/ 111498 h 228657"/>
                  <a:gd name="connsiteX211" fmla="*/ 1172944 w 1353967"/>
                  <a:gd name="connsiteY211" fmla="*/ 129270 h 228657"/>
                  <a:gd name="connsiteX212" fmla="*/ 1173209 w 1353967"/>
                  <a:gd name="connsiteY212" fmla="*/ 110182 h 228657"/>
                  <a:gd name="connsiteX213" fmla="*/ 1175727 w 1353967"/>
                  <a:gd name="connsiteY213" fmla="*/ 164417 h 228657"/>
                  <a:gd name="connsiteX214" fmla="*/ 1178510 w 1353967"/>
                  <a:gd name="connsiteY214" fmla="*/ 132034 h 228657"/>
                  <a:gd name="connsiteX215" fmla="*/ 1181690 w 1353967"/>
                  <a:gd name="connsiteY215" fmla="*/ 175738 h 228657"/>
                  <a:gd name="connsiteX216" fmla="*/ 1183281 w 1353967"/>
                  <a:gd name="connsiteY216" fmla="*/ 176660 h 228657"/>
                  <a:gd name="connsiteX217" fmla="*/ 1183281 w 1353967"/>
                  <a:gd name="connsiteY217" fmla="*/ 185348 h 228657"/>
                  <a:gd name="connsiteX218" fmla="*/ 1184871 w 1353967"/>
                  <a:gd name="connsiteY218" fmla="*/ 185743 h 228657"/>
                  <a:gd name="connsiteX219" fmla="*/ 1185799 w 1353967"/>
                  <a:gd name="connsiteY219" fmla="*/ 199828 h 228657"/>
                  <a:gd name="connsiteX220" fmla="*/ 1188581 w 1353967"/>
                  <a:gd name="connsiteY220" fmla="*/ 206673 h 228657"/>
                  <a:gd name="connsiteX221" fmla="*/ 1192027 w 1353967"/>
                  <a:gd name="connsiteY221" fmla="*/ 199433 h 228657"/>
                  <a:gd name="connsiteX222" fmla="*/ 1198256 w 1353967"/>
                  <a:gd name="connsiteY222" fmla="*/ 211676 h 228657"/>
                  <a:gd name="connsiteX223" fmla="*/ 1200508 w 1353967"/>
                  <a:gd name="connsiteY223" fmla="*/ 202066 h 228657"/>
                  <a:gd name="connsiteX224" fmla="*/ 1205279 w 1353967"/>
                  <a:gd name="connsiteY224" fmla="*/ 205752 h 228657"/>
                  <a:gd name="connsiteX225" fmla="*/ 1208990 w 1353967"/>
                  <a:gd name="connsiteY225" fmla="*/ 177055 h 228657"/>
                  <a:gd name="connsiteX226" fmla="*/ 1214291 w 1353967"/>
                  <a:gd name="connsiteY226" fmla="*/ 208911 h 228657"/>
                  <a:gd name="connsiteX227" fmla="*/ 1218399 w 1353967"/>
                  <a:gd name="connsiteY227" fmla="*/ 193904 h 228657"/>
                  <a:gd name="connsiteX228" fmla="*/ 1221182 w 1353967"/>
                  <a:gd name="connsiteY228" fmla="*/ 212597 h 228657"/>
                  <a:gd name="connsiteX229" fmla="*/ 1225290 w 1353967"/>
                  <a:gd name="connsiteY229" fmla="*/ 207200 h 228657"/>
                  <a:gd name="connsiteX230" fmla="*/ 1228470 w 1353967"/>
                  <a:gd name="connsiteY230" fmla="*/ 214440 h 228657"/>
                  <a:gd name="connsiteX231" fmla="*/ 1244770 w 1353967"/>
                  <a:gd name="connsiteY231" fmla="*/ 214440 h 228657"/>
                  <a:gd name="connsiteX232" fmla="*/ 1248481 w 1353967"/>
                  <a:gd name="connsiteY232" fmla="*/ 201276 h 228657"/>
                  <a:gd name="connsiteX233" fmla="*/ 1252192 w 1353967"/>
                  <a:gd name="connsiteY233" fmla="*/ 216283 h 228657"/>
                  <a:gd name="connsiteX234" fmla="*/ 1260938 w 1353967"/>
                  <a:gd name="connsiteY234" fmla="*/ 215757 h 228657"/>
                  <a:gd name="connsiteX235" fmla="*/ 1265974 w 1353967"/>
                  <a:gd name="connsiteY235" fmla="*/ 221285 h 228657"/>
                  <a:gd name="connsiteX236" fmla="*/ 1266636 w 1353967"/>
                  <a:gd name="connsiteY236" fmla="*/ 81090 h 228657"/>
                  <a:gd name="connsiteX237" fmla="*/ 1269817 w 1353967"/>
                  <a:gd name="connsiteY237" fmla="*/ 228657 h 228657"/>
                  <a:gd name="connsiteX238" fmla="*/ 1274190 w 1353967"/>
                  <a:gd name="connsiteY238" fmla="*/ 216415 h 228657"/>
                  <a:gd name="connsiteX239" fmla="*/ 1353968 w 1353967"/>
                  <a:gd name="connsiteY239" fmla="*/ 217731 h 22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1353967" h="228657">
                    <a:moveTo>
                      <a:pt x="0" y="220101"/>
                    </a:moveTo>
                    <a:lnTo>
                      <a:pt x="20673" y="220101"/>
                    </a:lnTo>
                    <a:lnTo>
                      <a:pt x="24119" y="217863"/>
                    </a:lnTo>
                    <a:lnTo>
                      <a:pt x="28757" y="222470"/>
                    </a:lnTo>
                    <a:lnTo>
                      <a:pt x="41612" y="222470"/>
                    </a:lnTo>
                    <a:lnTo>
                      <a:pt x="45057" y="214703"/>
                    </a:lnTo>
                    <a:lnTo>
                      <a:pt x="49430" y="214703"/>
                    </a:lnTo>
                    <a:lnTo>
                      <a:pt x="52213" y="222470"/>
                    </a:lnTo>
                    <a:lnTo>
                      <a:pt x="77657" y="220627"/>
                    </a:lnTo>
                    <a:lnTo>
                      <a:pt x="78585" y="217468"/>
                    </a:lnTo>
                    <a:cubicBezTo>
                      <a:pt x="78585" y="217468"/>
                      <a:pt x="79513" y="220627"/>
                      <a:pt x="81368" y="220627"/>
                    </a:cubicBezTo>
                    <a:cubicBezTo>
                      <a:pt x="83223" y="220627"/>
                      <a:pt x="112113" y="219706"/>
                      <a:pt x="112113" y="219706"/>
                    </a:cubicBezTo>
                    <a:cubicBezTo>
                      <a:pt x="112113" y="219706"/>
                      <a:pt x="113968" y="216546"/>
                      <a:pt x="115558" y="216546"/>
                    </a:cubicBezTo>
                    <a:lnTo>
                      <a:pt x="124702" y="216546"/>
                    </a:lnTo>
                    <a:cubicBezTo>
                      <a:pt x="124702" y="216546"/>
                      <a:pt x="124967" y="222470"/>
                      <a:pt x="125895" y="222075"/>
                    </a:cubicBezTo>
                    <a:cubicBezTo>
                      <a:pt x="126823" y="221549"/>
                      <a:pt x="140075" y="220232"/>
                      <a:pt x="140075" y="220232"/>
                    </a:cubicBezTo>
                    <a:lnTo>
                      <a:pt x="148291" y="210623"/>
                    </a:lnTo>
                    <a:lnTo>
                      <a:pt x="163664" y="218784"/>
                    </a:lnTo>
                    <a:lnTo>
                      <a:pt x="168302" y="213255"/>
                    </a:lnTo>
                    <a:lnTo>
                      <a:pt x="170157" y="216415"/>
                    </a:lnTo>
                    <a:lnTo>
                      <a:pt x="176121" y="205094"/>
                    </a:lnTo>
                    <a:lnTo>
                      <a:pt x="184337" y="213782"/>
                    </a:lnTo>
                    <a:lnTo>
                      <a:pt x="188710" y="205094"/>
                    </a:lnTo>
                    <a:lnTo>
                      <a:pt x="193083" y="209175"/>
                    </a:lnTo>
                    <a:lnTo>
                      <a:pt x="196529" y="203251"/>
                    </a:lnTo>
                    <a:lnTo>
                      <a:pt x="202492" y="217336"/>
                    </a:lnTo>
                    <a:cubicBezTo>
                      <a:pt x="202492" y="217336"/>
                      <a:pt x="208721" y="207332"/>
                      <a:pt x="209648" y="207332"/>
                    </a:cubicBezTo>
                    <a:cubicBezTo>
                      <a:pt x="210576" y="207332"/>
                      <a:pt x="215347" y="216415"/>
                      <a:pt x="215347" y="216415"/>
                    </a:cubicBezTo>
                    <a:lnTo>
                      <a:pt x="228864" y="193641"/>
                    </a:lnTo>
                    <a:lnTo>
                      <a:pt x="232309" y="204567"/>
                    </a:lnTo>
                    <a:lnTo>
                      <a:pt x="238273" y="194958"/>
                    </a:lnTo>
                    <a:lnTo>
                      <a:pt x="243044" y="205489"/>
                    </a:lnTo>
                    <a:lnTo>
                      <a:pt x="252453" y="189034"/>
                    </a:lnTo>
                    <a:lnTo>
                      <a:pt x="255898" y="191798"/>
                    </a:lnTo>
                    <a:lnTo>
                      <a:pt x="259609" y="191272"/>
                    </a:lnTo>
                    <a:cubicBezTo>
                      <a:pt x="259609" y="191272"/>
                      <a:pt x="259344" y="202724"/>
                      <a:pt x="260536" y="202724"/>
                    </a:cubicBezTo>
                    <a:cubicBezTo>
                      <a:pt x="261729" y="202724"/>
                      <a:pt x="267163" y="195879"/>
                      <a:pt x="267163" y="195879"/>
                    </a:cubicBezTo>
                    <a:lnTo>
                      <a:pt x="271536" y="209570"/>
                    </a:lnTo>
                    <a:lnTo>
                      <a:pt x="278162" y="197722"/>
                    </a:lnTo>
                    <a:lnTo>
                      <a:pt x="281872" y="205884"/>
                    </a:lnTo>
                    <a:cubicBezTo>
                      <a:pt x="281872" y="205884"/>
                      <a:pt x="290619" y="191272"/>
                      <a:pt x="291281" y="192720"/>
                    </a:cubicBezTo>
                    <a:cubicBezTo>
                      <a:pt x="291944" y="194036"/>
                      <a:pt x="297245" y="203646"/>
                      <a:pt x="297245" y="203646"/>
                    </a:cubicBezTo>
                    <a:lnTo>
                      <a:pt x="300955" y="194563"/>
                    </a:lnTo>
                    <a:lnTo>
                      <a:pt x="303738" y="203646"/>
                    </a:lnTo>
                    <a:cubicBezTo>
                      <a:pt x="303738" y="203646"/>
                      <a:pt x="306919" y="195484"/>
                      <a:pt x="307184" y="196801"/>
                    </a:cubicBezTo>
                    <a:cubicBezTo>
                      <a:pt x="307449" y="198117"/>
                      <a:pt x="311822" y="208121"/>
                      <a:pt x="311822" y="208121"/>
                    </a:cubicBezTo>
                    <a:lnTo>
                      <a:pt x="315003" y="200881"/>
                    </a:lnTo>
                    <a:lnTo>
                      <a:pt x="318713" y="205489"/>
                    </a:lnTo>
                    <a:lnTo>
                      <a:pt x="323749" y="208648"/>
                    </a:lnTo>
                    <a:lnTo>
                      <a:pt x="326532" y="195484"/>
                    </a:lnTo>
                    <a:lnTo>
                      <a:pt x="329977" y="208648"/>
                    </a:lnTo>
                    <a:lnTo>
                      <a:pt x="332495" y="199565"/>
                    </a:lnTo>
                    <a:lnTo>
                      <a:pt x="333821" y="203251"/>
                    </a:lnTo>
                    <a:lnTo>
                      <a:pt x="337531" y="186796"/>
                    </a:lnTo>
                    <a:lnTo>
                      <a:pt x="341639" y="204962"/>
                    </a:lnTo>
                    <a:lnTo>
                      <a:pt x="348795" y="214572"/>
                    </a:lnTo>
                    <a:lnTo>
                      <a:pt x="356349" y="202329"/>
                    </a:lnTo>
                    <a:lnTo>
                      <a:pt x="358867" y="215098"/>
                    </a:lnTo>
                    <a:lnTo>
                      <a:pt x="362710" y="214703"/>
                    </a:lnTo>
                    <a:lnTo>
                      <a:pt x="368011" y="190613"/>
                    </a:lnTo>
                    <a:lnTo>
                      <a:pt x="373047" y="212992"/>
                    </a:lnTo>
                    <a:lnTo>
                      <a:pt x="374902" y="197985"/>
                    </a:lnTo>
                    <a:lnTo>
                      <a:pt x="376492" y="197064"/>
                    </a:lnTo>
                    <a:lnTo>
                      <a:pt x="381528" y="180214"/>
                    </a:lnTo>
                    <a:lnTo>
                      <a:pt x="384709" y="190219"/>
                    </a:lnTo>
                    <a:lnTo>
                      <a:pt x="387227" y="150990"/>
                    </a:lnTo>
                    <a:lnTo>
                      <a:pt x="392262" y="181004"/>
                    </a:lnTo>
                    <a:lnTo>
                      <a:pt x="395708" y="198380"/>
                    </a:lnTo>
                    <a:lnTo>
                      <a:pt x="397563" y="187849"/>
                    </a:lnTo>
                    <a:lnTo>
                      <a:pt x="397298" y="209306"/>
                    </a:lnTo>
                    <a:lnTo>
                      <a:pt x="400081" y="198380"/>
                    </a:lnTo>
                    <a:lnTo>
                      <a:pt x="403527" y="205225"/>
                    </a:lnTo>
                    <a:lnTo>
                      <a:pt x="406972" y="183768"/>
                    </a:lnTo>
                    <a:lnTo>
                      <a:pt x="409225" y="195616"/>
                    </a:lnTo>
                    <a:lnTo>
                      <a:pt x="413598" y="196537"/>
                    </a:lnTo>
                    <a:cubicBezTo>
                      <a:pt x="413598" y="196537"/>
                      <a:pt x="412671" y="208385"/>
                      <a:pt x="414261" y="208385"/>
                    </a:cubicBezTo>
                    <a:cubicBezTo>
                      <a:pt x="415851" y="208385"/>
                      <a:pt x="420887" y="192061"/>
                      <a:pt x="420887" y="192061"/>
                    </a:cubicBezTo>
                    <a:lnTo>
                      <a:pt x="424730" y="213914"/>
                    </a:lnTo>
                    <a:lnTo>
                      <a:pt x="427248" y="205225"/>
                    </a:lnTo>
                    <a:lnTo>
                      <a:pt x="432549" y="185611"/>
                    </a:lnTo>
                    <a:lnTo>
                      <a:pt x="434802" y="203382"/>
                    </a:lnTo>
                    <a:lnTo>
                      <a:pt x="439572" y="212992"/>
                    </a:lnTo>
                    <a:lnTo>
                      <a:pt x="442753" y="197985"/>
                    </a:lnTo>
                    <a:lnTo>
                      <a:pt x="450307" y="217073"/>
                    </a:lnTo>
                    <a:lnTo>
                      <a:pt x="455342" y="212071"/>
                    </a:lnTo>
                    <a:lnTo>
                      <a:pt x="464089" y="219311"/>
                    </a:lnTo>
                    <a:lnTo>
                      <a:pt x="465281" y="212860"/>
                    </a:lnTo>
                    <a:lnTo>
                      <a:pt x="471908" y="219311"/>
                    </a:lnTo>
                    <a:lnTo>
                      <a:pt x="477606" y="203382"/>
                    </a:lnTo>
                    <a:lnTo>
                      <a:pt x="479859" y="215625"/>
                    </a:lnTo>
                    <a:lnTo>
                      <a:pt x="485160" y="221022"/>
                    </a:lnTo>
                    <a:lnTo>
                      <a:pt x="511796" y="220101"/>
                    </a:lnTo>
                    <a:lnTo>
                      <a:pt x="515640" y="216415"/>
                    </a:lnTo>
                    <a:lnTo>
                      <a:pt x="519748" y="222733"/>
                    </a:lnTo>
                    <a:lnTo>
                      <a:pt x="527566" y="222733"/>
                    </a:lnTo>
                    <a:lnTo>
                      <a:pt x="533530" y="216810"/>
                    </a:lnTo>
                    <a:lnTo>
                      <a:pt x="539228" y="222207"/>
                    </a:lnTo>
                    <a:cubicBezTo>
                      <a:pt x="539228" y="222207"/>
                      <a:pt x="585743" y="220890"/>
                      <a:pt x="586671" y="220890"/>
                    </a:cubicBezTo>
                    <a:cubicBezTo>
                      <a:pt x="587598" y="220890"/>
                      <a:pt x="631330" y="210886"/>
                      <a:pt x="631330" y="210886"/>
                    </a:cubicBezTo>
                    <a:lnTo>
                      <a:pt x="642992" y="211807"/>
                    </a:lnTo>
                    <a:lnTo>
                      <a:pt x="657437" y="206805"/>
                    </a:lnTo>
                    <a:cubicBezTo>
                      <a:pt x="657437" y="206805"/>
                      <a:pt x="673737" y="205884"/>
                      <a:pt x="674665" y="205884"/>
                    </a:cubicBezTo>
                    <a:cubicBezTo>
                      <a:pt x="675592" y="205884"/>
                      <a:pt x="690302" y="199960"/>
                      <a:pt x="690302" y="199960"/>
                    </a:cubicBezTo>
                    <a:lnTo>
                      <a:pt x="710048" y="198643"/>
                    </a:lnTo>
                    <a:lnTo>
                      <a:pt x="751527" y="194036"/>
                    </a:lnTo>
                    <a:lnTo>
                      <a:pt x="766634" y="185874"/>
                    </a:lnTo>
                    <a:lnTo>
                      <a:pt x="770345" y="186269"/>
                    </a:lnTo>
                    <a:lnTo>
                      <a:pt x="774188" y="183505"/>
                    </a:lnTo>
                    <a:lnTo>
                      <a:pt x="783995" y="183505"/>
                    </a:lnTo>
                    <a:lnTo>
                      <a:pt x="787175" y="180741"/>
                    </a:lnTo>
                    <a:lnTo>
                      <a:pt x="791813" y="180741"/>
                    </a:lnTo>
                    <a:lnTo>
                      <a:pt x="794596" y="131508"/>
                    </a:lnTo>
                    <a:lnTo>
                      <a:pt x="795524" y="169288"/>
                    </a:lnTo>
                    <a:lnTo>
                      <a:pt x="799632" y="184821"/>
                    </a:lnTo>
                    <a:lnTo>
                      <a:pt x="801885" y="169815"/>
                    </a:lnTo>
                    <a:lnTo>
                      <a:pt x="805066" y="168893"/>
                    </a:lnTo>
                    <a:lnTo>
                      <a:pt x="806391" y="158494"/>
                    </a:lnTo>
                    <a:lnTo>
                      <a:pt x="809571" y="174817"/>
                    </a:lnTo>
                    <a:lnTo>
                      <a:pt x="809571" y="133350"/>
                    </a:lnTo>
                    <a:lnTo>
                      <a:pt x="811824" y="117817"/>
                    </a:lnTo>
                    <a:lnTo>
                      <a:pt x="814342" y="167445"/>
                    </a:lnTo>
                    <a:lnTo>
                      <a:pt x="818053" y="77272"/>
                    </a:lnTo>
                    <a:lnTo>
                      <a:pt x="817390" y="179293"/>
                    </a:lnTo>
                    <a:lnTo>
                      <a:pt x="822426" y="178898"/>
                    </a:lnTo>
                    <a:lnTo>
                      <a:pt x="824281" y="195221"/>
                    </a:lnTo>
                    <a:lnTo>
                      <a:pt x="827727" y="105970"/>
                    </a:lnTo>
                    <a:lnTo>
                      <a:pt x="829582" y="193904"/>
                    </a:lnTo>
                    <a:lnTo>
                      <a:pt x="834353" y="188902"/>
                    </a:lnTo>
                    <a:lnTo>
                      <a:pt x="840316" y="192983"/>
                    </a:lnTo>
                    <a:lnTo>
                      <a:pt x="844159" y="188376"/>
                    </a:lnTo>
                    <a:lnTo>
                      <a:pt x="850785" y="197459"/>
                    </a:lnTo>
                    <a:lnTo>
                      <a:pt x="854231" y="191930"/>
                    </a:lnTo>
                    <a:lnTo>
                      <a:pt x="861387" y="198775"/>
                    </a:lnTo>
                    <a:lnTo>
                      <a:pt x="870796" y="190613"/>
                    </a:lnTo>
                    <a:lnTo>
                      <a:pt x="872651" y="197854"/>
                    </a:lnTo>
                    <a:lnTo>
                      <a:pt x="879807" y="200092"/>
                    </a:lnTo>
                    <a:lnTo>
                      <a:pt x="886433" y="206410"/>
                    </a:lnTo>
                    <a:lnTo>
                      <a:pt x="893325" y="176396"/>
                    </a:lnTo>
                    <a:lnTo>
                      <a:pt x="897035" y="185480"/>
                    </a:lnTo>
                    <a:cubicBezTo>
                      <a:pt x="897035" y="185480"/>
                      <a:pt x="898360" y="183242"/>
                      <a:pt x="899553" y="184558"/>
                    </a:cubicBezTo>
                    <a:cubicBezTo>
                      <a:pt x="900878" y="185874"/>
                      <a:pt x="907107" y="209175"/>
                      <a:pt x="908034" y="209175"/>
                    </a:cubicBezTo>
                    <a:lnTo>
                      <a:pt x="914263" y="209175"/>
                    </a:lnTo>
                    <a:lnTo>
                      <a:pt x="921154" y="194563"/>
                    </a:lnTo>
                    <a:lnTo>
                      <a:pt x="930298" y="204567"/>
                    </a:lnTo>
                    <a:lnTo>
                      <a:pt x="945008" y="206410"/>
                    </a:lnTo>
                    <a:lnTo>
                      <a:pt x="946598" y="187323"/>
                    </a:lnTo>
                    <a:lnTo>
                      <a:pt x="950971" y="204699"/>
                    </a:lnTo>
                    <a:lnTo>
                      <a:pt x="953489" y="189692"/>
                    </a:lnTo>
                    <a:lnTo>
                      <a:pt x="957200" y="176923"/>
                    </a:lnTo>
                    <a:lnTo>
                      <a:pt x="963428" y="188771"/>
                    </a:lnTo>
                    <a:lnTo>
                      <a:pt x="966211" y="177844"/>
                    </a:lnTo>
                    <a:lnTo>
                      <a:pt x="976018" y="150990"/>
                    </a:lnTo>
                    <a:lnTo>
                      <a:pt x="984764" y="179687"/>
                    </a:lnTo>
                    <a:lnTo>
                      <a:pt x="990462" y="145461"/>
                    </a:lnTo>
                    <a:lnTo>
                      <a:pt x="997089" y="153623"/>
                    </a:lnTo>
                    <a:lnTo>
                      <a:pt x="1003052" y="148094"/>
                    </a:lnTo>
                    <a:lnTo>
                      <a:pt x="1003715" y="122556"/>
                    </a:lnTo>
                    <a:lnTo>
                      <a:pt x="1006233" y="138484"/>
                    </a:lnTo>
                    <a:lnTo>
                      <a:pt x="1008485" y="77404"/>
                    </a:lnTo>
                    <a:lnTo>
                      <a:pt x="1010341" y="158888"/>
                    </a:lnTo>
                    <a:lnTo>
                      <a:pt x="1018557" y="141512"/>
                    </a:lnTo>
                    <a:lnTo>
                      <a:pt x="1021340" y="96491"/>
                    </a:lnTo>
                    <a:lnTo>
                      <a:pt x="1025050" y="142039"/>
                    </a:lnTo>
                    <a:lnTo>
                      <a:pt x="1025713" y="113868"/>
                    </a:lnTo>
                    <a:lnTo>
                      <a:pt x="1027568" y="150727"/>
                    </a:lnTo>
                    <a:lnTo>
                      <a:pt x="1033532" y="156651"/>
                    </a:lnTo>
                    <a:lnTo>
                      <a:pt x="1038568" y="151122"/>
                    </a:lnTo>
                    <a:lnTo>
                      <a:pt x="1045459" y="162048"/>
                    </a:lnTo>
                    <a:lnTo>
                      <a:pt x="1049832" y="156651"/>
                    </a:lnTo>
                    <a:lnTo>
                      <a:pt x="1053012" y="156124"/>
                    </a:lnTo>
                    <a:lnTo>
                      <a:pt x="1053277" y="133745"/>
                    </a:lnTo>
                    <a:cubicBezTo>
                      <a:pt x="1053277" y="133745"/>
                      <a:pt x="1055795" y="133745"/>
                      <a:pt x="1055795" y="132429"/>
                    </a:cubicBezTo>
                    <a:lnTo>
                      <a:pt x="1055795" y="111893"/>
                    </a:lnTo>
                    <a:lnTo>
                      <a:pt x="1060566" y="143750"/>
                    </a:lnTo>
                    <a:lnTo>
                      <a:pt x="1062819" y="144276"/>
                    </a:lnTo>
                    <a:lnTo>
                      <a:pt x="1063482" y="152438"/>
                    </a:lnTo>
                    <a:lnTo>
                      <a:pt x="1065072" y="155203"/>
                    </a:lnTo>
                    <a:lnTo>
                      <a:pt x="1065072" y="162969"/>
                    </a:lnTo>
                    <a:lnTo>
                      <a:pt x="1070373" y="162969"/>
                    </a:lnTo>
                    <a:lnTo>
                      <a:pt x="1072626" y="117817"/>
                    </a:lnTo>
                    <a:lnTo>
                      <a:pt x="1076071" y="150200"/>
                    </a:lnTo>
                    <a:lnTo>
                      <a:pt x="1077661" y="131113"/>
                    </a:lnTo>
                    <a:lnTo>
                      <a:pt x="1082035" y="174817"/>
                    </a:lnTo>
                    <a:lnTo>
                      <a:pt x="1087070" y="96886"/>
                    </a:lnTo>
                    <a:lnTo>
                      <a:pt x="1091841" y="162048"/>
                    </a:lnTo>
                    <a:lnTo>
                      <a:pt x="1093431" y="137431"/>
                    </a:lnTo>
                    <a:lnTo>
                      <a:pt x="1099395" y="177976"/>
                    </a:lnTo>
                    <a:lnTo>
                      <a:pt x="1100720" y="153886"/>
                    </a:lnTo>
                    <a:lnTo>
                      <a:pt x="1104431" y="179424"/>
                    </a:lnTo>
                    <a:lnTo>
                      <a:pt x="1107611" y="123872"/>
                    </a:lnTo>
                    <a:lnTo>
                      <a:pt x="1114237" y="194958"/>
                    </a:lnTo>
                    <a:lnTo>
                      <a:pt x="1117683" y="145330"/>
                    </a:lnTo>
                    <a:lnTo>
                      <a:pt x="1121791" y="144408"/>
                    </a:lnTo>
                    <a:lnTo>
                      <a:pt x="1123381" y="122951"/>
                    </a:lnTo>
                    <a:lnTo>
                      <a:pt x="1125634" y="180346"/>
                    </a:lnTo>
                    <a:lnTo>
                      <a:pt x="1128152" y="127032"/>
                    </a:lnTo>
                    <a:lnTo>
                      <a:pt x="1133188" y="184821"/>
                    </a:lnTo>
                    <a:lnTo>
                      <a:pt x="1135706" y="167972"/>
                    </a:lnTo>
                    <a:lnTo>
                      <a:pt x="1138489" y="167577"/>
                    </a:lnTo>
                    <a:lnTo>
                      <a:pt x="1139681" y="119265"/>
                    </a:lnTo>
                    <a:lnTo>
                      <a:pt x="1144982" y="141644"/>
                    </a:lnTo>
                    <a:lnTo>
                      <a:pt x="1145910" y="90173"/>
                    </a:lnTo>
                    <a:lnTo>
                      <a:pt x="1149090" y="81485"/>
                    </a:lnTo>
                    <a:lnTo>
                      <a:pt x="1149355" y="0"/>
                    </a:lnTo>
                    <a:lnTo>
                      <a:pt x="1153463" y="79247"/>
                    </a:lnTo>
                    <a:lnTo>
                      <a:pt x="1155981" y="10531"/>
                    </a:lnTo>
                    <a:lnTo>
                      <a:pt x="1158499" y="134798"/>
                    </a:lnTo>
                    <a:lnTo>
                      <a:pt x="1162872" y="43309"/>
                    </a:lnTo>
                    <a:lnTo>
                      <a:pt x="1164463" y="90173"/>
                    </a:lnTo>
                    <a:lnTo>
                      <a:pt x="1167908" y="99256"/>
                    </a:lnTo>
                    <a:lnTo>
                      <a:pt x="1169499" y="111498"/>
                    </a:lnTo>
                    <a:lnTo>
                      <a:pt x="1172944" y="129270"/>
                    </a:lnTo>
                    <a:lnTo>
                      <a:pt x="1173209" y="110182"/>
                    </a:lnTo>
                    <a:lnTo>
                      <a:pt x="1175727" y="164417"/>
                    </a:lnTo>
                    <a:lnTo>
                      <a:pt x="1178510" y="132034"/>
                    </a:lnTo>
                    <a:lnTo>
                      <a:pt x="1181690" y="175738"/>
                    </a:lnTo>
                    <a:cubicBezTo>
                      <a:pt x="1181690" y="175738"/>
                      <a:pt x="1183281" y="174422"/>
                      <a:pt x="1183281" y="176660"/>
                    </a:cubicBezTo>
                    <a:lnTo>
                      <a:pt x="1183281" y="185348"/>
                    </a:lnTo>
                    <a:cubicBezTo>
                      <a:pt x="1183281" y="185348"/>
                      <a:pt x="1184208" y="184032"/>
                      <a:pt x="1184871" y="185743"/>
                    </a:cubicBezTo>
                    <a:cubicBezTo>
                      <a:pt x="1185534" y="187586"/>
                      <a:pt x="1185799" y="199828"/>
                      <a:pt x="1185799" y="199828"/>
                    </a:cubicBezTo>
                    <a:lnTo>
                      <a:pt x="1188581" y="206673"/>
                    </a:lnTo>
                    <a:lnTo>
                      <a:pt x="1192027" y="199433"/>
                    </a:lnTo>
                    <a:lnTo>
                      <a:pt x="1198256" y="211676"/>
                    </a:lnTo>
                    <a:lnTo>
                      <a:pt x="1200508" y="202066"/>
                    </a:lnTo>
                    <a:lnTo>
                      <a:pt x="1205279" y="205752"/>
                    </a:lnTo>
                    <a:lnTo>
                      <a:pt x="1208990" y="177055"/>
                    </a:lnTo>
                    <a:lnTo>
                      <a:pt x="1214291" y="208911"/>
                    </a:lnTo>
                    <a:lnTo>
                      <a:pt x="1218399" y="193904"/>
                    </a:lnTo>
                    <a:lnTo>
                      <a:pt x="1221182" y="212597"/>
                    </a:lnTo>
                    <a:lnTo>
                      <a:pt x="1225290" y="207200"/>
                    </a:lnTo>
                    <a:lnTo>
                      <a:pt x="1228470" y="214440"/>
                    </a:lnTo>
                    <a:lnTo>
                      <a:pt x="1244770" y="214440"/>
                    </a:lnTo>
                    <a:lnTo>
                      <a:pt x="1248481" y="201276"/>
                    </a:lnTo>
                    <a:lnTo>
                      <a:pt x="1252192" y="216283"/>
                    </a:lnTo>
                    <a:cubicBezTo>
                      <a:pt x="1252192" y="216283"/>
                      <a:pt x="1259745" y="215362"/>
                      <a:pt x="1260938" y="215757"/>
                    </a:cubicBezTo>
                    <a:cubicBezTo>
                      <a:pt x="1262131" y="216283"/>
                      <a:pt x="1265974" y="221285"/>
                      <a:pt x="1265974" y="221285"/>
                    </a:cubicBezTo>
                    <a:lnTo>
                      <a:pt x="1266636" y="81090"/>
                    </a:lnTo>
                    <a:lnTo>
                      <a:pt x="1269817" y="228657"/>
                    </a:lnTo>
                    <a:lnTo>
                      <a:pt x="1274190" y="216415"/>
                    </a:lnTo>
                    <a:lnTo>
                      <a:pt x="1353968" y="217731"/>
                    </a:lnTo>
                  </a:path>
                </a:pathLst>
              </a:custGeom>
              <a:noFill/>
              <a:ln w="6350"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281" name="TextBox 280">
                <a:extLst>
                  <a:ext uri="{FF2B5EF4-FFF2-40B4-BE49-F238E27FC236}">
                    <a16:creationId xmlns:a16="http://schemas.microsoft.com/office/drawing/2014/main" id="{3ED8EFFE-0E6F-E536-3D81-C0E222F63EBB}"/>
                  </a:ext>
                </a:extLst>
              </p:cNvPr>
              <p:cNvSpPr txBox="1"/>
              <p:nvPr/>
            </p:nvSpPr>
            <p:spPr>
              <a:xfrm rot="16200000">
                <a:off x="479858" y="3023011"/>
                <a:ext cx="1260045" cy="153888"/>
              </a:xfrm>
              <a:prstGeom prst="rect">
                <a:avLst/>
              </a:prstGeom>
              <a:noFill/>
            </p:spPr>
            <p:txBody>
              <a:bodyPr wrap="square" lIns="0" tIns="0" rIns="0" bIns="0" rtlCol="0">
                <a:spAutoFit/>
              </a:bodyPr>
              <a:lstStyle/>
              <a:p>
                <a:pPr algn="ctr"/>
                <a:r>
                  <a:rPr lang="en-US" sz="500" baseline="0" dirty="0">
                    <a:ln/>
                    <a:solidFill>
                      <a:srgbClr val="000000"/>
                    </a:solidFill>
                    <a:latin typeface="Arial" panose="020B0604020202020204" pitchFamily="34" charset="0"/>
                    <a:cs typeface="Arial" panose="020B0604020202020204" pitchFamily="34" charset="0"/>
                    <a:sym typeface="Arial"/>
                    <a:rtl val="0"/>
                  </a:rPr>
                  <a:t>1D-{1H}-nuclear magnetic</a:t>
                </a:r>
                <a:br>
                  <a:rPr lang="en-US" sz="500" baseline="0" dirty="0">
                    <a:ln/>
                    <a:solidFill>
                      <a:srgbClr val="000000"/>
                    </a:solidFill>
                    <a:latin typeface="Arial" panose="020B0604020202020204" pitchFamily="34" charset="0"/>
                    <a:cs typeface="Arial" panose="020B0604020202020204" pitchFamily="34" charset="0"/>
                    <a:sym typeface="Arial"/>
                    <a:rtl val="0"/>
                  </a:rPr>
                </a:br>
                <a:r>
                  <a:rPr lang="en-US" sz="500" baseline="0" dirty="0">
                    <a:ln/>
                    <a:solidFill>
                      <a:srgbClr val="000000"/>
                    </a:solidFill>
                    <a:latin typeface="Arial" panose="020B0604020202020204" pitchFamily="34" charset="0"/>
                    <a:cs typeface="Arial" panose="020B0604020202020204" pitchFamily="34" charset="0"/>
                    <a:sym typeface="Arial"/>
                    <a:rtl val="0"/>
                  </a:rPr>
                  <a:t>resonance spectra</a:t>
                </a:r>
              </a:p>
            </p:txBody>
          </p:sp>
          <p:sp>
            <p:nvSpPr>
              <p:cNvPr id="447" name="object 201">
                <a:extLst>
                  <a:ext uri="{FF2B5EF4-FFF2-40B4-BE49-F238E27FC236}">
                    <a16:creationId xmlns:a16="http://schemas.microsoft.com/office/drawing/2014/main" id="{56A28CF2-2A08-859D-92EC-B6D9B8B0D879}"/>
                  </a:ext>
                </a:extLst>
              </p:cNvPr>
              <p:cNvSpPr txBox="1"/>
              <p:nvPr/>
            </p:nvSpPr>
            <p:spPr>
              <a:xfrm>
                <a:off x="1399610" y="2349387"/>
                <a:ext cx="1085233" cy="120546"/>
              </a:xfrm>
              <a:prstGeom prst="rect">
                <a:avLst/>
              </a:prstGeom>
            </p:spPr>
            <p:txBody>
              <a:bodyPr vert="horz" wrap="none" lIns="0" tIns="12700" rIns="0" bIns="0" rtlCol="0">
                <a:spAutoFit/>
              </a:bodyPr>
              <a:lstStyle/>
              <a:p>
                <a:pPr algn="ctr">
                  <a:lnSpc>
                    <a:spcPct val="100000"/>
                  </a:lnSpc>
                  <a:spcBef>
                    <a:spcPts val="100"/>
                  </a:spcBef>
                </a:pPr>
                <a:r>
                  <a:rPr lang="en-GB" sz="700" b="1" dirty="0">
                    <a:solidFill>
                      <a:schemeClr val="accent1"/>
                    </a:solidFill>
                    <a:latin typeface="Arial"/>
                    <a:cs typeface="Arial"/>
                  </a:rPr>
                  <a:t>Structure of the molecule</a:t>
                </a:r>
              </a:p>
            </p:txBody>
          </p:sp>
        </p:grpSp>
        <p:grpSp>
          <p:nvGrpSpPr>
            <p:cNvPr id="464" name="Group 463">
              <a:extLst>
                <a:ext uri="{FF2B5EF4-FFF2-40B4-BE49-F238E27FC236}">
                  <a16:creationId xmlns:a16="http://schemas.microsoft.com/office/drawing/2014/main" id="{AD6FD8F7-F708-7463-36E0-EAD812E82961}"/>
                </a:ext>
              </a:extLst>
            </p:cNvPr>
            <p:cNvGrpSpPr/>
            <p:nvPr/>
          </p:nvGrpSpPr>
          <p:grpSpPr>
            <a:xfrm>
              <a:off x="2625502" y="2349387"/>
              <a:ext cx="1799060" cy="1497297"/>
              <a:chOff x="2749955" y="2349387"/>
              <a:chExt cx="1799060" cy="1497297"/>
            </a:xfrm>
          </p:grpSpPr>
          <p:sp>
            <p:nvSpPr>
              <p:cNvPr id="189" name="TextBox 188">
                <a:extLst>
                  <a:ext uri="{FF2B5EF4-FFF2-40B4-BE49-F238E27FC236}">
                    <a16:creationId xmlns:a16="http://schemas.microsoft.com/office/drawing/2014/main" id="{A14FBB33-4BDD-96D7-FBFF-34B5F60621DD}"/>
                  </a:ext>
                </a:extLst>
              </p:cNvPr>
              <p:cNvSpPr txBox="1"/>
              <p:nvPr/>
            </p:nvSpPr>
            <p:spPr>
              <a:xfrm>
                <a:off x="3671496" y="3769740"/>
                <a:ext cx="29976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Time (sec)</a:t>
                </a:r>
              </a:p>
            </p:txBody>
          </p:sp>
          <p:sp>
            <p:nvSpPr>
              <p:cNvPr id="190" name="Freeform 189">
                <a:extLst>
                  <a:ext uri="{FF2B5EF4-FFF2-40B4-BE49-F238E27FC236}">
                    <a16:creationId xmlns:a16="http://schemas.microsoft.com/office/drawing/2014/main" id="{FE1CBDB1-FDE0-BE09-B32E-841737F0DFB8}"/>
                  </a:ext>
                </a:extLst>
              </p:cNvPr>
              <p:cNvSpPr/>
              <p:nvPr/>
            </p:nvSpPr>
            <p:spPr>
              <a:xfrm>
                <a:off x="3087278" y="3627279"/>
                <a:ext cx="1392266" cy="13163"/>
              </a:xfrm>
              <a:custGeom>
                <a:avLst/>
                <a:gdLst>
                  <a:gd name="connsiteX0" fmla="*/ 0 w 1392266"/>
                  <a:gd name="connsiteY0" fmla="*/ 0 h 13163"/>
                  <a:gd name="connsiteX1" fmla="*/ 1392266 w 1392266"/>
                  <a:gd name="connsiteY1" fmla="*/ 0 h 13163"/>
                </a:gdLst>
                <a:ahLst/>
                <a:cxnLst>
                  <a:cxn ang="0">
                    <a:pos x="connsiteX0" y="connsiteY0"/>
                  </a:cxn>
                  <a:cxn ang="0">
                    <a:pos x="connsiteX1" y="connsiteY1"/>
                  </a:cxn>
                </a:cxnLst>
                <a:rect l="l" t="t" r="r" b="b"/>
                <a:pathLst>
                  <a:path w="1392266" h="13163">
                    <a:moveTo>
                      <a:pt x="0" y="0"/>
                    </a:moveTo>
                    <a:lnTo>
                      <a:pt x="1392266"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1" name="Freeform 190">
                <a:extLst>
                  <a:ext uri="{FF2B5EF4-FFF2-40B4-BE49-F238E27FC236}">
                    <a16:creationId xmlns:a16="http://schemas.microsoft.com/office/drawing/2014/main" id="{D3E79E9B-3657-F274-AB7C-523CA7FAEC2C}"/>
                  </a:ext>
                </a:extLst>
              </p:cNvPr>
              <p:cNvSpPr/>
              <p:nvPr/>
            </p:nvSpPr>
            <p:spPr>
              <a:xfrm>
                <a:off x="4481134"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2" name="Freeform 191">
                <a:extLst>
                  <a:ext uri="{FF2B5EF4-FFF2-40B4-BE49-F238E27FC236}">
                    <a16:creationId xmlns:a16="http://schemas.microsoft.com/office/drawing/2014/main" id="{A0997980-AE31-04D2-A80A-F2FB4B5B26B9}"/>
                  </a:ext>
                </a:extLst>
              </p:cNvPr>
              <p:cNvSpPr/>
              <p:nvPr/>
            </p:nvSpPr>
            <p:spPr>
              <a:xfrm>
                <a:off x="4287388"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3" name="Freeform 192">
                <a:extLst>
                  <a:ext uri="{FF2B5EF4-FFF2-40B4-BE49-F238E27FC236}">
                    <a16:creationId xmlns:a16="http://schemas.microsoft.com/office/drawing/2014/main" id="{7FB46064-D414-8ADC-A891-9AF9BF00A052}"/>
                  </a:ext>
                </a:extLst>
              </p:cNvPr>
              <p:cNvSpPr/>
              <p:nvPr/>
            </p:nvSpPr>
            <p:spPr>
              <a:xfrm>
                <a:off x="4093643"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4" name="Freeform 193">
                <a:extLst>
                  <a:ext uri="{FF2B5EF4-FFF2-40B4-BE49-F238E27FC236}">
                    <a16:creationId xmlns:a16="http://schemas.microsoft.com/office/drawing/2014/main" id="{878363EB-E126-DEDC-979F-64465C3A2226}"/>
                  </a:ext>
                </a:extLst>
              </p:cNvPr>
              <p:cNvSpPr/>
              <p:nvPr/>
            </p:nvSpPr>
            <p:spPr>
              <a:xfrm>
                <a:off x="3899764"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5" name="Freeform 194">
                <a:extLst>
                  <a:ext uri="{FF2B5EF4-FFF2-40B4-BE49-F238E27FC236}">
                    <a16:creationId xmlns:a16="http://schemas.microsoft.com/office/drawing/2014/main" id="{F0F6554E-C386-1D63-F7A3-4349F19AE2AE}"/>
                  </a:ext>
                </a:extLst>
              </p:cNvPr>
              <p:cNvSpPr/>
              <p:nvPr/>
            </p:nvSpPr>
            <p:spPr>
              <a:xfrm>
                <a:off x="3706019"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6" name="Freeform 195">
                <a:extLst>
                  <a:ext uri="{FF2B5EF4-FFF2-40B4-BE49-F238E27FC236}">
                    <a16:creationId xmlns:a16="http://schemas.microsoft.com/office/drawing/2014/main" id="{61412F0D-2D2E-DD2A-B37F-1A361063636E}"/>
                  </a:ext>
                </a:extLst>
              </p:cNvPr>
              <p:cNvSpPr/>
              <p:nvPr/>
            </p:nvSpPr>
            <p:spPr>
              <a:xfrm>
                <a:off x="3512273"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7" name="Freeform 196">
                <a:extLst>
                  <a:ext uri="{FF2B5EF4-FFF2-40B4-BE49-F238E27FC236}">
                    <a16:creationId xmlns:a16="http://schemas.microsoft.com/office/drawing/2014/main" id="{EB89330A-E4CF-61E8-6EDB-553E04D5ACBB}"/>
                  </a:ext>
                </a:extLst>
              </p:cNvPr>
              <p:cNvSpPr/>
              <p:nvPr/>
            </p:nvSpPr>
            <p:spPr>
              <a:xfrm>
                <a:off x="3314551" y="3625041"/>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8" name="Freeform 197">
                <a:extLst>
                  <a:ext uri="{FF2B5EF4-FFF2-40B4-BE49-F238E27FC236}">
                    <a16:creationId xmlns:a16="http://schemas.microsoft.com/office/drawing/2014/main" id="{BC4ADBF8-F3FF-2C52-3E62-E9C033AF0A89}"/>
                  </a:ext>
                </a:extLst>
              </p:cNvPr>
              <p:cNvSpPr/>
              <p:nvPr/>
            </p:nvSpPr>
            <p:spPr>
              <a:xfrm>
                <a:off x="3087278" y="3435613"/>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199" name="Freeform 198">
                <a:extLst>
                  <a:ext uri="{FF2B5EF4-FFF2-40B4-BE49-F238E27FC236}">
                    <a16:creationId xmlns:a16="http://schemas.microsoft.com/office/drawing/2014/main" id="{87806A15-1EC5-63BA-9B39-589F43E702A9}"/>
                  </a:ext>
                </a:extLst>
              </p:cNvPr>
              <p:cNvSpPr/>
              <p:nvPr/>
            </p:nvSpPr>
            <p:spPr>
              <a:xfrm>
                <a:off x="3087278" y="324394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0" name="Freeform 199">
                <a:extLst>
                  <a:ext uri="{FF2B5EF4-FFF2-40B4-BE49-F238E27FC236}">
                    <a16:creationId xmlns:a16="http://schemas.microsoft.com/office/drawing/2014/main" id="{5308A75B-E3CD-B949-2138-B438F8659F96}"/>
                  </a:ext>
                </a:extLst>
              </p:cNvPr>
              <p:cNvSpPr/>
              <p:nvPr/>
            </p:nvSpPr>
            <p:spPr>
              <a:xfrm>
                <a:off x="3087278" y="3052411"/>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1" name="Freeform 200">
                <a:extLst>
                  <a:ext uri="{FF2B5EF4-FFF2-40B4-BE49-F238E27FC236}">
                    <a16:creationId xmlns:a16="http://schemas.microsoft.com/office/drawing/2014/main" id="{8EBF489E-A6BF-7A82-748A-419EC03C1255}"/>
                  </a:ext>
                </a:extLst>
              </p:cNvPr>
              <p:cNvSpPr/>
              <p:nvPr/>
            </p:nvSpPr>
            <p:spPr>
              <a:xfrm>
                <a:off x="3087278" y="2860744"/>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2" name="Freeform 201">
                <a:extLst>
                  <a:ext uri="{FF2B5EF4-FFF2-40B4-BE49-F238E27FC236}">
                    <a16:creationId xmlns:a16="http://schemas.microsoft.com/office/drawing/2014/main" id="{59CB7AD4-C6BD-3884-A08E-E3EF4806F867}"/>
                  </a:ext>
                </a:extLst>
              </p:cNvPr>
              <p:cNvSpPr/>
              <p:nvPr/>
            </p:nvSpPr>
            <p:spPr>
              <a:xfrm>
                <a:off x="3087278" y="2669078"/>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03" name="Freeform 202">
                <a:extLst>
                  <a:ext uri="{FF2B5EF4-FFF2-40B4-BE49-F238E27FC236}">
                    <a16:creationId xmlns:a16="http://schemas.microsoft.com/office/drawing/2014/main" id="{569D941A-9A48-3626-8942-1BF78FE243E8}"/>
                  </a:ext>
                </a:extLst>
              </p:cNvPr>
              <p:cNvSpPr/>
              <p:nvPr/>
            </p:nvSpPr>
            <p:spPr>
              <a:xfrm>
                <a:off x="3114577" y="2666708"/>
                <a:ext cx="13252" cy="988215"/>
              </a:xfrm>
              <a:custGeom>
                <a:avLst/>
                <a:gdLst>
                  <a:gd name="connsiteX0" fmla="*/ 0 w 13252"/>
                  <a:gd name="connsiteY0" fmla="*/ 0 h 988215"/>
                  <a:gd name="connsiteX1" fmla="*/ 0 w 13252"/>
                  <a:gd name="connsiteY1" fmla="*/ 988215 h 988215"/>
                </a:gdLst>
                <a:ahLst/>
                <a:cxnLst>
                  <a:cxn ang="0">
                    <a:pos x="connsiteX0" y="connsiteY0"/>
                  </a:cxn>
                  <a:cxn ang="0">
                    <a:pos x="connsiteX1" y="connsiteY1"/>
                  </a:cxn>
                </a:cxnLst>
                <a:rect l="l" t="t" r="r" b="b"/>
                <a:pathLst>
                  <a:path w="13252" h="988215">
                    <a:moveTo>
                      <a:pt x="0" y="0"/>
                    </a:moveTo>
                    <a:lnTo>
                      <a:pt x="0" y="988215"/>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3" name="Group 452">
                <a:extLst>
                  <a:ext uri="{FF2B5EF4-FFF2-40B4-BE49-F238E27FC236}">
                    <a16:creationId xmlns:a16="http://schemas.microsoft.com/office/drawing/2014/main" id="{A310C74B-FDBD-2531-5FB0-2D23AFF900AC}"/>
                  </a:ext>
                </a:extLst>
              </p:cNvPr>
              <p:cNvGrpSpPr/>
              <p:nvPr/>
            </p:nvGrpSpPr>
            <p:grpSpPr>
              <a:xfrm>
                <a:off x="2925370" y="2623155"/>
                <a:ext cx="127266" cy="1036330"/>
                <a:chOff x="2866232" y="2586762"/>
                <a:chExt cx="127266" cy="1036330"/>
              </a:xfrm>
            </p:grpSpPr>
            <p:sp>
              <p:nvSpPr>
                <p:cNvPr id="204" name="TextBox 203">
                  <a:extLst>
                    <a:ext uri="{FF2B5EF4-FFF2-40B4-BE49-F238E27FC236}">
                      <a16:creationId xmlns:a16="http://schemas.microsoft.com/office/drawing/2014/main" id="{F72AAAFB-F8AB-AFBB-7754-46D3AD1C3526}"/>
                    </a:ext>
                  </a:extLst>
                </p:cNvPr>
                <p:cNvSpPr txBox="1"/>
                <p:nvPr/>
              </p:nvSpPr>
              <p:spPr>
                <a:xfrm>
                  <a:off x="2870870" y="2586762"/>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50</a:t>
                  </a:r>
                </a:p>
              </p:txBody>
            </p:sp>
            <p:sp>
              <p:nvSpPr>
                <p:cNvPr id="205" name="TextBox 204">
                  <a:extLst>
                    <a:ext uri="{FF2B5EF4-FFF2-40B4-BE49-F238E27FC236}">
                      <a16:creationId xmlns:a16="http://schemas.microsoft.com/office/drawing/2014/main" id="{F5571B89-9F2A-086E-A509-E2EA944DBD59}"/>
                    </a:ext>
                  </a:extLst>
                </p:cNvPr>
                <p:cNvSpPr txBox="1"/>
                <p:nvPr/>
              </p:nvSpPr>
              <p:spPr>
                <a:xfrm>
                  <a:off x="2866232" y="2779613"/>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0</a:t>
                  </a:r>
                </a:p>
              </p:txBody>
            </p:sp>
            <p:sp>
              <p:nvSpPr>
                <p:cNvPr id="206" name="TextBox 205">
                  <a:extLst>
                    <a:ext uri="{FF2B5EF4-FFF2-40B4-BE49-F238E27FC236}">
                      <a16:creationId xmlns:a16="http://schemas.microsoft.com/office/drawing/2014/main" id="{84CE7E9B-C8E1-0B8F-CAD8-AA8BA10DC2A0}"/>
                    </a:ext>
                  </a:extLst>
                </p:cNvPr>
                <p:cNvSpPr txBox="1"/>
                <p:nvPr/>
              </p:nvSpPr>
              <p:spPr>
                <a:xfrm>
                  <a:off x="2887700" y="2972333"/>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0</a:t>
                  </a:r>
                </a:p>
              </p:txBody>
            </p:sp>
            <p:sp>
              <p:nvSpPr>
                <p:cNvPr id="207" name="TextBox 206">
                  <a:extLst>
                    <a:ext uri="{FF2B5EF4-FFF2-40B4-BE49-F238E27FC236}">
                      <a16:creationId xmlns:a16="http://schemas.microsoft.com/office/drawing/2014/main" id="{D93C9FB4-6CBC-5393-EB8B-86E93D428CF7}"/>
                    </a:ext>
                  </a:extLst>
                </p:cNvPr>
                <p:cNvSpPr txBox="1"/>
                <p:nvPr/>
              </p:nvSpPr>
              <p:spPr>
                <a:xfrm>
                  <a:off x="2883327" y="3165053"/>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0</a:t>
                  </a:r>
                </a:p>
              </p:txBody>
            </p:sp>
            <p:sp>
              <p:nvSpPr>
                <p:cNvPr id="208" name="TextBox 207">
                  <a:extLst>
                    <a:ext uri="{FF2B5EF4-FFF2-40B4-BE49-F238E27FC236}">
                      <a16:creationId xmlns:a16="http://schemas.microsoft.com/office/drawing/2014/main" id="{4EC1EBD3-D199-1FF7-995F-93945E258764}"/>
                    </a:ext>
                  </a:extLst>
                </p:cNvPr>
                <p:cNvSpPr txBox="1"/>
                <p:nvPr/>
              </p:nvSpPr>
              <p:spPr>
                <a:xfrm>
                  <a:off x="2912217" y="3357904"/>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0</a:t>
                  </a:r>
                </a:p>
              </p:txBody>
            </p:sp>
            <p:sp>
              <p:nvSpPr>
                <p:cNvPr id="209" name="TextBox 208">
                  <a:extLst>
                    <a:ext uri="{FF2B5EF4-FFF2-40B4-BE49-F238E27FC236}">
                      <a16:creationId xmlns:a16="http://schemas.microsoft.com/office/drawing/2014/main" id="{4164621C-DC9E-BB63-EE5B-239316C7E399}"/>
                    </a:ext>
                  </a:extLst>
                </p:cNvPr>
                <p:cNvSpPr txBox="1"/>
                <p:nvPr/>
              </p:nvSpPr>
              <p:spPr>
                <a:xfrm>
                  <a:off x="2947998" y="3546148"/>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grpSp>
          <p:grpSp>
            <p:nvGrpSpPr>
              <p:cNvPr id="449" name="Group 448">
                <a:extLst>
                  <a:ext uri="{FF2B5EF4-FFF2-40B4-BE49-F238E27FC236}">
                    <a16:creationId xmlns:a16="http://schemas.microsoft.com/office/drawing/2014/main" id="{33FD3AFE-3014-E331-2361-18FC2B4D486A}"/>
                  </a:ext>
                </a:extLst>
              </p:cNvPr>
              <p:cNvGrpSpPr/>
              <p:nvPr/>
            </p:nvGrpSpPr>
            <p:grpSpPr>
              <a:xfrm>
                <a:off x="3093740" y="3666197"/>
                <a:ext cx="1455275" cy="76944"/>
                <a:chOff x="3003789" y="3666197"/>
                <a:chExt cx="1455275" cy="76944"/>
              </a:xfrm>
            </p:grpSpPr>
            <p:sp>
              <p:nvSpPr>
                <p:cNvPr id="210" name="TextBox 209">
                  <a:extLst>
                    <a:ext uri="{FF2B5EF4-FFF2-40B4-BE49-F238E27FC236}">
                      <a16:creationId xmlns:a16="http://schemas.microsoft.com/office/drawing/2014/main" id="{F6D4B28E-5893-BFC5-74EA-2C654C89222D}"/>
                    </a:ext>
                  </a:extLst>
                </p:cNvPr>
                <p:cNvSpPr txBox="1"/>
                <p:nvPr/>
              </p:nvSpPr>
              <p:spPr>
                <a:xfrm>
                  <a:off x="3003789"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sp>
              <p:nvSpPr>
                <p:cNvPr id="211" name="TextBox 210">
                  <a:extLst>
                    <a:ext uri="{FF2B5EF4-FFF2-40B4-BE49-F238E27FC236}">
                      <a16:creationId xmlns:a16="http://schemas.microsoft.com/office/drawing/2014/main" id="{3F2CD075-D85D-796F-2BDB-EAE98654E1F0}"/>
                    </a:ext>
                  </a:extLst>
                </p:cNvPr>
                <p:cNvSpPr txBox="1"/>
                <p:nvPr/>
              </p:nvSpPr>
              <p:spPr>
                <a:xfrm>
                  <a:off x="3171958"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0</a:t>
                  </a:r>
                </a:p>
              </p:txBody>
            </p:sp>
            <p:sp>
              <p:nvSpPr>
                <p:cNvPr id="212" name="TextBox 211">
                  <a:extLst>
                    <a:ext uri="{FF2B5EF4-FFF2-40B4-BE49-F238E27FC236}">
                      <a16:creationId xmlns:a16="http://schemas.microsoft.com/office/drawing/2014/main" id="{6D0343CF-814B-5BAF-9EFD-4AA6C656CE32}"/>
                    </a:ext>
                  </a:extLst>
                </p:cNvPr>
                <p:cNvSpPr txBox="1"/>
                <p:nvPr/>
              </p:nvSpPr>
              <p:spPr>
                <a:xfrm>
                  <a:off x="3365571"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400</a:t>
                  </a:r>
                </a:p>
              </p:txBody>
            </p:sp>
            <p:sp>
              <p:nvSpPr>
                <p:cNvPr id="213" name="TextBox 212">
                  <a:extLst>
                    <a:ext uri="{FF2B5EF4-FFF2-40B4-BE49-F238E27FC236}">
                      <a16:creationId xmlns:a16="http://schemas.microsoft.com/office/drawing/2014/main" id="{205254A0-3D9B-3FC8-C74B-BFD2F0F35C2D}"/>
                    </a:ext>
                  </a:extLst>
                </p:cNvPr>
                <p:cNvSpPr txBox="1"/>
                <p:nvPr/>
              </p:nvSpPr>
              <p:spPr>
                <a:xfrm>
                  <a:off x="3561305"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600</a:t>
                  </a:r>
                </a:p>
              </p:txBody>
            </p:sp>
            <p:sp>
              <p:nvSpPr>
                <p:cNvPr id="214" name="TextBox 213">
                  <a:extLst>
                    <a:ext uri="{FF2B5EF4-FFF2-40B4-BE49-F238E27FC236}">
                      <a16:creationId xmlns:a16="http://schemas.microsoft.com/office/drawing/2014/main" id="{39145EB2-69B8-24C2-AF98-C7FAF856BC99}"/>
                    </a:ext>
                  </a:extLst>
                </p:cNvPr>
                <p:cNvSpPr txBox="1"/>
                <p:nvPr/>
              </p:nvSpPr>
              <p:spPr>
                <a:xfrm>
                  <a:off x="3757304"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800</a:t>
                  </a:r>
                </a:p>
              </p:txBody>
            </p:sp>
            <p:sp>
              <p:nvSpPr>
                <p:cNvPr id="215" name="TextBox 214">
                  <a:extLst>
                    <a:ext uri="{FF2B5EF4-FFF2-40B4-BE49-F238E27FC236}">
                      <a16:creationId xmlns:a16="http://schemas.microsoft.com/office/drawing/2014/main" id="{BE2D1C43-B43F-EB01-2D5E-B7C523F98ECB}"/>
                    </a:ext>
                  </a:extLst>
                </p:cNvPr>
                <p:cNvSpPr txBox="1"/>
                <p:nvPr/>
              </p:nvSpPr>
              <p:spPr>
                <a:xfrm>
                  <a:off x="3926003" y="3666197"/>
                  <a:ext cx="141064"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00</a:t>
                  </a:r>
                </a:p>
              </p:txBody>
            </p:sp>
            <p:sp>
              <p:nvSpPr>
                <p:cNvPr id="216" name="TextBox 215">
                  <a:extLst>
                    <a:ext uri="{FF2B5EF4-FFF2-40B4-BE49-F238E27FC236}">
                      <a16:creationId xmlns:a16="http://schemas.microsoft.com/office/drawing/2014/main" id="{49A8931D-864C-86C6-DAFC-25044BF3F9B6}"/>
                    </a:ext>
                  </a:extLst>
                </p:cNvPr>
                <p:cNvSpPr txBox="1"/>
                <p:nvPr/>
              </p:nvSpPr>
              <p:spPr>
                <a:xfrm>
                  <a:off x="4124122" y="3666197"/>
                  <a:ext cx="141064"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200</a:t>
                  </a:r>
                </a:p>
              </p:txBody>
            </p:sp>
            <p:sp>
              <p:nvSpPr>
                <p:cNvPr id="217" name="TextBox 216">
                  <a:extLst>
                    <a:ext uri="{FF2B5EF4-FFF2-40B4-BE49-F238E27FC236}">
                      <a16:creationId xmlns:a16="http://schemas.microsoft.com/office/drawing/2014/main" id="{00978DB4-79EE-D349-DD73-62C638EFB85C}"/>
                    </a:ext>
                  </a:extLst>
                </p:cNvPr>
                <p:cNvSpPr txBox="1"/>
                <p:nvPr/>
              </p:nvSpPr>
              <p:spPr>
                <a:xfrm>
                  <a:off x="4318000" y="3666197"/>
                  <a:ext cx="141064" cy="76944"/>
                </a:xfrm>
                <a:prstGeom prst="rect">
                  <a:avLst/>
                </a:prstGeom>
                <a:noFill/>
              </p:spPr>
              <p:txBody>
                <a:bodyPr wrap="none" lIns="0" tIns="0" rIns="0" bIns="0" rtlCol="0">
                  <a:spAutoFit/>
                </a:bodyPr>
                <a:lstStyle/>
                <a:p>
                  <a:pPr algn="l"/>
                  <a:r>
                    <a:rPr lang="en-US" sz="500" spc="0" baseline="0" dirty="0">
                      <a:ln/>
                      <a:solidFill>
                        <a:srgbClr val="000000"/>
                      </a:solidFill>
                      <a:latin typeface="Arial" panose="020B0604020202020204" pitchFamily="34" charset="0"/>
                      <a:cs typeface="Arial" panose="020B0604020202020204" pitchFamily="34" charset="0"/>
                      <a:sym typeface="Arial"/>
                      <a:rtl val="0"/>
                    </a:rPr>
                    <a:t>1400</a:t>
                  </a:r>
                </a:p>
              </p:txBody>
            </p:sp>
          </p:grpSp>
          <p:sp>
            <p:nvSpPr>
              <p:cNvPr id="293" name="TextBox 292">
                <a:extLst>
                  <a:ext uri="{FF2B5EF4-FFF2-40B4-BE49-F238E27FC236}">
                    <a16:creationId xmlns:a16="http://schemas.microsoft.com/office/drawing/2014/main" id="{44C2331D-21C0-94DD-D8EA-227BCF9BCC4F}"/>
                  </a:ext>
                </a:extLst>
              </p:cNvPr>
              <p:cNvSpPr txBox="1"/>
              <p:nvPr/>
            </p:nvSpPr>
            <p:spPr>
              <a:xfrm>
                <a:off x="3850062" y="3451376"/>
                <a:ext cx="549831"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a:t>
                </a:r>
              </a:p>
            </p:txBody>
          </p:sp>
          <p:sp>
            <p:nvSpPr>
              <p:cNvPr id="295" name="Freeform 294">
                <a:extLst>
                  <a:ext uri="{FF2B5EF4-FFF2-40B4-BE49-F238E27FC236}">
                    <a16:creationId xmlns:a16="http://schemas.microsoft.com/office/drawing/2014/main" id="{24A4B07E-D982-F275-D12A-6B1806B99E7B}"/>
                  </a:ext>
                </a:extLst>
              </p:cNvPr>
              <p:cNvSpPr/>
              <p:nvPr/>
            </p:nvSpPr>
            <p:spPr>
              <a:xfrm>
                <a:off x="3689453" y="3489848"/>
                <a:ext cx="123642" cy="13163"/>
              </a:xfrm>
              <a:custGeom>
                <a:avLst/>
                <a:gdLst>
                  <a:gd name="connsiteX0" fmla="*/ 0 w 123642"/>
                  <a:gd name="connsiteY0" fmla="*/ 0 h 13163"/>
                  <a:gd name="connsiteX1" fmla="*/ 123642 w 123642"/>
                  <a:gd name="connsiteY1" fmla="*/ 0 h 13163"/>
                </a:gdLst>
                <a:ahLst/>
                <a:cxnLst>
                  <a:cxn ang="0">
                    <a:pos x="connsiteX0" y="connsiteY0"/>
                  </a:cxn>
                  <a:cxn ang="0">
                    <a:pos x="connsiteX1" y="connsiteY1"/>
                  </a:cxn>
                </a:cxnLst>
                <a:rect l="l" t="t" r="r" b="b"/>
                <a:pathLst>
                  <a:path w="123642" h="13163">
                    <a:moveTo>
                      <a:pt x="0" y="0"/>
                    </a:moveTo>
                    <a:lnTo>
                      <a:pt x="123642" y="0"/>
                    </a:lnTo>
                  </a:path>
                </a:pathLst>
              </a:custGeom>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99" name="TextBox 298">
                <a:extLst>
                  <a:ext uri="{FF2B5EF4-FFF2-40B4-BE49-F238E27FC236}">
                    <a16:creationId xmlns:a16="http://schemas.microsoft.com/office/drawing/2014/main" id="{DBBCB673-34F1-8E9D-935F-B283D3652FD4}"/>
                  </a:ext>
                </a:extLst>
              </p:cNvPr>
              <p:cNvSpPr txBox="1"/>
              <p:nvPr/>
            </p:nvSpPr>
            <p:spPr>
              <a:xfrm>
                <a:off x="3849517" y="3217709"/>
                <a:ext cx="565861" cy="153888"/>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a:t>
                </a:r>
              </a:p>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EU and US)</a:t>
                </a:r>
              </a:p>
            </p:txBody>
          </p:sp>
          <p:sp>
            <p:nvSpPr>
              <p:cNvPr id="303" name="Freeform 302">
                <a:extLst>
                  <a:ext uri="{FF2B5EF4-FFF2-40B4-BE49-F238E27FC236}">
                    <a16:creationId xmlns:a16="http://schemas.microsoft.com/office/drawing/2014/main" id="{0BEC34C6-D94D-0312-32F0-F31CADA9FD3C}"/>
                  </a:ext>
                </a:extLst>
              </p:cNvPr>
              <p:cNvSpPr/>
              <p:nvPr/>
            </p:nvSpPr>
            <p:spPr>
              <a:xfrm>
                <a:off x="3689453" y="3304895"/>
                <a:ext cx="123642" cy="13163"/>
              </a:xfrm>
              <a:custGeom>
                <a:avLst/>
                <a:gdLst>
                  <a:gd name="connsiteX0" fmla="*/ 0 w 123642"/>
                  <a:gd name="connsiteY0" fmla="*/ 0 h 13163"/>
                  <a:gd name="connsiteX1" fmla="*/ 123642 w 123642"/>
                  <a:gd name="connsiteY1" fmla="*/ 0 h 13163"/>
                </a:gdLst>
                <a:ahLst/>
                <a:cxnLst>
                  <a:cxn ang="0">
                    <a:pos x="connsiteX0" y="connsiteY0"/>
                  </a:cxn>
                  <a:cxn ang="0">
                    <a:pos x="connsiteX1" y="connsiteY1"/>
                  </a:cxn>
                </a:cxnLst>
                <a:rect l="l" t="t" r="r" b="b"/>
                <a:pathLst>
                  <a:path w="123642" h="13163">
                    <a:moveTo>
                      <a:pt x="0" y="0"/>
                    </a:moveTo>
                    <a:lnTo>
                      <a:pt x="123642" y="0"/>
                    </a:lnTo>
                  </a:path>
                </a:pathLst>
              </a:custGeom>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0" name="Freeform 419">
                <a:extLst>
                  <a:ext uri="{FF2B5EF4-FFF2-40B4-BE49-F238E27FC236}">
                    <a16:creationId xmlns:a16="http://schemas.microsoft.com/office/drawing/2014/main" id="{C23AFDE1-4B54-6276-755A-294469440668}"/>
                  </a:ext>
                </a:extLst>
              </p:cNvPr>
              <p:cNvSpPr/>
              <p:nvPr/>
            </p:nvSpPr>
            <p:spPr>
              <a:xfrm>
                <a:off x="3153538" y="2721207"/>
                <a:ext cx="1371195" cy="902123"/>
              </a:xfrm>
              <a:custGeom>
                <a:avLst/>
                <a:gdLst>
                  <a:gd name="connsiteX0" fmla="*/ 1371196 w 1371195"/>
                  <a:gd name="connsiteY0" fmla="*/ 110182 h 902123"/>
                  <a:gd name="connsiteX1" fmla="*/ 1340318 w 1371195"/>
                  <a:gd name="connsiteY1" fmla="*/ 110182 h 902123"/>
                  <a:gd name="connsiteX2" fmla="*/ 1335150 w 1371195"/>
                  <a:gd name="connsiteY2" fmla="*/ 94649 h 902123"/>
                  <a:gd name="connsiteX3" fmla="*/ 1332632 w 1371195"/>
                  <a:gd name="connsiteY3" fmla="*/ 122556 h 902123"/>
                  <a:gd name="connsiteX4" fmla="*/ 1326801 w 1371195"/>
                  <a:gd name="connsiteY4" fmla="*/ 108602 h 902123"/>
                  <a:gd name="connsiteX5" fmla="*/ 1313549 w 1371195"/>
                  <a:gd name="connsiteY5" fmla="*/ 108602 h 902123"/>
                  <a:gd name="connsiteX6" fmla="*/ 1307585 w 1371195"/>
                  <a:gd name="connsiteY6" fmla="*/ 87408 h 902123"/>
                  <a:gd name="connsiteX7" fmla="*/ 1305200 w 1371195"/>
                  <a:gd name="connsiteY7" fmla="*/ 131902 h 902123"/>
                  <a:gd name="connsiteX8" fmla="*/ 1296851 w 1371195"/>
                  <a:gd name="connsiteY8" fmla="*/ 107549 h 902123"/>
                  <a:gd name="connsiteX9" fmla="*/ 1291683 w 1371195"/>
                  <a:gd name="connsiteY9" fmla="*/ 119528 h 902123"/>
                  <a:gd name="connsiteX10" fmla="*/ 1286382 w 1371195"/>
                  <a:gd name="connsiteY10" fmla="*/ 95175 h 902123"/>
                  <a:gd name="connsiteX11" fmla="*/ 1281479 w 1371195"/>
                  <a:gd name="connsiteY11" fmla="*/ 109655 h 902123"/>
                  <a:gd name="connsiteX12" fmla="*/ 1278298 w 1371195"/>
                  <a:gd name="connsiteY12" fmla="*/ 117290 h 902123"/>
                  <a:gd name="connsiteX13" fmla="*/ 1272997 w 1371195"/>
                  <a:gd name="connsiteY13" fmla="*/ 92674 h 902123"/>
                  <a:gd name="connsiteX14" fmla="*/ 1271142 w 1371195"/>
                  <a:gd name="connsiteY14" fmla="*/ 105048 h 902123"/>
                  <a:gd name="connsiteX15" fmla="*/ 1181558 w 1371195"/>
                  <a:gd name="connsiteY15" fmla="*/ 98861 h 902123"/>
                  <a:gd name="connsiteX16" fmla="*/ 1181558 w 1371195"/>
                  <a:gd name="connsiteY16" fmla="*/ 115448 h 902123"/>
                  <a:gd name="connsiteX17" fmla="*/ 1171486 w 1371195"/>
                  <a:gd name="connsiteY17" fmla="*/ 73850 h 902123"/>
                  <a:gd name="connsiteX18" fmla="*/ 1169233 w 1371195"/>
                  <a:gd name="connsiteY18" fmla="*/ 97808 h 902123"/>
                  <a:gd name="connsiteX19" fmla="*/ 1165390 w 1371195"/>
                  <a:gd name="connsiteY19" fmla="*/ 127822 h 902123"/>
                  <a:gd name="connsiteX20" fmla="*/ 1159957 w 1371195"/>
                  <a:gd name="connsiteY20" fmla="*/ 98861 h 902123"/>
                  <a:gd name="connsiteX21" fmla="*/ 695338 w 1371195"/>
                  <a:gd name="connsiteY21" fmla="*/ 67794 h 902123"/>
                  <a:gd name="connsiteX22" fmla="*/ 686062 w 1371195"/>
                  <a:gd name="connsiteY22" fmla="*/ 24353 h 902123"/>
                  <a:gd name="connsiteX23" fmla="*/ 681953 w 1371195"/>
                  <a:gd name="connsiteY23" fmla="*/ 78194 h 902123"/>
                  <a:gd name="connsiteX24" fmla="*/ 676785 w 1371195"/>
                  <a:gd name="connsiteY24" fmla="*/ 57131 h 902123"/>
                  <a:gd name="connsiteX25" fmla="*/ 108137 w 1371195"/>
                  <a:gd name="connsiteY25" fmla="*/ 901728 h 902123"/>
                  <a:gd name="connsiteX26" fmla="*/ 0 w 1371195"/>
                  <a:gd name="connsiteY26" fmla="*/ 901728 h 902123"/>
                  <a:gd name="connsiteX27" fmla="*/ 1371196 w 1371195"/>
                  <a:gd name="connsiteY27" fmla="*/ 101757 h 902123"/>
                  <a:gd name="connsiteX28" fmla="*/ 1340318 w 1371195"/>
                  <a:gd name="connsiteY28" fmla="*/ 101757 h 902123"/>
                  <a:gd name="connsiteX29" fmla="*/ 1335150 w 1371195"/>
                  <a:gd name="connsiteY29" fmla="*/ 86224 h 902123"/>
                  <a:gd name="connsiteX30" fmla="*/ 1332632 w 1371195"/>
                  <a:gd name="connsiteY30" fmla="*/ 114131 h 902123"/>
                  <a:gd name="connsiteX31" fmla="*/ 1326801 w 1371195"/>
                  <a:gd name="connsiteY31" fmla="*/ 100177 h 902123"/>
                  <a:gd name="connsiteX32" fmla="*/ 1313549 w 1371195"/>
                  <a:gd name="connsiteY32" fmla="*/ 100177 h 902123"/>
                  <a:gd name="connsiteX33" fmla="*/ 1307585 w 1371195"/>
                  <a:gd name="connsiteY33" fmla="*/ 78983 h 902123"/>
                  <a:gd name="connsiteX34" fmla="*/ 1305200 w 1371195"/>
                  <a:gd name="connsiteY34" fmla="*/ 123478 h 902123"/>
                  <a:gd name="connsiteX35" fmla="*/ 1296851 w 1371195"/>
                  <a:gd name="connsiteY35" fmla="*/ 99124 h 902123"/>
                  <a:gd name="connsiteX36" fmla="*/ 1291683 w 1371195"/>
                  <a:gd name="connsiteY36" fmla="*/ 111103 h 902123"/>
                  <a:gd name="connsiteX37" fmla="*/ 1286382 w 1371195"/>
                  <a:gd name="connsiteY37" fmla="*/ 86750 h 902123"/>
                  <a:gd name="connsiteX38" fmla="*/ 1281479 w 1371195"/>
                  <a:gd name="connsiteY38" fmla="*/ 101231 h 902123"/>
                  <a:gd name="connsiteX39" fmla="*/ 1278298 w 1371195"/>
                  <a:gd name="connsiteY39" fmla="*/ 108866 h 902123"/>
                  <a:gd name="connsiteX40" fmla="*/ 1272997 w 1371195"/>
                  <a:gd name="connsiteY40" fmla="*/ 84117 h 902123"/>
                  <a:gd name="connsiteX41" fmla="*/ 1271142 w 1371195"/>
                  <a:gd name="connsiteY41" fmla="*/ 96492 h 902123"/>
                  <a:gd name="connsiteX42" fmla="*/ 1181558 w 1371195"/>
                  <a:gd name="connsiteY42" fmla="*/ 90304 h 902123"/>
                  <a:gd name="connsiteX43" fmla="*/ 1181558 w 1371195"/>
                  <a:gd name="connsiteY43" fmla="*/ 106891 h 902123"/>
                  <a:gd name="connsiteX44" fmla="*/ 1171486 w 1371195"/>
                  <a:gd name="connsiteY44" fmla="*/ 65293 h 902123"/>
                  <a:gd name="connsiteX45" fmla="*/ 1169233 w 1371195"/>
                  <a:gd name="connsiteY45" fmla="*/ 89251 h 902123"/>
                  <a:gd name="connsiteX46" fmla="*/ 1165390 w 1371195"/>
                  <a:gd name="connsiteY46" fmla="*/ 119265 h 902123"/>
                  <a:gd name="connsiteX47" fmla="*/ 1159957 w 1371195"/>
                  <a:gd name="connsiteY47" fmla="*/ 90304 h 902123"/>
                  <a:gd name="connsiteX48" fmla="*/ 695338 w 1371195"/>
                  <a:gd name="connsiteY48" fmla="*/ 51339 h 902123"/>
                  <a:gd name="connsiteX49" fmla="*/ 686062 w 1371195"/>
                  <a:gd name="connsiteY49" fmla="*/ 0 h 902123"/>
                  <a:gd name="connsiteX50" fmla="*/ 677448 w 1371195"/>
                  <a:gd name="connsiteY50" fmla="*/ 59501 h 902123"/>
                  <a:gd name="connsiteX51" fmla="*/ 674930 w 1371195"/>
                  <a:gd name="connsiteY51" fmla="*/ 43704 h 902123"/>
                  <a:gd name="connsiteX52" fmla="*/ 108137 w 1371195"/>
                  <a:gd name="connsiteY52" fmla="*/ 902123 h 902123"/>
                  <a:gd name="connsiteX53" fmla="*/ 0 w 1371195"/>
                  <a:gd name="connsiteY53" fmla="*/ 902123 h 902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371195" h="902123">
                    <a:moveTo>
                      <a:pt x="1371196" y="110182"/>
                    </a:moveTo>
                    <a:lnTo>
                      <a:pt x="1340318" y="110182"/>
                    </a:lnTo>
                    <a:lnTo>
                      <a:pt x="1335150" y="94649"/>
                    </a:lnTo>
                    <a:lnTo>
                      <a:pt x="1332632" y="122556"/>
                    </a:lnTo>
                    <a:lnTo>
                      <a:pt x="1326801" y="108602"/>
                    </a:lnTo>
                    <a:lnTo>
                      <a:pt x="1313549" y="108602"/>
                    </a:lnTo>
                    <a:lnTo>
                      <a:pt x="1307585" y="87408"/>
                    </a:lnTo>
                    <a:lnTo>
                      <a:pt x="1305200" y="131902"/>
                    </a:lnTo>
                    <a:lnTo>
                      <a:pt x="1296851" y="107549"/>
                    </a:lnTo>
                    <a:lnTo>
                      <a:pt x="1291683" y="119528"/>
                    </a:lnTo>
                    <a:lnTo>
                      <a:pt x="1286382" y="95175"/>
                    </a:lnTo>
                    <a:lnTo>
                      <a:pt x="1281479" y="109655"/>
                    </a:lnTo>
                    <a:lnTo>
                      <a:pt x="1278298" y="117290"/>
                    </a:lnTo>
                    <a:lnTo>
                      <a:pt x="1272997" y="92674"/>
                    </a:lnTo>
                    <a:lnTo>
                      <a:pt x="1271142" y="105048"/>
                    </a:lnTo>
                    <a:lnTo>
                      <a:pt x="1181558" y="98861"/>
                    </a:lnTo>
                    <a:lnTo>
                      <a:pt x="1181558" y="115448"/>
                    </a:lnTo>
                    <a:lnTo>
                      <a:pt x="1171486" y="73850"/>
                    </a:lnTo>
                    <a:lnTo>
                      <a:pt x="1169233" y="97808"/>
                    </a:lnTo>
                    <a:lnTo>
                      <a:pt x="1165390" y="127822"/>
                    </a:lnTo>
                    <a:cubicBezTo>
                      <a:pt x="1165390" y="127822"/>
                      <a:pt x="1162210" y="122293"/>
                      <a:pt x="1159957" y="98861"/>
                    </a:cubicBezTo>
                    <a:cubicBezTo>
                      <a:pt x="1071963" y="104127"/>
                      <a:pt x="695338" y="67794"/>
                      <a:pt x="695338" y="67794"/>
                    </a:cubicBezTo>
                    <a:lnTo>
                      <a:pt x="686062" y="24353"/>
                    </a:lnTo>
                    <a:lnTo>
                      <a:pt x="681953" y="78194"/>
                    </a:lnTo>
                    <a:lnTo>
                      <a:pt x="676785" y="57131"/>
                    </a:lnTo>
                    <a:cubicBezTo>
                      <a:pt x="676785" y="57131"/>
                      <a:pt x="344687" y="186533"/>
                      <a:pt x="108137" y="901728"/>
                    </a:cubicBezTo>
                    <a:lnTo>
                      <a:pt x="0" y="901728"/>
                    </a:lnTo>
                    <a:moveTo>
                      <a:pt x="1371196" y="101757"/>
                    </a:moveTo>
                    <a:lnTo>
                      <a:pt x="1340318" y="101757"/>
                    </a:lnTo>
                    <a:lnTo>
                      <a:pt x="1335150" y="86224"/>
                    </a:lnTo>
                    <a:lnTo>
                      <a:pt x="1332632" y="114131"/>
                    </a:lnTo>
                    <a:lnTo>
                      <a:pt x="1326801" y="100177"/>
                    </a:lnTo>
                    <a:lnTo>
                      <a:pt x="1313549" y="100177"/>
                    </a:lnTo>
                    <a:lnTo>
                      <a:pt x="1307585" y="78983"/>
                    </a:lnTo>
                    <a:lnTo>
                      <a:pt x="1305200" y="123478"/>
                    </a:lnTo>
                    <a:lnTo>
                      <a:pt x="1296851" y="99124"/>
                    </a:lnTo>
                    <a:lnTo>
                      <a:pt x="1291683" y="111103"/>
                    </a:lnTo>
                    <a:lnTo>
                      <a:pt x="1286382" y="86750"/>
                    </a:lnTo>
                    <a:lnTo>
                      <a:pt x="1281479" y="101231"/>
                    </a:lnTo>
                    <a:lnTo>
                      <a:pt x="1278298" y="108866"/>
                    </a:lnTo>
                    <a:lnTo>
                      <a:pt x="1272997" y="84117"/>
                    </a:lnTo>
                    <a:lnTo>
                      <a:pt x="1271142" y="96492"/>
                    </a:lnTo>
                    <a:lnTo>
                      <a:pt x="1181558" y="90304"/>
                    </a:lnTo>
                    <a:lnTo>
                      <a:pt x="1181558" y="106891"/>
                    </a:lnTo>
                    <a:lnTo>
                      <a:pt x="1171486" y="65293"/>
                    </a:lnTo>
                    <a:lnTo>
                      <a:pt x="1169233" y="89251"/>
                    </a:lnTo>
                    <a:lnTo>
                      <a:pt x="1165390" y="119265"/>
                    </a:lnTo>
                    <a:cubicBezTo>
                      <a:pt x="1165390" y="119265"/>
                      <a:pt x="1162210" y="113736"/>
                      <a:pt x="1159957" y="90304"/>
                    </a:cubicBezTo>
                    <a:cubicBezTo>
                      <a:pt x="1038435" y="103995"/>
                      <a:pt x="695338" y="51339"/>
                      <a:pt x="695338" y="51339"/>
                    </a:cubicBezTo>
                    <a:lnTo>
                      <a:pt x="686062" y="0"/>
                    </a:lnTo>
                    <a:lnTo>
                      <a:pt x="677448" y="59501"/>
                    </a:lnTo>
                    <a:lnTo>
                      <a:pt x="674930" y="43704"/>
                    </a:lnTo>
                    <a:cubicBezTo>
                      <a:pt x="674930" y="43704"/>
                      <a:pt x="344687" y="187059"/>
                      <a:pt x="108137" y="902123"/>
                    </a:cubicBezTo>
                    <a:lnTo>
                      <a:pt x="0" y="902123"/>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1" name="Freeform 420">
                <a:extLst>
                  <a:ext uri="{FF2B5EF4-FFF2-40B4-BE49-F238E27FC236}">
                    <a16:creationId xmlns:a16="http://schemas.microsoft.com/office/drawing/2014/main" id="{19F11A26-8E83-9A42-1910-2C87C4F1D2ED}"/>
                  </a:ext>
                </a:extLst>
              </p:cNvPr>
              <p:cNvSpPr/>
              <p:nvPr/>
            </p:nvSpPr>
            <p:spPr>
              <a:xfrm>
                <a:off x="3151948" y="2753853"/>
                <a:ext cx="1372785" cy="868818"/>
              </a:xfrm>
              <a:custGeom>
                <a:avLst/>
                <a:gdLst>
                  <a:gd name="connsiteX0" fmla="*/ 1372786 w 1372785"/>
                  <a:gd name="connsiteY0" fmla="*/ 92937 h 868818"/>
                  <a:gd name="connsiteX1" fmla="*/ 1341909 w 1372785"/>
                  <a:gd name="connsiteY1" fmla="*/ 92937 h 868818"/>
                  <a:gd name="connsiteX2" fmla="*/ 1336740 w 1372785"/>
                  <a:gd name="connsiteY2" fmla="*/ 62660 h 868818"/>
                  <a:gd name="connsiteX3" fmla="*/ 1334355 w 1372785"/>
                  <a:gd name="connsiteY3" fmla="*/ 97150 h 868818"/>
                  <a:gd name="connsiteX4" fmla="*/ 1316729 w 1372785"/>
                  <a:gd name="connsiteY4" fmla="*/ 96623 h 868818"/>
                  <a:gd name="connsiteX5" fmla="*/ 1310368 w 1372785"/>
                  <a:gd name="connsiteY5" fmla="*/ 62924 h 868818"/>
                  <a:gd name="connsiteX6" fmla="*/ 1306923 w 1372785"/>
                  <a:gd name="connsiteY6" fmla="*/ 107944 h 868818"/>
                  <a:gd name="connsiteX7" fmla="*/ 1299767 w 1372785"/>
                  <a:gd name="connsiteY7" fmla="*/ 82406 h 868818"/>
                  <a:gd name="connsiteX8" fmla="*/ 1295659 w 1372785"/>
                  <a:gd name="connsiteY8" fmla="*/ 108471 h 868818"/>
                  <a:gd name="connsiteX9" fmla="*/ 1292611 w 1372785"/>
                  <a:gd name="connsiteY9" fmla="*/ 64108 h 868818"/>
                  <a:gd name="connsiteX10" fmla="*/ 1284394 w 1372785"/>
                  <a:gd name="connsiteY10" fmla="*/ 95307 h 868818"/>
                  <a:gd name="connsiteX11" fmla="*/ 1275913 w 1372785"/>
                  <a:gd name="connsiteY11" fmla="*/ 68189 h 868818"/>
                  <a:gd name="connsiteX12" fmla="*/ 1272733 w 1372785"/>
                  <a:gd name="connsiteY12" fmla="*/ 90304 h 868818"/>
                  <a:gd name="connsiteX13" fmla="*/ 1183281 w 1372785"/>
                  <a:gd name="connsiteY13" fmla="*/ 82538 h 868818"/>
                  <a:gd name="connsiteX14" fmla="*/ 1183281 w 1372785"/>
                  <a:gd name="connsiteY14" fmla="*/ 99124 h 868818"/>
                  <a:gd name="connsiteX15" fmla="*/ 1173209 w 1372785"/>
                  <a:gd name="connsiteY15" fmla="*/ 41730 h 868818"/>
                  <a:gd name="connsiteX16" fmla="*/ 1170956 w 1372785"/>
                  <a:gd name="connsiteY16" fmla="*/ 81485 h 868818"/>
                  <a:gd name="connsiteX17" fmla="*/ 1167113 w 1372785"/>
                  <a:gd name="connsiteY17" fmla="*/ 111498 h 868818"/>
                  <a:gd name="connsiteX18" fmla="*/ 1161680 w 1372785"/>
                  <a:gd name="connsiteY18" fmla="*/ 82538 h 868818"/>
                  <a:gd name="connsiteX19" fmla="*/ 697061 w 1372785"/>
                  <a:gd name="connsiteY19" fmla="*/ 48443 h 868818"/>
                  <a:gd name="connsiteX20" fmla="*/ 687784 w 1372785"/>
                  <a:gd name="connsiteY20" fmla="*/ 0 h 868818"/>
                  <a:gd name="connsiteX21" fmla="*/ 683676 w 1372785"/>
                  <a:gd name="connsiteY21" fmla="*/ 53840 h 868818"/>
                  <a:gd name="connsiteX22" fmla="*/ 679436 w 1372785"/>
                  <a:gd name="connsiteY22" fmla="*/ 43836 h 868818"/>
                  <a:gd name="connsiteX23" fmla="*/ 108137 w 1372785"/>
                  <a:gd name="connsiteY23" fmla="*/ 868818 h 868818"/>
                  <a:gd name="connsiteX24" fmla="*/ 0 w 1372785"/>
                  <a:gd name="connsiteY24" fmla="*/ 868818 h 86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72785" h="868818">
                    <a:moveTo>
                      <a:pt x="1372786" y="92937"/>
                    </a:moveTo>
                    <a:lnTo>
                      <a:pt x="1341909" y="92937"/>
                    </a:lnTo>
                    <a:lnTo>
                      <a:pt x="1336740" y="62660"/>
                    </a:lnTo>
                    <a:lnTo>
                      <a:pt x="1334355" y="97150"/>
                    </a:lnTo>
                    <a:lnTo>
                      <a:pt x="1316729" y="96623"/>
                    </a:lnTo>
                    <a:lnTo>
                      <a:pt x="1310368" y="62924"/>
                    </a:lnTo>
                    <a:lnTo>
                      <a:pt x="1306923" y="107944"/>
                    </a:lnTo>
                    <a:lnTo>
                      <a:pt x="1299767" y="82406"/>
                    </a:lnTo>
                    <a:lnTo>
                      <a:pt x="1295659" y="108471"/>
                    </a:lnTo>
                    <a:lnTo>
                      <a:pt x="1292611" y="64108"/>
                    </a:lnTo>
                    <a:lnTo>
                      <a:pt x="1284394" y="95307"/>
                    </a:lnTo>
                    <a:lnTo>
                      <a:pt x="1275913" y="68189"/>
                    </a:lnTo>
                    <a:lnTo>
                      <a:pt x="1272733" y="90304"/>
                    </a:lnTo>
                    <a:lnTo>
                      <a:pt x="1183281" y="82538"/>
                    </a:lnTo>
                    <a:lnTo>
                      <a:pt x="1183281" y="99124"/>
                    </a:lnTo>
                    <a:lnTo>
                      <a:pt x="1173209" y="41730"/>
                    </a:lnTo>
                    <a:lnTo>
                      <a:pt x="1170956" y="81485"/>
                    </a:lnTo>
                    <a:lnTo>
                      <a:pt x="1167113" y="111498"/>
                    </a:lnTo>
                    <a:cubicBezTo>
                      <a:pt x="1167113" y="111498"/>
                      <a:pt x="1170824" y="82538"/>
                      <a:pt x="1161680" y="82538"/>
                    </a:cubicBezTo>
                    <a:cubicBezTo>
                      <a:pt x="968597" y="81880"/>
                      <a:pt x="697061" y="48443"/>
                      <a:pt x="697061" y="48443"/>
                    </a:cubicBezTo>
                    <a:lnTo>
                      <a:pt x="687784" y="0"/>
                    </a:lnTo>
                    <a:lnTo>
                      <a:pt x="683676" y="53840"/>
                    </a:lnTo>
                    <a:lnTo>
                      <a:pt x="679436" y="43836"/>
                    </a:lnTo>
                    <a:cubicBezTo>
                      <a:pt x="679436" y="43836"/>
                      <a:pt x="338194" y="198117"/>
                      <a:pt x="108137" y="868818"/>
                    </a:cubicBezTo>
                    <a:lnTo>
                      <a:pt x="0" y="868818"/>
                    </a:lnTo>
                  </a:path>
                </a:pathLst>
              </a:custGeom>
              <a:noFill/>
              <a:ln w="6622"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2" name="Freeform 421">
                <a:extLst>
                  <a:ext uri="{FF2B5EF4-FFF2-40B4-BE49-F238E27FC236}">
                    <a16:creationId xmlns:a16="http://schemas.microsoft.com/office/drawing/2014/main" id="{64D2D677-5457-D4C5-6B7C-AEDAD5B998CE}"/>
                  </a:ext>
                </a:extLst>
              </p:cNvPr>
              <p:cNvSpPr/>
              <p:nvPr/>
            </p:nvSpPr>
            <p:spPr>
              <a:xfrm>
                <a:off x="3153538" y="2777943"/>
                <a:ext cx="1371195" cy="844859"/>
              </a:xfrm>
              <a:custGeom>
                <a:avLst/>
                <a:gdLst>
                  <a:gd name="connsiteX0" fmla="*/ 1371196 w 1371195"/>
                  <a:gd name="connsiteY0" fmla="*/ 85960 h 844859"/>
                  <a:gd name="connsiteX1" fmla="*/ 1340318 w 1371195"/>
                  <a:gd name="connsiteY1" fmla="*/ 85960 h 844859"/>
                  <a:gd name="connsiteX2" fmla="*/ 1335150 w 1371195"/>
                  <a:gd name="connsiteY2" fmla="*/ 70427 h 844859"/>
                  <a:gd name="connsiteX3" fmla="*/ 1332632 w 1371195"/>
                  <a:gd name="connsiteY3" fmla="*/ 98334 h 844859"/>
                  <a:gd name="connsiteX4" fmla="*/ 1326801 w 1371195"/>
                  <a:gd name="connsiteY4" fmla="*/ 84381 h 844859"/>
                  <a:gd name="connsiteX5" fmla="*/ 1313549 w 1371195"/>
                  <a:gd name="connsiteY5" fmla="*/ 84381 h 844859"/>
                  <a:gd name="connsiteX6" fmla="*/ 1307585 w 1371195"/>
                  <a:gd name="connsiteY6" fmla="*/ 63187 h 844859"/>
                  <a:gd name="connsiteX7" fmla="*/ 1305200 w 1371195"/>
                  <a:gd name="connsiteY7" fmla="*/ 107681 h 844859"/>
                  <a:gd name="connsiteX8" fmla="*/ 1296851 w 1371195"/>
                  <a:gd name="connsiteY8" fmla="*/ 83328 h 844859"/>
                  <a:gd name="connsiteX9" fmla="*/ 1291683 w 1371195"/>
                  <a:gd name="connsiteY9" fmla="*/ 95307 h 844859"/>
                  <a:gd name="connsiteX10" fmla="*/ 1286382 w 1371195"/>
                  <a:gd name="connsiteY10" fmla="*/ 70953 h 844859"/>
                  <a:gd name="connsiteX11" fmla="*/ 1281479 w 1371195"/>
                  <a:gd name="connsiteY11" fmla="*/ 85434 h 844859"/>
                  <a:gd name="connsiteX12" fmla="*/ 1278298 w 1371195"/>
                  <a:gd name="connsiteY12" fmla="*/ 93069 h 844859"/>
                  <a:gd name="connsiteX13" fmla="*/ 1272997 w 1371195"/>
                  <a:gd name="connsiteY13" fmla="*/ 68321 h 844859"/>
                  <a:gd name="connsiteX14" fmla="*/ 1271142 w 1371195"/>
                  <a:gd name="connsiteY14" fmla="*/ 80695 h 844859"/>
                  <a:gd name="connsiteX15" fmla="*/ 1181558 w 1371195"/>
                  <a:gd name="connsiteY15" fmla="*/ 74508 h 844859"/>
                  <a:gd name="connsiteX16" fmla="*/ 1181558 w 1371195"/>
                  <a:gd name="connsiteY16" fmla="*/ 91094 h 844859"/>
                  <a:gd name="connsiteX17" fmla="*/ 1171486 w 1371195"/>
                  <a:gd name="connsiteY17" fmla="*/ 49496 h 844859"/>
                  <a:gd name="connsiteX18" fmla="*/ 1169233 w 1371195"/>
                  <a:gd name="connsiteY18" fmla="*/ 73455 h 844859"/>
                  <a:gd name="connsiteX19" fmla="*/ 1165390 w 1371195"/>
                  <a:gd name="connsiteY19" fmla="*/ 103468 h 844859"/>
                  <a:gd name="connsiteX20" fmla="*/ 1159957 w 1371195"/>
                  <a:gd name="connsiteY20" fmla="*/ 74508 h 844859"/>
                  <a:gd name="connsiteX21" fmla="*/ 695338 w 1371195"/>
                  <a:gd name="connsiteY21" fmla="*/ 43441 h 844859"/>
                  <a:gd name="connsiteX22" fmla="*/ 686062 w 1371195"/>
                  <a:gd name="connsiteY22" fmla="*/ 0 h 844859"/>
                  <a:gd name="connsiteX23" fmla="*/ 681953 w 1371195"/>
                  <a:gd name="connsiteY23" fmla="*/ 53840 h 844859"/>
                  <a:gd name="connsiteX24" fmla="*/ 676785 w 1371195"/>
                  <a:gd name="connsiteY24" fmla="*/ 32778 h 844859"/>
                  <a:gd name="connsiteX25" fmla="*/ 108137 w 1371195"/>
                  <a:gd name="connsiteY25" fmla="*/ 844860 h 844859"/>
                  <a:gd name="connsiteX26" fmla="*/ 0 w 1371195"/>
                  <a:gd name="connsiteY26" fmla="*/ 844860 h 84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1195" h="844859">
                    <a:moveTo>
                      <a:pt x="1371196" y="85960"/>
                    </a:moveTo>
                    <a:lnTo>
                      <a:pt x="1340318" y="85960"/>
                    </a:lnTo>
                    <a:lnTo>
                      <a:pt x="1335150" y="70427"/>
                    </a:lnTo>
                    <a:lnTo>
                      <a:pt x="1332632" y="98334"/>
                    </a:lnTo>
                    <a:lnTo>
                      <a:pt x="1326801" y="84381"/>
                    </a:lnTo>
                    <a:lnTo>
                      <a:pt x="1313549" y="84381"/>
                    </a:lnTo>
                    <a:lnTo>
                      <a:pt x="1307585" y="63187"/>
                    </a:lnTo>
                    <a:lnTo>
                      <a:pt x="1305200" y="107681"/>
                    </a:lnTo>
                    <a:lnTo>
                      <a:pt x="1296851" y="83328"/>
                    </a:lnTo>
                    <a:lnTo>
                      <a:pt x="1291683" y="95307"/>
                    </a:lnTo>
                    <a:lnTo>
                      <a:pt x="1286382" y="70953"/>
                    </a:lnTo>
                    <a:lnTo>
                      <a:pt x="1281479" y="85434"/>
                    </a:lnTo>
                    <a:lnTo>
                      <a:pt x="1278298" y="93069"/>
                    </a:lnTo>
                    <a:lnTo>
                      <a:pt x="1272997" y="68321"/>
                    </a:lnTo>
                    <a:lnTo>
                      <a:pt x="1271142" y="80695"/>
                    </a:lnTo>
                    <a:lnTo>
                      <a:pt x="1181558" y="74508"/>
                    </a:lnTo>
                    <a:lnTo>
                      <a:pt x="1181558" y="91094"/>
                    </a:lnTo>
                    <a:lnTo>
                      <a:pt x="1171486" y="49496"/>
                    </a:lnTo>
                    <a:lnTo>
                      <a:pt x="1169233" y="73455"/>
                    </a:lnTo>
                    <a:lnTo>
                      <a:pt x="1165390" y="103468"/>
                    </a:lnTo>
                    <a:lnTo>
                      <a:pt x="1159957" y="74508"/>
                    </a:lnTo>
                    <a:lnTo>
                      <a:pt x="695338" y="43441"/>
                    </a:lnTo>
                    <a:lnTo>
                      <a:pt x="686062" y="0"/>
                    </a:lnTo>
                    <a:lnTo>
                      <a:pt x="681953" y="53840"/>
                    </a:lnTo>
                    <a:lnTo>
                      <a:pt x="676785" y="32778"/>
                    </a:lnTo>
                    <a:cubicBezTo>
                      <a:pt x="676785" y="32778"/>
                      <a:pt x="347338" y="158757"/>
                      <a:pt x="108137" y="844860"/>
                    </a:cubicBezTo>
                    <a:lnTo>
                      <a:pt x="0" y="844860"/>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3" name="Freeform 422">
                <a:extLst>
                  <a:ext uri="{FF2B5EF4-FFF2-40B4-BE49-F238E27FC236}">
                    <a16:creationId xmlns:a16="http://schemas.microsoft.com/office/drawing/2014/main" id="{D85762C1-A7E4-5447-A08F-29B5419672F6}"/>
                  </a:ext>
                </a:extLst>
              </p:cNvPr>
              <p:cNvSpPr/>
              <p:nvPr/>
            </p:nvSpPr>
            <p:spPr>
              <a:xfrm>
                <a:off x="3151948" y="2780576"/>
                <a:ext cx="1372785" cy="842622"/>
              </a:xfrm>
              <a:custGeom>
                <a:avLst/>
                <a:gdLst>
                  <a:gd name="connsiteX0" fmla="*/ 1372786 w 1372785"/>
                  <a:gd name="connsiteY0" fmla="*/ 108734 h 842622"/>
                  <a:gd name="connsiteX1" fmla="*/ 1341909 w 1372785"/>
                  <a:gd name="connsiteY1" fmla="*/ 108734 h 842622"/>
                  <a:gd name="connsiteX2" fmla="*/ 1336740 w 1372785"/>
                  <a:gd name="connsiteY2" fmla="*/ 78457 h 842622"/>
                  <a:gd name="connsiteX3" fmla="*/ 1334355 w 1372785"/>
                  <a:gd name="connsiteY3" fmla="*/ 112946 h 842622"/>
                  <a:gd name="connsiteX4" fmla="*/ 1316729 w 1372785"/>
                  <a:gd name="connsiteY4" fmla="*/ 112420 h 842622"/>
                  <a:gd name="connsiteX5" fmla="*/ 1310368 w 1372785"/>
                  <a:gd name="connsiteY5" fmla="*/ 78720 h 842622"/>
                  <a:gd name="connsiteX6" fmla="*/ 1306923 w 1372785"/>
                  <a:gd name="connsiteY6" fmla="*/ 123741 h 842622"/>
                  <a:gd name="connsiteX7" fmla="*/ 1299767 w 1372785"/>
                  <a:gd name="connsiteY7" fmla="*/ 98203 h 842622"/>
                  <a:gd name="connsiteX8" fmla="*/ 1295659 w 1372785"/>
                  <a:gd name="connsiteY8" fmla="*/ 124267 h 842622"/>
                  <a:gd name="connsiteX9" fmla="*/ 1292611 w 1372785"/>
                  <a:gd name="connsiteY9" fmla="*/ 79905 h 842622"/>
                  <a:gd name="connsiteX10" fmla="*/ 1284394 w 1372785"/>
                  <a:gd name="connsiteY10" fmla="*/ 111103 h 842622"/>
                  <a:gd name="connsiteX11" fmla="*/ 1275913 w 1372785"/>
                  <a:gd name="connsiteY11" fmla="*/ 84117 h 842622"/>
                  <a:gd name="connsiteX12" fmla="*/ 1272733 w 1372785"/>
                  <a:gd name="connsiteY12" fmla="*/ 106233 h 842622"/>
                  <a:gd name="connsiteX13" fmla="*/ 1183281 w 1372785"/>
                  <a:gd name="connsiteY13" fmla="*/ 98466 h 842622"/>
                  <a:gd name="connsiteX14" fmla="*/ 1183281 w 1372785"/>
                  <a:gd name="connsiteY14" fmla="*/ 115053 h 842622"/>
                  <a:gd name="connsiteX15" fmla="*/ 1173209 w 1372785"/>
                  <a:gd name="connsiteY15" fmla="*/ 57658 h 842622"/>
                  <a:gd name="connsiteX16" fmla="*/ 1170956 w 1372785"/>
                  <a:gd name="connsiteY16" fmla="*/ 97413 h 842622"/>
                  <a:gd name="connsiteX17" fmla="*/ 1167113 w 1372785"/>
                  <a:gd name="connsiteY17" fmla="*/ 127427 h 842622"/>
                  <a:gd name="connsiteX18" fmla="*/ 1161680 w 1372785"/>
                  <a:gd name="connsiteY18" fmla="*/ 98466 h 842622"/>
                  <a:gd name="connsiteX19" fmla="*/ 697061 w 1372785"/>
                  <a:gd name="connsiteY19" fmla="*/ 64372 h 842622"/>
                  <a:gd name="connsiteX20" fmla="*/ 687784 w 1372785"/>
                  <a:gd name="connsiteY20" fmla="*/ 16060 h 842622"/>
                  <a:gd name="connsiteX21" fmla="*/ 683676 w 1372785"/>
                  <a:gd name="connsiteY21" fmla="*/ 69900 h 842622"/>
                  <a:gd name="connsiteX22" fmla="*/ 679436 w 1372785"/>
                  <a:gd name="connsiteY22" fmla="*/ 59896 h 842622"/>
                  <a:gd name="connsiteX23" fmla="*/ 108137 w 1372785"/>
                  <a:gd name="connsiteY23" fmla="*/ 842227 h 842622"/>
                  <a:gd name="connsiteX24" fmla="*/ 0 w 1372785"/>
                  <a:gd name="connsiteY24" fmla="*/ 842227 h 842622"/>
                  <a:gd name="connsiteX25" fmla="*/ 1372786 w 1372785"/>
                  <a:gd name="connsiteY25" fmla="*/ 92937 h 842622"/>
                  <a:gd name="connsiteX26" fmla="*/ 1341909 w 1372785"/>
                  <a:gd name="connsiteY26" fmla="*/ 92937 h 842622"/>
                  <a:gd name="connsiteX27" fmla="*/ 1336740 w 1372785"/>
                  <a:gd name="connsiteY27" fmla="*/ 62660 h 842622"/>
                  <a:gd name="connsiteX28" fmla="*/ 1334355 w 1372785"/>
                  <a:gd name="connsiteY28" fmla="*/ 97150 h 842622"/>
                  <a:gd name="connsiteX29" fmla="*/ 1316729 w 1372785"/>
                  <a:gd name="connsiteY29" fmla="*/ 96623 h 842622"/>
                  <a:gd name="connsiteX30" fmla="*/ 1310368 w 1372785"/>
                  <a:gd name="connsiteY30" fmla="*/ 62923 h 842622"/>
                  <a:gd name="connsiteX31" fmla="*/ 1306923 w 1372785"/>
                  <a:gd name="connsiteY31" fmla="*/ 107944 h 842622"/>
                  <a:gd name="connsiteX32" fmla="*/ 1299767 w 1372785"/>
                  <a:gd name="connsiteY32" fmla="*/ 82406 h 842622"/>
                  <a:gd name="connsiteX33" fmla="*/ 1295659 w 1372785"/>
                  <a:gd name="connsiteY33" fmla="*/ 108471 h 842622"/>
                  <a:gd name="connsiteX34" fmla="*/ 1292611 w 1372785"/>
                  <a:gd name="connsiteY34" fmla="*/ 64108 h 842622"/>
                  <a:gd name="connsiteX35" fmla="*/ 1284394 w 1372785"/>
                  <a:gd name="connsiteY35" fmla="*/ 95307 h 842622"/>
                  <a:gd name="connsiteX36" fmla="*/ 1275913 w 1372785"/>
                  <a:gd name="connsiteY36" fmla="*/ 68189 h 842622"/>
                  <a:gd name="connsiteX37" fmla="*/ 1272733 w 1372785"/>
                  <a:gd name="connsiteY37" fmla="*/ 90304 h 842622"/>
                  <a:gd name="connsiteX38" fmla="*/ 1183281 w 1372785"/>
                  <a:gd name="connsiteY38" fmla="*/ 82538 h 842622"/>
                  <a:gd name="connsiteX39" fmla="*/ 1183281 w 1372785"/>
                  <a:gd name="connsiteY39" fmla="*/ 99124 h 842622"/>
                  <a:gd name="connsiteX40" fmla="*/ 1173209 w 1372785"/>
                  <a:gd name="connsiteY40" fmla="*/ 41730 h 842622"/>
                  <a:gd name="connsiteX41" fmla="*/ 1170956 w 1372785"/>
                  <a:gd name="connsiteY41" fmla="*/ 81485 h 842622"/>
                  <a:gd name="connsiteX42" fmla="*/ 1167113 w 1372785"/>
                  <a:gd name="connsiteY42" fmla="*/ 111498 h 842622"/>
                  <a:gd name="connsiteX43" fmla="*/ 1161680 w 1372785"/>
                  <a:gd name="connsiteY43" fmla="*/ 82538 h 842622"/>
                  <a:gd name="connsiteX44" fmla="*/ 697061 w 1372785"/>
                  <a:gd name="connsiteY44" fmla="*/ 48443 h 842622"/>
                  <a:gd name="connsiteX45" fmla="*/ 687784 w 1372785"/>
                  <a:gd name="connsiteY45" fmla="*/ 0 h 842622"/>
                  <a:gd name="connsiteX46" fmla="*/ 683676 w 1372785"/>
                  <a:gd name="connsiteY46" fmla="*/ 53840 h 842622"/>
                  <a:gd name="connsiteX47" fmla="*/ 679436 w 1372785"/>
                  <a:gd name="connsiteY47" fmla="*/ 43836 h 842622"/>
                  <a:gd name="connsiteX48" fmla="*/ 108137 w 1372785"/>
                  <a:gd name="connsiteY48" fmla="*/ 842622 h 842622"/>
                  <a:gd name="connsiteX49" fmla="*/ 0 w 1372785"/>
                  <a:gd name="connsiteY49" fmla="*/ 842622 h 84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372785" h="842622">
                    <a:moveTo>
                      <a:pt x="1372786" y="108734"/>
                    </a:moveTo>
                    <a:lnTo>
                      <a:pt x="1341909" y="108734"/>
                    </a:lnTo>
                    <a:lnTo>
                      <a:pt x="1336740" y="78457"/>
                    </a:lnTo>
                    <a:lnTo>
                      <a:pt x="1334355" y="112946"/>
                    </a:lnTo>
                    <a:lnTo>
                      <a:pt x="1316729" y="112420"/>
                    </a:lnTo>
                    <a:lnTo>
                      <a:pt x="1310368" y="78720"/>
                    </a:lnTo>
                    <a:lnTo>
                      <a:pt x="1306923" y="123741"/>
                    </a:lnTo>
                    <a:lnTo>
                      <a:pt x="1299767" y="98203"/>
                    </a:lnTo>
                    <a:lnTo>
                      <a:pt x="1295659" y="124267"/>
                    </a:lnTo>
                    <a:lnTo>
                      <a:pt x="1292611" y="79905"/>
                    </a:lnTo>
                    <a:lnTo>
                      <a:pt x="1284394" y="111103"/>
                    </a:lnTo>
                    <a:lnTo>
                      <a:pt x="1275913" y="84117"/>
                    </a:lnTo>
                    <a:lnTo>
                      <a:pt x="1272733" y="106233"/>
                    </a:lnTo>
                    <a:lnTo>
                      <a:pt x="1183281" y="98466"/>
                    </a:lnTo>
                    <a:lnTo>
                      <a:pt x="1183281" y="115053"/>
                    </a:lnTo>
                    <a:lnTo>
                      <a:pt x="1173209" y="57658"/>
                    </a:lnTo>
                    <a:lnTo>
                      <a:pt x="1170956" y="97413"/>
                    </a:lnTo>
                    <a:lnTo>
                      <a:pt x="1167113" y="127427"/>
                    </a:lnTo>
                    <a:cubicBezTo>
                      <a:pt x="1167113" y="127427"/>
                      <a:pt x="1170824" y="98466"/>
                      <a:pt x="1161680" y="98466"/>
                    </a:cubicBezTo>
                    <a:cubicBezTo>
                      <a:pt x="968597" y="97808"/>
                      <a:pt x="697061" y="64372"/>
                      <a:pt x="697061" y="64372"/>
                    </a:cubicBezTo>
                    <a:lnTo>
                      <a:pt x="687784" y="16060"/>
                    </a:lnTo>
                    <a:lnTo>
                      <a:pt x="683676" y="69900"/>
                    </a:lnTo>
                    <a:lnTo>
                      <a:pt x="679436" y="59896"/>
                    </a:lnTo>
                    <a:cubicBezTo>
                      <a:pt x="679436" y="59896"/>
                      <a:pt x="334616" y="224181"/>
                      <a:pt x="108137" y="842227"/>
                    </a:cubicBezTo>
                    <a:lnTo>
                      <a:pt x="0" y="842227"/>
                    </a:lnTo>
                    <a:moveTo>
                      <a:pt x="1372786" y="92937"/>
                    </a:moveTo>
                    <a:lnTo>
                      <a:pt x="1341909" y="92937"/>
                    </a:lnTo>
                    <a:lnTo>
                      <a:pt x="1336740" y="62660"/>
                    </a:lnTo>
                    <a:lnTo>
                      <a:pt x="1334355" y="97150"/>
                    </a:lnTo>
                    <a:lnTo>
                      <a:pt x="1316729" y="96623"/>
                    </a:lnTo>
                    <a:lnTo>
                      <a:pt x="1310368" y="62923"/>
                    </a:lnTo>
                    <a:lnTo>
                      <a:pt x="1306923" y="107944"/>
                    </a:lnTo>
                    <a:lnTo>
                      <a:pt x="1299767" y="82406"/>
                    </a:lnTo>
                    <a:lnTo>
                      <a:pt x="1295659" y="108471"/>
                    </a:lnTo>
                    <a:lnTo>
                      <a:pt x="1292611" y="64108"/>
                    </a:lnTo>
                    <a:lnTo>
                      <a:pt x="1284394" y="95307"/>
                    </a:lnTo>
                    <a:lnTo>
                      <a:pt x="1275913" y="68189"/>
                    </a:lnTo>
                    <a:lnTo>
                      <a:pt x="1272733" y="90304"/>
                    </a:lnTo>
                    <a:lnTo>
                      <a:pt x="1183281" y="82538"/>
                    </a:lnTo>
                    <a:lnTo>
                      <a:pt x="1183281" y="99124"/>
                    </a:lnTo>
                    <a:lnTo>
                      <a:pt x="1173209" y="41730"/>
                    </a:lnTo>
                    <a:lnTo>
                      <a:pt x="1170956" y="81485"/>
                    </a:lnTo>
                    <a:lnTo>
                      <a:pt x="1167113" y="111498"/>
                    </a:lnTo>
                    <a:cubicBezTo>
                      <a:pt x="1167113" y="111498"/>
                      <a:pt x="1170824" y="82538"/>
                      <a:pt x="1161680" y="82538"/>
                    </a:cubicBezTo>
                    <a:cubicBezTo>
                      <a:pt x="968597" y="81880"/>
                      <a:pt x="697061" y="48443"/>
                      <a:pt x="697061" y="48443"/>
                    </a:cubicBezTo>
                    <a:lnTo>
                      <a:pt x="687784" y="0"/>
                    </a:lnTo>
                    <a:lnTo>
                      <a:pt x="683676" y="53840"/>
                    </a:lnTo>
                    <a:lnTo>
                      <a:pt x="679436" y="43836"/>
                    </a:lnTo>
                    <a:cubicBezTo>
                      <a:pt x="679436" y="43836"/>
                      <a:pt x="333688" y="205884"/>
                      <a:pt x="108137" y="842622"/>
                    </a:cubicBezTo>
                    <a:lnTo>
                      <a:pt x="0" y="842622"/>
                    </a:lnTo>
                  </a:path>
                </a:pathLst>
              </a:custGeom>
              <a:noFill/>
              <a:ln w="6622"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4" name="Freeform 423">
                <a:extLst>
                  <a:ext uri="{FF2B5EF4-FFF2-40B4-BE49-F238E27FC236}">
                    <a16:creationId xmlns:a16="http://schemas.microsoft.com/office/drawing/2014/main" id="{C7E1FAF7-CA00-CAE3-E9EE-07B1C3650729}"/>
                  </a:ext>
                </a:extLst>
              </p:cNvPr>
              <p:cNvSpPr/>
              <p:nvPr/>
            </p:nvSpPr>
            <p:spPr>
              <a:xfrm>
                <a:off x="3153538" y="2825202"/>
                <a:ext cx="1371195" cy="798128"/>
              </a:xfrm>
              <a:custGeom>
                <a:avLst/>
                <a:gdLst>
                  <a:gd name="connsiteX0" fmla="*/ 1371196 w 1371195"/>
                  <a:gd name="connsiteY0" fmla="*/ 85960 h 798128"/>
                  <a:gd name="connsiteX1" fmla="*/ 1340318 w 1371195"/>
                  <a:gd name="connsiteY1" fmla="*/ 85960 h 798128"/>
                  <a:gd name="connsiteX2" fmla="*/ 1335150 w 1371195"/>
                  <a:gd name="connsiteY2" fmla="*/ 70427 h 798128"/>
                  <a:gd name="connsiteX3" fmla="*/ 1332632 w 1371195"/>
                  <a:gd name="connsiteY3" fmla="*/ 98334 h 798128"/>
                  <a:gd name="connsiteX4" fmla="*/ 1326801 w 1371195"/>
                  <a:gd name="connsiteY4" fmla="*/ 84381 h 798128"/>
                  <a:gd name="connsiteX5" fmla="*/ 1313549 w 1371195"/>
                  <a:gd name="connsiteY5" fmla="*/ 84381 h 798128"/>
                  <a:gd name="connsiteX6" fmla="*/ 1307585 w 1371195"/>
                  <a:gd name="connsiteY6" fmla="*/ 63187 h 798128"/>
                  <a:gd name="connsiteX7" fmla="*/ 1305200 w 1371195"/>
                  <a:gd name="connsiteY7" fmla="*/ 107681 h 798128"/>
                  <a:gd name="connsiteX8" fmla="*/ 1296851 w 1371195"/>
                  <a:gd name="connsiteY8" fmla="*/ 83328 h 798128"/>
                  <a:gd name="connsiteX9" fmla="*/ 1291683 w 1371195"/>
                  <a:gd name="connsiteY9" fmla="*/ 95307 h 798128"/>
                  <a:gd name="connsiteX10" fmla="*/ 1286382 w 1371195"/>
                  <a:gd name="connsiteY10" fmla="*/ 70953 h 798128"/>
                  <a:gd name="connsiteX11" fmla="*/ 1281479 w 1371195"/>
                  <a:gd name="connsiteY11" fmla="*/ 85434 h 798128"/>
                  <a:gd name="connsiteX12" fmla="*/ 1278298 w 1371195"/>
                  <a:gd name="connsiteY12" fmla="*/ 93069 h 798128"/>
                  <a:gd name="connsiteX13" fmla="*/ 1272997 w 1371195"/>
                  <a:gd name="connsiteY13" fmla="*/ 68321 h 798128"/>
                  <a:gd name="connsiteX14" fmla="*/ 1271142 w 1371195"/>
                  <a:gd name="connsiteY14" fmla="*/ 80695 h 798128"/>
                  <a:gd name="connsiteX15" fmla="*/ 1181558 w 1371195"/>
                  <a:gd name="connsiteY15" fmla="*/ 74508 h 798128"/>
                  <a:gd name="connsiteX16" fmla="*/ 1181558 w 1371195"/>
                  <a:gd name="connsiteY16" fmla="*/ 91094 h 798128"/>
                  <a:gd name="connsiteX17" fmla="*/ 1171486 w 1371195"/>
                  <a:gd name="connsiteY17" fmla="*/ 49496 h 798128"/>
                  <a:gd name="connsiteX18" fmla="*/ 1169233 w 1371195"/>
                  <a:gd name="connsiteY18" fmla="*/ 73455 h 798128"/>
                  <a:gd name="connsiteX19" fmla="*/ 1165390 w 1371195"/>
                  <a:gd name="connsiteY19" fmla="*/ 103468 h 798128"/>
                  <a:gd name="connsiteX20" fmla="*/ 1159957 w 1371195"/>
                  <a:gd name="connsiteY20" fmla="*/ 74508 h 798128"/>
                  <a:gd name="connsiteX21" fmla="*/ 695338 w 1371195"/>
                  <a:gd name="connsiteY21" fmla="*/ 43441 h 798128"/>
                  <a:gd name="connsiteX22" fmla="*/ 686062 w 1371195"/>
                  <a:gd name="connsiteY22" fmla="*/ 0 h 798128"/>
                  <a:gd name="connsiteX23" fmla="*/ 681953 w 1371195"/>
                  <a:gd name="connsiteY23" fmla="*/ 53840 h 798128"/>
                  <a:gd name="connsiteX24" fmla="*/ 676785 w 1371195"/>
                  <a:gd name="connsiteY24" fmla="*/ 32778 h 798128"/>
                  <a:gd name="connsiteX25" fmla="*/ 108137 w 1371195"/>
                  <a:gd name="connsiteY25" fmla="*/ 798128 h 798128"/>
                  <a:gd name="connsiteX26" fmla="*/ 0 w 1371195"/>
                  <a:gd name="connsiteY26" fmla="*/ 798128 h 79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1195" h="798128">
                    <a:moveTo>
                      <a:pt x="1371196" y="85960"/>
                    </a:moveTo>
                    <a:lnTo>
                      <a:pt x="1340318" y="85960"/>
                    </a:lnTo>
                    <a:lnTo>
                      <a:pt x="1335150" y="70427"/>
                    </a:lnTo>
                    <a:lnTo>
                      <a:pt x="1332632" y="98334"/>
                    </a:lnTo>
                    <a:lnTo>
                      <a:pt x="1326801" y="84381"/>
                    </a:lnTo>
                    <a:lnTo>
                      <a:pt x="1313549" y="84381"/>
                    </a:lnTo>
                    <a:lnTo>
                      <a:pt x="1307585" y="63187"/>
                    </a:lnTo>
                    <a:lnTo>
                      <a:pt x="1305200" y="107681"/>
                    </a:lnTo>
                    <a:lnTo>
                      <a:pt x="1296851" y="83328"/>
                    </a:lnTo>
                    <a:lnTo>
                      <a:pt x="1291683" y="95307"/>
                    </a:lnTo>
                    <a:lnTo>
                      <a:pt x="1286382" y="70953"/>
                    </a:lnTo>
                    <a:lnTo>
                      <a:pt x="1281479" y="85434"/>
                    </a:lnTo>
                    <a:lnTo>
                      <a:pt x="1278298" y="93069"/>
                    </a:lnTo>
                    <a:lnTo>
                      <a:pt x="1272997" y="68321"/>
                    </a:lnTo>
                    <a:lnTo>
                      <a:pt x="1271142" y="80695"/>
                    </a:lnTo>
                    <a:lnTo>
                      <a:pt x="1181558" y="74508"/>
                    </a:lnTo>
                    <a:lnTo>
                      <a:pt x="1181558" y="91094"/>
                    </a:lnTo>
                    <a:lnTo>
                      <a:pt x="1171486" y="49496"/>
                    </a:lnTo>
                    <a:lnTo>
                      <a:pt x="1169233" y="73455"/>
                    </a:lnTo>
                    <a:lnTo>
                      <a:pt x="1165390" y="103468"/>
                    </a:lnTo>
                    <a:lnTo>
                      <a:pt x="1159957" y="74508"/>
                    </a:lnTo>
                    <a:lnTo>
                      <a:pt x="695338" y="43441"/>
                    </a:lnTo>
                    <a:lnTo>
                      <a:pt x="686062" y="0"/>
                    </a:lnTo>
                    <a:lnTo>
                      <a:pt x="681953" y="53840"/>
                    </a:lnTo>
                    <a:lnTo>
                      <a:pt x="676785" y="32778"/>
                    </a:lnTo>
                    <a:cubicBezTo>
                      <a:pt x="676785" y="32778"/>
                      <a:pt x="336869" y="234976"/>
                      <a:pt x="108137" y="798128"/>
                    </a:cubicBezTo>
                    <a:lnTo>
                      <a:pt x="0" y="798128"/>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5" name="Freeform 424">
                <a:extLst>
                  <a:ext uri="{FF2B5EF4-FFF2-40B4-BE49-F238E27FC236}">
                    <a16:creationId xmlns:a16="http://schemas.microsoft.com/office/drawing/2014/main" id="{E1117055-DE20-7A60-D729-B0CDBB871B83}"/>
                  </a:ext>
                </a:extLst>
              </p:cNvPr>
              <p:cNvSpPr/>
              <p:nvPr/>
            </p:nvSpPr>
            <p:spPr>
              <a:xfrm>
                <a:off x="3153538" y="2820858"/>
                <a:ext cx="1371195" cy="801945"/>
              </a:xfrm>
              <a:custGeom>
                <a:avLst/>
                <a:gdLst>
                  <a:gd name="connsiteX0" fmla="*/ 1371196 w 1371195"/>
                  <a:gd name="connsiteY0" fmla="*/ 92806 h 801945"/>
                  <a:gd name="connsiteX1" fmla="*/ 1340318 w 1371195"/>
                  <a:gd name="connsiteY1" fmla="*/ 92806 h 801945"/>
                  <a:gd name="connsiteX2" fmla="*/ 1335150 w 1371195"/>
                  <a:gd name="connsiteY2" fmla="*/ 70427 h 801945"/>
                  <a:gd name="connsiteX3" fmla="*/ 1332764 w 1371195"/>
                  <a:gd name="connsiteY3" fmla="*/ 97018 h 801945"/>
                  <a:gd name="connsiteX4" fmla="*/ 1315139 w 1371195"/>
                  <a:gd name="connsiteY4" fmla="*/ 96492 h 801945"/>
                  <a:gd name="connsiteX5" fmla="*/ 1308778 w 1371195"/>
                  <a:gd name="connsiteY5" fmla="*/ 62792 h 801945"/>
                  <a:gd name="connsiteX6" fmla="*/ 1305333 w 1371195"/>
                  <a:gd name="connsiteY6" fmla="*/ 107812 h 801945"/>
                  <a:gd name="connsiteX7" fmla="*/ 1298176 w 1371195"/>
                  <a:gd name="connsiteY7" fmla="*/ 82274 h 801945"/>
                  <a:gd name="connsiteX8" fmla="*/ 1294068 w 1371195"/>
                  <a:gd name="connsiteY8" fmla="*/ 108339 h 801945"/>
                  <a:gd name="connsiteX9" fmla="*/ 1291020 w 1371195"/>
                  <a:gd name="connsiteY9" fmla="*/ 63977 h 801945"/>
                  <a:gd name="connsiteX10" fmla="*/ 1282804 w 1371195"/>
                  <a:gd name="connsiteY10" fmla="*/ 95175 h 801945"/>
                  <a:gd name="connsiteX11" fmla="*/ 1274323 w 1371195"/>
                  <a:gd name="connsiteY11" fmla="*/ 68057 h 801945"/>
                  <a:gd name="connsiteX12" fmla="*/ 1271142 w 1371195"/>
                  <a:gd name="connsiteY12" fmla="*/ 90173 h 801945"/>
                  <a:gd name="connsiteX13" fmla="*/ 1181690 w 1371195"/>
                  <a:gd name="connsiteY13" fmla="*/ 82406 h 801945"/>
                  <a:gd name="connsiteX14" fmla="*/ 1181690 w 1371195"/>
                  <a:gd name="connsiteY14" fmla="*/ 98993 h 801945"/>
                  <a:gd name="connsiteX15" fmla="*/ 1171619 w 1371195"/>
                  <a:gd name="connsiteY15" fmla="*/ 57395 h 801945"/>
                  <a:gd name="connsiteX16" fmla="*/ 1169366 w 1371195"/>
                  <a:gd name="connsiteY16" fmla="*/ 81353 h 801945"/>
                  <a:gd name="connsiteX17" fmla="*/ 1165523 w 1371195"/>
                  <a:gd name="connsiteY17" fmla="*/ 111367 h 801945"/>
                  <a:gd name="connsiteX18" fmla="*/ 1160089 w 1371195"/>
                  <a:gd name="connsiteY18" fmla="*/ 82406 h 801945"/>
                  <a:gd name="connsiteX19" fmla="*/ 695471 w 1371195"/>
                  <a:gd name="connsiteY19" fmla="*/ 43441 h 801945"/>
                  <a:gd name="connsiteX20" fmla="*/ 686194 w 1371195"/>
                  <a:gd name="connsiteY20" fmla="*/ 0 h 801945"/>
                  <a:gd name="connsiteX21" fmla="*/ 682086 w 1371195"/>
                  <a:gd name="connsiteY21" fmla="*/ 53840 h 801945"/>
                  <a:gd name="connsiteX22" fmla="*/ 677845 w 1371195"/>
                  <a:gd name="connsiteY22" fmla="*/ 32515 h 801945"/>
                  <a:gd name="connsiteX23" fmla="*/ 108137 w 1371195"/>
                  <a:gd name="connsiteY23" fmla="*/ 801946 h 801945"/>
                  <a:gd name="connsiteX24" fmla="*/ 0 w 1371195"/>
                  <a:gd name="connsiteY24" fmla="*/ 801946 h 80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71195" h="801945">
                    <a:moveTo>
                      <a:pt x="1371196" y="92806"/>
                    </a:moveTo>
                    <a:lnTo>
                      <a:pt x="1340318" y="92806"/>
                    </a:lnTo>
                    <a:lnTo>
                      <a:pt x="1335150" y="70427"/>
                    </a:lnTo>
                    <a:lnTo>
                      <a:pt x="1332764" y="97018"/>
                    </a:lnTo>
                    <a:lnTo>
                      <a:pt x="1315139" y="96492"/>
                    </a:lnTo>
                    <a:lnTo>
                      <a:pt x="1308778" y="62792"/>
                    </a:lnTo>
                    <a:lnTo>
                      <a:pt x="1305333" y="107812"/>
                    </a:lnTo>
                    <a:lnTo>
                      <a:pt x="1298176" y="82274"/>
                    </a:lnTo>
                    <a:lnTo>
                      <a:pt x="1294068" y="108339"/>
                    </a:lnTo>
                    <a:lnTo>
                      <a:pt x="1291020" y="63977"/>
                    </a:lnTo>
                    <a:lnTo>
                      <a:pt x="1282804" y="95175"/>
                    </a:lnTo>
                    <a:lnTo>
                      <a:pt x="1274323" y="68057"/>
                    </a:lnTo>
                    <a:lnTo>
                      <a:pt x="1271142" y="90173"/>
                    </a:lnTo>
                    <a:lnTo>
                      <a:pt x="1181690" y="82406"/>
                    </a:lnTo>
                    <a:lnTo>
                      <a:pt x="1181690" y="98993"/>
                    </a:lnTo>
                    <a:lnTo>
                      <a:pt x="1171619" y="57395"/>
                    </a:lnTo>
                    <a:lnTo>
                      <a:pt x="1169366" y="81353"/>
                    </a:lnTo>
                    <a:lnTo>
                      <a:pt x="1165523" y="111367"/>
                    </a:lnTo>
                    <a:cubicBezTo>
                      <a:pt x="1165523" y="111367"/>
                      <a:pt x="1169233" y="82143"/>
                      <a:pt x="1160089" y="82406"/>
                    </a:cubicBezTo>
                    <a:cubicBezTo>
                      <a:pt x="1061759" y="85565"/>
                      <a:pt x="695471" y="43441"/>
                      <a:pt x="695471" y="43441"/>
                    </a:cubicBezTo>
                    <a:lnTo>
                      <a:pt x="686194" y="0"/>
                    </a:lnTo>
                    <a:lnTo>
                      <a:pt x="682086" y="53840"/>
                    </a:lnTo>
                    <a:lnTo>
                      <a:pt x="677845" y="32515"/>
                    </a:lnTo>
                    <a:cubicBezTo>
                      <a:pt x="677845" y="32515"/>
                      <a:pt x="331170" y="202724"/>
                      <a:pt x="108137" y="801946"/>
                    </a:cubicBezTo>
                    <a:lnTo>
                      <a:pt x="0" y="801946"/>
                    </a:lnTo>
                  </a:path>
                </a:pathLst>
              </a:custGeom>
              <a:noFill/>
              <a:ln w="6622"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26" name="Freeform 425">
                <a:extLst>
                  <a:ext uri="{FF2B5EF4-FFF2-40B4-BE49-F238E27FC236}">
                    <a16:creationId xmlns:a16="http://schemas.microsoft.com/office/drawing/2014/main" id="{4A48DE69-DE32-4D82-FD25-5BC666C5D8C7}"/>
                  </a:ext>
                </a:extLst>
              </p:cNvPr>
              <p:cNvSpPr/>
              <p:nvPr/>
            </p:nvSpPr>
            <p:spPr>
              <a:xfrm>
                <a:off x="3153538" y="2847975"/>
                <a:ext cx="1371195" cy="775486"/>
              </a:xfrm>
              <a:custGeom>
                <a:avLst/>
                <a:gdLst>
                  <a:gd name="connsiteX0" fmla="*/ 1371196 w 1371195"/>
                  <a:gd name="connsiteY0" fmla="*/ 85960 h 775486"/>
                  <a:gd name="connsiteX1" fmla="*/ 1340318 w 1371195"/>
                  <a:gd name="connsiteY1" fmla="*/ 85960 h 775486"/>
                  <a:gd name="connsiteX2" fmla="*/ 1335150 w 1371195"/>
                  <a:gd name="connsiteY2" fmla="*/ 70427 h 775486"/>
                  <a:gd name="connsiteX3" fmla="*/ 1332632 w 1371195"/>
                  <a:gd name="connsiteY3" fmla="*/ 98334 h 775486"/>
                  <a:gd name="connsiteX4" fmla="*/ 1326801 w 1371195"/>
                  <a:gd name="connsiteY4" fmla="*/ 84381 h 775486"/>
                  <a:gd name="connsiteX5" fmla="*/ 1313549 w 1371195"/>
                  <a:gd name="connsiteY5" fmla="*/ 84381 h 775486"/>
                  <a:gd name="connsiteX6" fmla="*/ 1307585 w 1371195"/>
                  <a:gd name="connsiteY6" fmla="*/ 63187 h 775486"/>
                  <a:gd name="connsiteX7" fmla="*/ 1305200 w 1371195"/>
                  <a:gd name="connsiteY7" fmla="*/ 107681 h 775486"/>
                  <a:gd name="connsiteX8" fmla="*/ 1296851 w 1371195"/>
                  <a:gd name="connsiteY8" fmla="*/ 83328 h 775486"/>
                  <a:gd name="connsiteX9" fmla="*/ 1291683 w 1371195"/>
                  <a:gd name="connsiteY9" fmla="*/ 95307 h 775486"/>
                  <a:gd name="connsiteX10" fmla="*/ 1286382 w 1371195"/>
                  <a:gd name="connsiteY10" fmla="*/ 70953 h 775486"/>
                  <a:gd name="connsiteX11" fmla="*/ 1281479 w 1371195"/>
                  <a:gd name="connsiteY11" fmla="*/ 85434 h 775486"/>
                  <a:gd name="connsiteX12" fmla="*/ 1278298 w 1371195"/>
                  <a:gd name="connsiteY12" fmla="*/ 93069 h 775486"/>
                  <a:gd name="connsiteX13" fmla="*/ 1272997 w 1371195"/>
                  <a:gd name="connsiteY13" fmla="*/ 68321 h 775486"/>
                  <a:gd name="connsiteX14" fmla="*/ 1271142 w 1371195"/>
                  <a:gd name="connsiteY14" fmla="*/ 80695 h 775486"/>
                  <a:gd name="connsiteX15" fmla="*/ 1181558 w 1371195"/>
                  <a:gd name="connsiteY15" fmla="*/ 74508 h 775486"/>
                  <a:gd name="connsiteX16" fmla="*/ 1181558 w 1371195"/>
                  <a:gd name="connsiteY16" fmla="*/ 91094 h 775486"/>
                  <a:gd name="connsiteX17" fmla="*/ 1171486 w 1371195"/>
                  <a:gd name="connsiteY17" fmla="*/ 49496 h 775486"/>
                  <a:gd name="connsiteX18" fmla="*/ 1169233 w 1371195"/>
                  <a:gd name="connsiteY18" fmla="*/ 73455 h 775486"/>
                  <a:gd name="connsiteX19" fmla="*/ 1165390 w 1371195"/>
                  <a:gd name="connsiteY19" fmla="*/ 103468 h 775486"/>
                  <a:gd name="connsiteX20" fmla="*/ 1159957 w 1371195"/>
                  <a:gd name="connsiteY20" fmla="*/ 74508 h 775486"/>
                  <a:gd name="connsiteX21" fmla="*/ 695338 w 1371195"/>
                  <a:gd name="connsiteY21" fmla="*/ 43441 h 775486"/>
                  <a:gd name="connsiteX22" fmla="*/ 686062 w 1371195"/>
                  <a:gd name="connsiteY22" fmla="*/ 0 h 775486"/>
                  <a:gd name="connsiteX23" fmla="*/ 681953 w 1371195"/>
                  <a:gd name="connsiteY23" fmla="*/ 53840 h 775486"/>
                  <a:gd name="connsiteX24" fmla="*/ 676785 w 1371195"/>
                  <a:gd name="connsiteY24" fmla="*/ 32778 h 775486"/>
                  <a:gd name="connsiteX25" fmla="*/ 108137 w 1371195"/>
                  <a:gd name="connsiteY25" fmla="*/ 775486 h 775486"/>
                  <a:gd name="connsiteX26" fmla="*/ 0 w 1371195"/>
                  <a:gd name="connsiteY26" fmla="*/ 775486 h 77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71195" h="775486">
                    <a:moveTo>
                      <a:pt x="1371196" y="85960"/>
                    </a:moveTo>
                    <a:lnTo>
                      <a:pt x="1340318" y="85960"/>
                    </a:lnTo>
                    <a:lnTo>
                      <a:pt x="1335150" y="70427"/>
                    </a:lnTo>
                    <a:lnTo>
                      <a:pt x="1332632" y="98334"/>
                    </a:lnTo>
                    <a:lnTo>
                      <a:pt x="1326801" y="84381"/>
                    </a:lnTo>
                    <a:lnTo>
                      <a:pt x="1313549" y="84381"/>
                    </a:lnTo>
                    <a:lnTo>
                      <a:pt x="1307585" y="63187"/>
                    </a:lnTo>
                    <a:lnTo>
                      <a:pt x="1305200" y="107681"/>
                    </a:lnTo>
                    <a:lnTo>
                      <a:pt x="1296851" y="83328"/>
                    </a:lnTo>
                    <a:lnTo>
                      <a:pt x="1291683" y="95307"/>
                    </a:lnTo>
                    <a:lnTo>
                      <a:pt x="1286382" y="70953"/>
                    </a:lnTo>
                    <a:lnTo>
                      <a:pt x="1281479" y="85434"/>
                    </a:lnTo>
                    <a:lnTo>
                      <a:pt x="1278298" y="93069"/>
                    </a:lnTo>
                    <a:lnTo>
                      <a:pt x="1272997" y="68321"/>
                    </a:lnTo>
                    <a:lnTo>
                      <a:pt x="1271142" y="80695"/>
                    </a:lnTo>
                    <a:lnTo>
                      <a:pt x="1181558" y="74508"/>
                    </a:lnTo>
                    <a:lnTo>
                      <a:pt x="1181558" y="91094"/>
                    </a:lnTo>
                    <a:lnTo>
                      <a:pt x="1171486" y="49496"/>
                    </a:lnTo>
                    <a:lnTo>
                      <a:pt x="1169233" y="73455"/>
                    </a:lnTo>
                    <a:lnTo>
                      <a:pt x="1165390" y="103468"/>
                    </a:lnTo>
                    <a:lnTo>
                      <a:pt x="1159957" y="74508"/>
                    </a:lnTo>
                    <a:lnTo>
                      <a:pt x="695338" y="43441"/>
                    </a:lnTo>
                    <a:lnTo>
                      <a:pt x="686062" y="0"/>
                    </a:lnTo>
                    <a:lnTo>
                      <a:pt x="681953" y="53840"/>
                    </a:lnTo>
                    <a:lnTo>
                      <a:pt x="676785" y="32778"/>
                    </a:lnTo>
                    <a:cubicBezTo>
                      <a:pt x="676785" y="32778"/>
                      <a:pt x="336869" y="212202"/>
                      <a:pt x="108137" y="775486"/>
                    </a:cubicBezTo>
                    <a:lnTo>
                      <a:pt x="0" y="775486"/>
                    </a:lnTo>
                  </a:path>
                </a:pathLst>
              </a:custGeom>
              <a:noFill/>
              <a:ln w="6622"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446" name="object 200">
                <a:extLst>
                  <a:ext uri="{FF2B5EF4-FFF2-40B4-BE49-F238E27FC236}">
                    <a16:creationId xmlns:a16="http://schemas.microsoft.com/office/drawing/2014/main" id="{614D7323-102D-9E66-5548-F236DBD6E4A9}"/>
                  </a:ext>
                </a:extLst>
              </p:cNvPr>
              <p:cNvSpPr txBox="1"/>
              <p:nvPr/>
            </p:nvSpPr>
            <p:spPr>
              <a:xfrm>
                <a:off x="3061140" y="2349387"/>
                <a:ext cx="1349729" cy="120546"/>
              </a:xfrm>
              <a:prstGeom prst="rect">
                <a:avLst/>
              </a:prstGeom>
            </p:spPr>
            <p:txBody>
              <a:bodyPr vert="horz" wrap="none" lIns="0" tIns="12700" rIns="0" bIns="0" rtlCol="0">
                <a:spAutoFit/>
              </a:bodyPr>
              <a:lstStyle/>
              <a:p>
                <a:pPr algn="ctr">
                  <a:lnSpc>
                    <a:spcPct val="100000"/>
                  </a:lnSpc>
                  <a:spcBef>
                    <a:spcPts val="100"/>
                  </a:spcBef>
                </a:pPr>
                <a:r>
                  <a:rPr sz="700" b="1" dirty="0">
                    <a:solidFill>
                      <a:schemeClr val="accent1"/>
                    </a:solidFill>
                    <a:latin typeface="Arial"/>
                    <a:cs typeface="Arial"/>
                  </a:rPr>
                  <a:t>Function</a:t>
                </a:r>
                <a:r>
                  <a:rPr lang="de-DE" sz="700" b="1" dirty="0">
                    <a:solidFill>
                      <a:schemeClr val="accent1"/>
                    </a:solidFill>
                    <a:latin typeface="Arial"/>
                    <a:cs typeface="Arial"/>
                  </a:rPr>
                  <a:t> – </a:t>
                </a:r>
                <a:r>
                  <a:rPr lang="en-GB" sz="700" b="1" dirty="0">
                    <a:solidFill>
                      <a:schemeClr val="accent1"/>
                    </a:solidFill>
                    <a:latin typeface="Arial"/>
                    <a:cs typeface="Arial"/>
                  </a:rPr>
                  <a:t>binding to the target</a:t>
                </a:r>
              </a:p>
            </p:txBody>
          </p:sp>
          <p:sp>
            <p:nvSpPr>
              <p:cNvPr id="456" name="TextBox 455">
                <a:extLst>
                  <a:ext uri="{FF2B5EF4-FFF2-40B4-BE49-F238E27FC236}">
                    <a16:creationId xmlns:a16="http://schemas.microsoft.com/office/drawing/2014/main" id="{B88C7618-B607-05F1-FFAB-8253F128D744}"/>
                  </a:ext>
                </a:extLst>
              </p:cNvPr>
              <p:cNvSpPr txBox="1"/>
              <p:nvPr/>
            </p:nvSpPr>
            <p:spPr>
              <a:xfrm rot="16200000">
                <a:off x="2460612" y="3081081"/>
                <a:ext cx="732573" cy="153888"/>
              </a:xfrm>
              <a:prstGeom prst="rect">
                <a:avLst/>
              </a:prstGeom>
              <a:noFill/>
            </p:spPr>
            <p:txBody>
              <a:bodyPr wrap="none" lIns="0" tIns="0" rIns="0" bIns="0" rtlCol="0">
                <a:spAutoFit/>
              </a:bodyPr>
              <a:lstStyle/>
              <a:p>
                <a:pPr algn="ctr"/>
                <a:r>
                  <a:rPr lang="en-US" sz="500" dirty="0">
                    <a:ln/>
                    <a:solidFill>
                      <a:srgbClr val="000000"/>
                    </a:solidFill>
                    <a:latin typeface="Arial" panose="020B0604020202020204" pitchFamily="34" charset="0"/>
                    <a:cs typeface="Arial" panose="020B0604020202020204" pitchFamily="34" charset="0"/>
                    <a:sym typeface="Arial"/>
                    <a:rtl val="0"/>
                  </a:rPr>
                  <a:t>Receptor binding affinities</a:t>
                </a:r>
                <a:br>
                  <a:rPr lang="en-US" sz="500" dirty="0">
                    <a:ln/>
                    <a:solidFill>
                      <a:srgbClr val="000000"/>
                    </a:solidFill>
                    <a:latin typeface="Arial" panose="020B0604020202020204" pitchFamily="34" charset="0"/>
                    <a:cs typeface="Arial" panose="020B0604020202020204" pitchFamily="34" charset="0"/>
                    <a:sym typeface="Arial"/>
                    <a:rtl val="0"/>
                  </a:rPr>
                </a:br>
                <a:r>
                  <a:rPr lang="en-US" sz="500" dirty="0">
                    <a:ln/>
                    <a:solidFill>
                      <a:srgbClr val="000000"/>
                    </a:solidFill>
                    <a:latin typeface="Arial" panose="020B0604020202020204" pitchFamily="34" charset="0"/>
                    <a:cs typeface="Arial" panose="020B0604020202020204" pitchFamily="34" charset="0"/>
                    <a:sym typeface="Arial"/>
                    <a:rtl val="0"/>
                  </a:rPr>
                  <a:t>Relative response (RU)</a:t>
                </a:r>
              </a:p>
            </p:txBody>
          </p:sp>
        </p:grpSp>
        <p:grpSp>
          <p:nvGrpSpPr>
            <p:cNvPr id="465" name="Group 464">
              <a:extLst>
                <a:ext uri="{FF2B5EF4-FFF2-40B4-BE49-F238E27FC236}">
                  <a16:creationId xmlns:a16="http://schemas.microsoft.com/office/drawing/2014/main" id="{62B5A674-92F8-9CEB-EB7F-B1FA80535756}"/>
                </a:ext>
              </a:extLst>
            </p:cNvPr>
            <p:cNvGrpSpPr/>
            <p:nvPr/>
          </p:nvGrpSpPr>
          <p:grpSpPr>
            <a:xfrm>
              <a:off x="4527857" y="2356962"/>
              <a:ext cx="1734449" cy="1489722"/>
              <a:chOff x="4583722" y="2356962"/>
              <a:chExt cx="1734449" cy="1489722"/>
            </a:xfrm>
          </p:grpSpPr>
          <p:sp>
            <p:nvSpPr>
              <p:cNvPr id="340" name="TextBox 339">
                <a:extLst>
                  <a:ext uri="{FF2B5EF4-FFF2-40B4-BE49-F238E27FC236}">
                    <a16:creationId xmlns:a16="http://schemas.microsoft.com/office/drawing/2014/main" id="{82D24299-F448-AF43-7D6B-7DD2FB103116}"/>
                  </a:ext>
                </a:extLst>
              </p:cNvPr>
              <p:cNvSpPr txBox="1"/>
              <p:nvPr/>
            </p:nvSpPr>
            <p:spPr>
              <a:xfrm>
                <a:off x="5267592" y="3769740"/>
                <a:ext cx="589905"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Nominal time (hours)</a:t>
                </a:r>
              </a:p>
            </p:txBody>
          </p:sp>
          <p:sp>
            <p:nvSpPr>
              <p:cNvPr id="341" name="Freeform 340">
                <a:extLst>
                  <a:ext uri="{FF2B5EF4-FFF2-40B4-BE49-F238E27FC236}">
                    <a16:creationId xmlns:a16="http://schemas.microsoft.com/office/drawing/2014/main" id="{DD367743-1FA0-498A-9A21-2E69E393874E}"/>
                  </a:ext>
                </a:extLst>
              </p:cNvPr>
              <p:cNvSpPr/>
              <p:nvPr/>
            </p:nvSpPr>
            <p:spPr>
              <a:xfrm>
                <a:off x="4833640" y="3625963"/>
                <a:ext cx="1397832" cy="13163"/>
              </a:xfrm>
              <a:custGeom>
                <a:avLst/>
                <a:gdLst>
                  <a:gd name="connsiteX0" fmla="*/ 0 w 1397832"/>
                  <a:gd name="connsiteY0" fmla="*/ 0 h 13163"/>
                  <a:gd name="connsiteX1" fmla="*/ 1397832 w 1397832"/>
                  <a:gd name="connsiteY1" fmla="*/ 0 h 13163"/>
                </a:gdLst>
                <a:ahLst/>
                <a:cxnLst>
                  <a:cxn ang="0">
                    <a:pos x="connsiteX0" y="connsiteY0"/>
                  </a:cxn>
                  <a:cxn ang="0">
                    <a:pos x="connsiteX1" y="connsiteY1"/>
                  </a:cxn>
                </a:cxnLst>
                <a:rect l="l" t="t" r="r" b="b"/>
                <a:pathLst>
                  <a:path w="1397832" h="13163">
                    <a:moveTo>
                      <a:pt x="0" y="0"/>
                    </a:moveTo>
                    <a:lnTo>
                      <a:pt x="1397832"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2" name="Freeform 341">
                <a:extLst>
                  <a:ext uri="{FF2B5EF4-FFF2-40B4-BE49-F238E27FC236}">
                    <a16:creationId xmlns:a16="http://schemas.microsoft.com/office/drawing/2014/main" id="{96BB1A3E-3149-37E0-CFDA-F7647F091B7A}"/>
                  </a:ext>
                </a:extLst>
              </p:cNvPr>
              <p:cNvSpPr/>
              <p:nvPr/>
            </p:nvSpPr>
            <p:spPr>
              <a:xfrm>
                <a:off x="6229220"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3" name="Freeform 342">
                <a:extLst>
                  <a:ext uri="{FF2B5EF4-FFF2-40B4-BE49-F238E27FC236}">
                    <a16:creationId xmlns:a16="http://schemas.microsoft.com/office/drawing/2014/main" id="{F1384ACD-97A2-C245-2C50-7A138C52912A}"/>
                  </a:ext>
                </a:extLst>
              </p:cNvPr>
              <p:cNvSpPr/>
              <p:nvPr/>
            </p:nvSpPr>
            <p:spPr>
              <a:xfrm>
                <a:off x="6001151"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4" name="Freeform 343">
                <a:extLst>
                  <a:ext uri="{FF2B5EF4-FFF2-40B4-BE49-F238E27FC236}">
                    <a16:creationId xmlns:a16="http://schemas.microsoft.com/office/drawing/2014/main" id="{E610ABFF-051C-8759-9C26-36278A20CE9F}"/>
                  </a:ext>
                </a:extLst>
              </p:cNvPr>
              <p:cNvSpPr/>
              <p:nvPr/>
            </p:nvSpPr>
            <p:spPr>
              <a:xfrm>
                <a:off x="5773082"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5" name="Freeform 344">
                <a:extLst>
                  <a:ext uri="{FF2B5EF4-FFF2-40B4-BE49-F238E27FC236}">
                    <a16:creationId xmlns:a16="http://schemas.microsoft.com/office/drawing/2014/main" id="{787712D8-483F-23DF-3077-B0EEC6BF5D8E}"/>
                  </a:ext>
                </a:extLst>
              </p:cNvPr>
              <p:cNvSpPr/>
              <p:nvPr/>
            </p:nvSpPr>
            <p:spPr>
              <a:xfrm>
                <a:off x="5545013"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6" name="Freeform 345">
                <a:extLst>
                  <a:ext uri="{FF2B5EF4-FFF2-40B4-BE49-F238E27FC236}">
                    <a16:creationId xmlns:a16="http://schemas.microsoft.com/office/drawing/2014/main" id="{C304BE58-232B-3C72-AD4E-DAD81972130B}"/>
                  </a:ext>
                </a:extLst>
              </p:cNvPr>
              <p:cNvSpPr/>
              <p:nvPr/>
            </p:nvSpPr>
            <p:spPr>
              <a:xfrm>
                <a:off x="5316945"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7" name="Freeform 346">
                <a:extLst>
                  <a:ext uri="{FF2B5EF4-FFF2-40B4-BE49-F238E27FC236}">
                    <a16:creationId xmlns:a16="http://schemas.microsoft.com/office/drawing/2014/main" id="{A2869642-1117-AB3D-DD95-7198C0279F66}"/>
                  </a:ext>
                </a:extLst>
              </p:cNvPr>
              <p:cNvSpPr/>
              <p:nvPr/>
            </p:nvSpPr>
            <p:spPr>
              <a:xfrm>
                <a:off x="5089008" y="3624778"/>
                <a:ext cx="13252" cy="28434"/>
              </a:xfrm>
              <a:custGeom>
                <a:avLst/>
                <a:gdLst>
                  <a:gd name="connsiteX0" fmla="*/ 0 w 13252"/>
                  <a:gd name="connsiteY0" fmla="*/ 0 h 28434"/>
                  <a:gd name="connsiteX1" fmla="*/ 0 w 13252"/>
                  <a:gd name="connsiteY1" fmla="*/ 28434 h 28434"/>
                </a:gdLst>
                <a:ahLst/>
                <a:cxnLst>
                  <a:cxn ang="0">
                    <a:pos x="connsiteX0" y="connsiteY0"/>
                  </a:cxn>
                  <a:cxn ang="0">
                    <a:pos x="connsiteX1" y="connsiteY1"/>
                  </a:cxn>
                </a:cxnLst>
                <a:rect l="l" t="t" r="r" b="b"/>
                <a:pathLst>
                  <a:path w="13252" h="28434">
                    <a:moveTo>
                      <a:pt x="0" y="0"/>
                    </a:moveTo>
                    <a:lnTo>
                      <a:pt x="0" y="28434"/>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8" name="Freeform 347">
                <a:extLst>
                  <a:ext uri="{FF2B5EF4-FFF2-40B4-BE49-F238E27FC236}">
                    <a16:creationId xmlns:a16="http://schemas.microsoft.com/office/drawing/2014/main" id="{0E4C73A1-DC4E-9E6F-DF44-3427F888EE1F}"/>
                  </a:ext>
                </a:extLst>
              </p:cNvPr>
              <p:cNvSpPr/>
              <p:nvPr/>
            </p:nvSpPr>
            <p:spPr>
              <a:xfrm>
                <a:off x="4833640" y="343429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49" name="Freeform 348">
                <a:extLst>
                  <a:ext uri="{FF2B5EF4-FFF2-40B4-BE49-F238E27FC236}">
                    <a16:creationId xmlns:a16="http://schemas.microsoft.com/office/drawing/2014/main" id="{F308BC72-06F9-F1E0-03DC-F89E81220F50}"/>
                  </a:ext>
                </a:extLst>
              </p:cNvPr>
              <p:cNvSpPr/>
              <p:nvPr/>
            </p:nvSpPr>
            <p:spPr>
              <a:xfrm>
                <a:off x="4833640" y="3242630"/>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0" name="Freeform 349">
                <a:extLst>
                  <a:ext uri="{FF2B5EF4-FFF2-40B4-BE49-F238E27FC236}">
                    <a16:creationId xmlns:a16="http://schemas.microsoft.com/office/drawing/2014/main" id="{91BEDCCA-3364-361B-AD88-87040E103A53}"/>
                  </a:ext>
                </a:extLst>
              </p:cNvPr>
              <p:cNvSpPr/>
              <p:nvPr/>
            </p:nvSpPr>
            <p:spPr>
              <a:xfrm>
                <a:off x="4833640" y="3050963"/>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1" name="Freeform 350">
                <a:extLst>
                  <a:ext uri="{FF2B5EF4-FFF2-40B4-BE49-F238E27FC236}">
                    <a16:creationId xmlns:a16="http://schemas.microsoft.com/office/drawing/2014/main" id="{436557DC-06B1-746D-F2F8-FB31DF336152}"/>
                  </a:ext>
                </a:extLst>
              </p:cNvPr>
              <p:cNvSpPr/>
              <p:nvPr/>
            </p:nvSpPr>
            <p:spPr>
              <a:xfrm>
                <a:off x="4833640" y="285929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2" name="Freeform 351">
                <a:extLst>
                  <a:ext uri="{FF2B5EF4-FFF2-40B4-BE49-F238E27FC236}">
                    <a16:creationId xmlns:a16="http://schemas.microsoft.com/office/drawing/2014/main" id="{38D5983E-0A52-A786-6468-049C8759781A}"/>
                  </a:ext>
                </a:extLst>
              </p:cNvPr>
              <p:cNvSpPr/>
              <p:nvPr/>
            </p:nvSpPr>
            <p:spPr>
              <a:xfrm>
                <a:off x="4833640" y="2667630"/>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53" name="Freeform 352">
                <a:extLst>
                  <a:ext uri="{FF2B5EF4-FFF2-40B4-BE49-F238E27FC236}">
                    <a16:creationId xmlns:a16="http://schemas.microsoft.com/office/drawing/2014/main" id="{C2255AAA-64C6-FCEE-5B2F-FDD758D109D6}"/>
                  </a:ext>
                </a:extLst>
              </p:cNvPr>
              <p:cNvSpPr/>
              <p:nvPr/>
            </p:nvSpPr>
            <p:spPr>
              <a:xfrm>
                <a:off x="4860940" y="2665392"/>
                <a:ext cx="13252" cy="987820"/>
              </a:xfrm>
              <a:custGeom>
                <a:avLst/>
                <a:gdLst>
                  <a:gd name="connsiteX0" fmla="*/ 0 w 13252"/>
                  <a:gd name="connsiteY0" fmla="*/ 0 h 987820"/>
                  <a:gd name="connsiteX1" fmla="*/ 0 w 13252"/>
                  <a:gd name="connsiteY1" fmla="*/ 987820 h 987820"/>
                </a:gdLst>
                <a:ahLst/>
                <a:cxnLst>
                  <a:cxn ang="0">
                    <a:pos x="connsiteX0" y="connsiteY0"/>
                  </a:cxn>
                  <a:cxn ang="0">
                    <a:pos x="connsiteX1" y="connsiteY1"/>
                  </a:cxn>
                </a:cxnLst>
                <a:rect l="l" t="t" r="r" b="b"/>
                <a:pathLst>
                  <a:path w="13252" h="987820">
                    <a:moveTo>
                      <a:pt x="0" y="0"/>
                    </a:moveTo>
                    <a:lnTo>
                      <a:pt x="0" y="98782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0" name="Group 449">
                <a:extLst>
                  <a:ext uri="{FF2B5EF4-FFF2-40B4-BE49-F238E27FC236}">
                    <a16:creationId xmlns:a16="http://schemas.microsoft.com/office/drawing/2014/main" id="{C595F29E-D710-1A03-3B5A-7A7E70BF9C48}"/>
                  </a:ext>
                </a:extLst>
              </p:cNvPr>
              <p:cNvGrpSpPr/>
              <p:nvPr/>
            </p:nvGrpSpPr>
            <p:grpSpPr>
              <a:xfrm>
                <a:off x="4848498" y="3666197"/>
                <a:ext cx="1428093" cy="76944"/>
                <a:chOff x="4763801" y="3666197"/>
                <a:chExt cx="1428093" cy="76944"/>
              </a:xfrm>
            </p:grpSpPr>
            <p:sp>
              <p:nvSpPr>
                <p:cNvPr id="355" name="TextBox 354">
                  <a:extLst>
                    <a:ext uri="{FF2B5EF4-FFF2-40B4-BE49-F238E27FC236}">
                      <a16:creationId xmlns:a16="http://schemas.microsoft.com/office/drawing/2014/main" id="{EF9514A3-FE2B-5D91-C96C-F02EE39B1C70}"/>
                    </a:ext>
                  </a:extLst>
                </p:cNvPr>
                <p:cNvSpPr txBox="1"/>
                <p:nvPr/>
              </p:nvSpPr>
              <p:spPr>
                <a:xfrm>
                  <a:off x="6086096"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20</a:t>
                  </a:r>
                </a:p>
              </p:txBody>
            </p:sp>
            <p:sp>
              <p:nvSpPr>
                <p:cNvPr id="356" name="TextBox 355">
                  <a:extLst>
                    <a:ext uri="{FF2B5EF4-FFF2-40B4-BE49-F238E27FC236}">
                      <a16:creationId xmlns:a16="http://schemas.microsoft.com/office/drawing/2014/main" id="{50FA84F1-83FB-D5B8-BF47-4EC2E363EE54}"/>
                    </a:ext>
                  </a:extLst>
                </p:cNvPr>
                <p:cNvSpPr txBox="1"/>
                <p:nvPr/>
              </p:nvSpPr>
              <p:spPr>
                <a:xfrm>
                  <a:off x="5856967" y="3666197"/>
                  <a:ext cx="105798"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0</a:t>
                  </a:r>
                </a:p>
              </p:txBody>
            </p:sp>
            <p:sp>
              <p:nvSpPr>
                <p:cNvPr id="357" name="TextBox 356">
                  <a:extLst>
                    <a:ext uri="{FF2B5EF4-FFF2-40B4-BE49-F238E27FC236}">
                      <a16:creationId xmlns:a16="http://schemas.microsoft.com/office/drawing/2014/main" id="{E6FE661C-35CD-C5DE-C991-6221DD986625}"/>
                    </a:ext>
                  </a:extLst>
                </p:cNvPr>
                <p:cNvSpPr txBox="1"/>
                <p:nvPr/>
              </p:nvSpPr>
              <p:spPr>
                <a:xfrm>
                  <a:off x="4763801"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sp>
              <p:nvSpPr>
                <p:cNvPr id="358" name="TextBox 357">
                  <a:extLst>
                    <a:ext uri="{FF2B5EF4-FFF2-40B4-BE49-F238E27FC236}">
                      <a16:creationId xmlns:a16="http://schemas.microsoft.com/office/drawing/2014/main" id="{047E0C46-EDC6-A71C-C90B-5CAEA4E21C40}"/>
                    </a:ext>
                  </a:extLst>
                </p:cNvPr>
                <p:cNvSpPr txBox="1"/>
                <p:nvPr/>
              </p:nvSpPr>
              <p:spPr>
                <a:xfrm>
                  <a:off x="4960197"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a:t>
                  </a:r>
                </a:p>
              </p:txBody>
            </p:sp>
            <p:sp>
              <p:nvSpPr>
                <p:cNvPr id="359" name="TextBox 358">
                  <a:extLst>
                    <a:ext uri="{FF2B5EF4-FFF2-40B4-BE49-F238E27FC236}">
                      <a16:creationId xmlns:a16="http://schemas.microsoft.com/office/drawing/2014/main" id="{27A47B5B-2C14-372E-4774-B2EA1F005B86}"/>
                    </a:ext>
                  </a:extLst>
                </p:cNvPr>
                <p:cNvSpPr txBox="1"/>
                <p:nvPr/>
              </p:nvSpPr>
              <p:spPr>
                <a:xfrm>
                  <a:off x="5187736"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40</a:t>
                  </a:r>
                </a:p>
              </p:txBody>
            </p:sp>
            <p:sp>
              <p:nvSpPr>
                <p:cNvPr id="360" name="TextBox 359">
                  <a:extLst>
                    <a:ext uri="{FF2B5EF4-FFF2-40B4-BE49-F238E27FC236}">
                      <a16:creationId xmlns:a16="http://schemas.microsoft.com/office/drawing/2014/main" id="{20B140E0-0AC8-0D17-E84A-41BC336BF75C}"/>
                    </a:ext>
                  </a:extLst>
                </p:cNvPr>
                <p:cNvSpPr txBox="1"/>
                <p:nvPr/>
              </p:nvSpPr>
              <p:spPr>
                <a:xfrm>
                  <a:off x="5647452"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80</a:t>
                  </a:r>
                </a:p>
              </p:txBody>
            </p:sp>
            <p:sp>
              <p:nvSpPr>
                <p:cNvPr id="361" name="TextBox 360">
                  <a:extLst>
                    <a:ext uri="{FF2B5EF4-FFF2-40B4-BE49-F238E27FC236}">
                      <a16:creationId xmlns:a16="http://schemas.microsoft.com/office/drawing/2014/main" id="{288190C8-8FFA-5481-965C-9A190EFBF3BC}"/>
                    </a:ext>
                  </a:extLst>
                </p:cNvPr>
                <p:cNvSpPr txBox="1"/>
                <p:nvPr/>
              </p:nvSpPr>
              <p:spPr>
                <a:xfrm>
                  <a:off x="5417528"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60</a:t>
                  </a:r>
                </a:p>
              </p:txBody>
            </p:sp>
          </p:grpSp>
          <p:grpSp>
            <p:nvGrpSpPr>
              <p:cNvPr id="454" name="Group 453">
                <a:extLst>
                  <a:ext uri="{FF2B5EF4-FFF2-40B4-BE49-F238E27FC236}">
                    <a16:creationId xmlns:a16="http://schemas.microsoft.com/office/drawing/2014/main" id="{E0B0F823-7280-0ABE-D939-C553705FC5A5}"/>
                  </a:ext>
                </a:extLst>
              </p:cNvPr>
              <p:cNvGrpSpPr/>
              <p:nvPr/>
            </p:nvGrpSpPr>
            <p:grpSpPr>
              <a:xfrm>
                <a:off x="4717980" y="2627104"/>
                <a:ext cx="78881" cy="1032381"/>
                <a:chOff x="4654604" y="2589132"/>
                <a:chExt cx="78881" cy="1032381"/>
              </a:xfrm>
            </p:grpSpPr>
            <p:sp>
              <p:nvSpPr>
                <p:cNvPr id="354" name="TextBox 353">
                  <a:extLst>
                    <a:ext uri="{FF2B5EF4-FFF2-40B4-BE49-F238E27FC236}">
                      <a16:creationId xmlns:a16="http://schemas.microsoft.com/office/drawing/2014/main" id="{E8ECC517-7CD6-236C-0609-7655DCA46C4E}"/>
                    </a:ext>
                  </a:extLst>
                </p:cNvPr>
                <p:cNvSpPr txBox="1"/>
                <p:nvPr/>
              </p:nvSpPr>
              <p:spPr>
                <a:xfrm>
                  <a:off x="4658977" y="2589132"/>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5</a:t>
                  </a:r>
                </a:p>
              </p:txBody>
            </p:sp>
            <p:sp>
              <p:nvSpPr>
                <p:cNvPr id="371" name="TextBox 370">
                  <a:extLst>
                    <a:ext uri="{FF2B5EF4-FFF2-40B4-BE49-F238E27FC236}">
                      <a16:creationId xmlns:a16="http://schemas.microsoft.com/office/drawing/2014/main" id="{7E5E646E-228E-F2DA-F658-203889B2A244}"/>
                    </a:ext>
                  </a:extLst>
                </p:cNvPr>
                <p:cNvSpPr txBox="1"/>
                <p:nvPr/>
              </p:nvSpPr>
              <p:spPr>
                <a:xfrm>
                  <a:off x="4654604" y="2781061"/>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a:t>
                  </a:r>
                </a:p>
              </p:txBody>
            </p:sp>
            <p:sp>
              <p:nvSpPr>
                <p:cNvPr id="372" name="TextBox 371">
                  <a:extLst>
                    <a:ext uri="{FF2B5EF4-FFF2-40B4-BE49-F238E27FC236}">
                      <a16:creationId xmlns:a16="http://schemas.microsoft.com/office/drawing/2014/main" id="{102A8989-8EEC-A92F-CF0D-CADB2EE22B32}"/>
                    </a:ext>
                  </a:extLst>
                </p:cNvPr>
                <p:cNvSpPr txBox="1"/>
                <p:nvPr/>
              </p:nvSpPr>
              <p:spPr>
                <a:xfrm>
                  <a:off x="4662953" y="2975493"/>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a:t>
                  </a:r>
                </a:p>
              </p:txBody>
            </p:sp>
            <p:sp>
              <p:nvSpPr>
                <p:cNvPr id="373" name="TextBox 372">
                  <a:extLst>
                    <a:ext uri="{FF2B5EF4-FFF2-40B4-BE49-F238E27FC236}">
                      <a16:creationId xmlns:a16="http://schemas.microsoft.com/office/drawing/2014/main" id="{791BB72A-367F-06A1-695D-50D299A691DE}"/>
                    </a:ext>
                  </a:extLst>
                </p:cNvPr>
                <p:cNvSpPr txBox="1"/>
                <p:nvPr/>
              </p:nvSpPr>
              <p:spPr>
                <a:xfrm>
                  <a:off x="4661760" y="31589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sp>
              <p:nvSpPr>
                <p:cNvPr id="374" name="TextBox 373">
                  <a:extLst>
                    <a:ext uri="{FF2B5EF4-FFF2-40B4-BE49-F238E27FC236}">
                      <a16:creationId xmlns:a16="http://schemas.microsoft.com/office/drawing/2014/main" id="{A8A9EA9E-E4B7-904C-EE26-BE596478816E}"/>
                    </a:ext>
                  </a:extLst>
                </p:cNvPr>
                <p:cNvSpPr txBox="1"/>
                <p:nvPr/>
              </p:nvSpPr>
              <p:spPr>
                <a:xfrm>
                  <a:off x="4690650" y="3351849"/>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375" name="TextBox 374">
                  <a:extLst>
                    <a:ext uri="{FF2B5EF4-FFF2-40B4-BE49-F238E27FC236}">
                      <a16:creationId xmlns:a16="http://schemas.microsoft.com/office/drawing/2014/main" id="{0CA2D99D-B9A4-9439-4209-4725CB5D886D}"/>
                    </a:ext>
                  </a:extLst>
                </p:cNvPr>
                <p:cNvSpPr txBox="1"/>
                <p:nvPr/>
              </p:nvSpPr>
              <p:spPr>
                <a:xfrm>
                  <a:off x="4690782" y="3544569"/>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grpSp>
          <p:sp>
            <p:nvSpPr>
              <p:cNvPr id="376" name="TextBox 375">
                <a:extLst>
                  <a:ext uri="{FF2B5EF4-FFF2-40B4-BE49-F238E27FC236}">
                    <a16:creationId xmlns:a16="http://schemas.microsoft.com/office/drawing/2014/main" id="{EC92D5BE-64B6-D274-060A-DE96E4B2EB5A}"/>
                  </a:ext>
                </a:extLst>
              </p:cNvPr>
              <p:cNvSpPr txBox="1"/>
              <p:nvPr/>
            </p:nvSpPr>
            <p:spPr>
              <a:xfrm>
                <a:off x="5669450" y="2684996"/>
                <a:ext cx="549831"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a:t>
                </a:r>
              </a:p>
            </p:txBody>
          </p:sp>
          <p:sp>
            <p:nvSpPr>
              <p:cNvPr id="377" name="Freeform 376">
                <a:extLst>
                  <a:ext uri="{FF2B5EF4-FFF2-40B4-BE49-F238E27FC236}">
                    <a16:creationId xmlns:a16="http://schemas.microsoft.com/office/drawing/2014/main" id="{43D43E33-8043-272D-2DC5-6EAB8B18A320}"/>
                  </a:ext>
                </a:extLst>
              </p:cNvPr>
              <p:cNvSpPr/>
              <p:nvPr/>
            </p:nvSpPr>
            <p:spPr>
              <a:xfrm>
                <a:off x="5487234" y="2722655"/>
                <a:ext cx="141002" cy="13163"/>
              </a:xfrm>
              <a:custGeom>
                <a:avLst/>
                <a:gdLst>
                  <a:gd name="connsiteX0" fmla="*/ 0 w 141002"/>
                  <a:gd name="connsiteY0" fmla="*/ 0 h 13163"/>
                  <a:gd name="connsiteX1" fmla="*/ 141003 w 141002"/>
                  <a:gd name="connsiteY1" fmla="*/ 0 h 13163"/>
                </a:gdLst>
                <a:ahLst/>
                <a:cxnLst>
                  <a:cxn ang="0">
                    <a:pos x="connsiteX0" y="connsiteY0"/>
                  </a:cxn>
                  <a:cxn ang="0">
                    <a:pos x="connsiteX1" y="connsiteY1"/>
                  </a:cxn>
                </a:cxnLst>
                <a:rect l="l" t="t" r="r" b="b"/>
                <a:pathLst>
                  <a:path w="141002" h="13163">
                    <a:moveTo>
                      <a:pt x="0" y="0"/>
                    </a:moveTo>
                    <a:lnTo>
                      <a:pt x="141003" y="0"/>
                    </a:lnTo>
                  </a:path>
                </a:pathLst>
              </a:custGeom>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78" name="TextBox 377">
                <a:extLst>
                  <a:ext uri="{FF2B5EF4-FFF2-40B4-BE49-F238E27FC236}">
                    <a16:creationId xmlns:a16="http://schemas.microsoft.com/office/drawing/2014/main" id="{8D12393B-AF00-6C40-58B7-02F220FE3B18}"/>
                  </a:ext>
                </a:extLst>
              </p:cNvPr>
              <p:cNvSpPr txBox="1"/>
              <p:nvPr/>
            </p:nvSpPr>
            <p:spPr>
              <a:xfrm>
                <a:off x="5669450" y="2589820"/>
                <a:ext cx="565861" cy="76944"/>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a:t>
                </a:r>
              </a:p>
            </p:txBody>
          </p:sp>
          <p:sp>
            <p:nvSpPr>
              <p:cNvPr id="381" name="Freeform 380">
                <a:extLst>
                  <a:ext uri="{FF2B5EF4-FFF2-40B4-BE49-F238E27FC236}">
                    <a16:creationId xmlns:a16="http://schemas.microsoft.com/office/drawing/2014/main" id="{88CE32B5-7493-1633-E260-9B89AD00FD34}"/>
                  </a:ext>
                </a:extLst>
              </p:cNvPr>
              <p:cNvSpPr/>
              <p:nvPr/>
            </p:nvSpPr>
            <p:spPr>
              <a:xfrm>
                <a:off x="5487234" y="2631561"/>
                <a:ext cx="141002" cy="13163"/>
              </a:xfrm>
              <a:custGeom>
                <a:avLst/>
                <a:gdLst>
                  <a:gd name="connsiteX0" fmla="*/ 0 w 141002"/>
                  <a:gd name="connsiteY0" fmla="*/ 0 h 13163"/>
                  <a:gd name="connsiteX1" fmla="*/ 141003 w 141002"/>
                  <a:gd name="connsiteY1" fmla="*/ 0 h 13163"/>
                </a:gdLst>
                <a:ahLst/>
                <a:cxnLst>
                  <a:cxn ang="0">
                    <a:pos x="connsiteX0" y="connsiteY0"/>
                  </a:cxn>
                  <a:cxn ang="0">
                    <a:pos x="connsiteX1" y="connsiteY1"/>
                  </a:cxn>
                </a:cxnLst>
                <a:rect l="l" t="t" r="r" b="b"/>
                <a:pathLst>
                  <a:path w="141002" h="13163">
                    <a:moveTo>
                      <a:pt x="0" y="0"/>
                    </a:moveTo>
                    <a:lnTo>
                      <a:pt x="141003" y="0"/>
                    </a:lnTo>
                  </a:path>
                </a:pathLst>
              </a:custGeom>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2" name="Freeform 381">
                <a:extLst>
                  <a:ext uri="{FF2B5EF4-FFF2-40B4-BE49-F238E27FC236}">
                    <a16:creationId xmlns:a16="http://schemas.microsoft.com/office/drawing/2014/main" id="{2600DF5B-870E-969A-7339-33989F5D54BC}"/>
                  </a:ext>
                </a:extLst>
              </p:cNvPr>
              <p:cNvSpPr/>
              <p:nvPr/>
            </p:nvSpPr>
            <p:spPr>
              <a:xfrm>
                <a:off x="5538122" y="2611025"/>
                <a:ext cx="39226" cy="41071"/>
              </a:xfrm>
              <a:custGeom>
                <a:avLst/>
                <a:gdLst>
                  <a:gd name="connsiteX0" fmla="*/ 39227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7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7" y="20536"/>
                    </a:moveTo>
                    <a:cubicBezTo>
                      <a:pt x="39227" y="9215"/>
                      <a:pt x="30480" y="0"/>
                      <a:pt x="19613" y="0"/>
                    </a:cubicBezTo>
                    <a:cubicBezTo>
                      <a:pt x="8746" y="0"/>
                      <a:pt x="0" y="9215"/>
                      <a:pt x="0" y="20536"/>
                    </a:cubicBezTo>
                    <a:cubicBezTo>
                      <a:pt x="0" y="31857"/>
                      <a:pt x="8746" y="41071"/>
                      <a:pt x="19613" y="41071"/>
                    </a:cubicBezTo>
                    <a:cubicBezTo>
                      <a:pt x="30480" y="41071"/>
                      <a:pt x="39227" y="31857"/>
                      <a:pt x="39227" y="20536"/>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3" name="Freeform 382">
                <a:extLst>
                  <a:ext uri="{FF2B5EF4-FFF2-40B4-BE49-F238E27FC236}">
                    <a16:creationId xmlns:a16="http://schemas.microsoft.com/office/drawing/2014/main" id="{61D638E4-329D-BDE2-9E9D-66F0F0AD8FB4}"/>
                  </a:ext>
                </a:extLst>
              </p:cNvPr>
              <p:cNvSpPr/>
              <p:nvPr/>
            </p:nvSpPr>
            <p:spPr>
              <a:xfrm>
                <a:off x="5538122" y="2611025"/>
                <a:ext cx="39226" cy="41071"/>
              </a:xfrm>
              <a:custGeom>
                <a:avLst/>
                <a:gdLst>
                  <a:gd name="connsiteX0" fmla="*/ 39227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7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7" y="20536"/>
                    </a:moveTo>
                    <a:cubicBezTo>
                      <a:pt x="39227" y="9215"/>
                      <a:pt x="30480" y="0"/>
                      <a:pt x="19613" y="0"/>
                    </a:cubicBezTo>
                    <a:cubicBezTo>
                      <a:pt x="8746" y="0"/>
                      <a:pt x="0" y="9215"/>
                      <a:pt x="0" y="20536"/>
                    </a:cubicBezTo>
                    <a:cubicBezTo>
                      <a:pt x="0" y="31857"/>
                      <a:pt x="8746" y="41071"/>
                      <a:pt x="19613" y="41071"/>
                    </a:cubicBezTo>
                    <a:cubicBezTo>
                      <a:pt x="30480" y="41071"/>
                      <a:pt x="39227" y="31857"/>
                      <a:pt x="39227" y="20536"/>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4" name="Freeform 383">
                <a:extLst>
                  <a:ext uri="{FF2B5EF4-FFF2-40B4-BE49-F238E27FC236}">
                    <a16:creationId xmlns:a16="http://schemas.microsoft.com/office/drawing/2014/main" id="{1D616ED9-2305-033F-F218-A62B3A363443}"/>
                  </a:ext>
                </a:extLst>
              </p:cNvPr>
              <p:cNvSpPr/>
              <p:nvPr/>
            </p:nvSpPr>
            <p:spPr>
              <a:xfrm>
                <a:off x="4857494" y="2674212"/>
                <a:ext cx="1370930" cy="943863"/>
              </a:xfrm>
              <a:custGeom>
                <a:avLst/>
                <a:gdLst>
                  <a:gd name="connsiteX0" fmla="*/ 0 w 1370930"/>
                  <a:gd name="connsiteY0" fmla="*/ 828405 h 943863"/>
                  <a:gd name="connsiteX1" fmla="*/ 7554 w 1370930"/>
                  <a:gd name="connsiteY1" fmla="*/ 943853 h 943863"/>
                  <a:gd name="connsiteX2" fmla="*/ 12855 w 1370930"/>
                  <a:gd name="connsiteY2" fmla="*/ 846440 h 943863"/>
                  <a:gd name="connsiteX3" fmla="*/ 24516 w 1370930"/>
                  <a:gd name="connsiteY3" fmla="*/ 792073 h 943863"/>
                  <a:gd name="connsiteX4" fmla="*/ 47840 w 1370930"/>
                  <a:gd name="connsiteY4" fmla="*/ 566707 h 943863"/>
                  <a:gd name="connsiteX5" fmla="*/ 70766 w 1370930"/>
                  <a:gd name="connsiteY5" fmla="*/ 308957 h 943863"/>
                  <a:gd name="connsiteX6" fmla="*/ 94090 w 1370930"/>
                  <a:gd name="connsiteY6" fmla="*/ 204831 h 943863"/>
                  <a:gd name="connsiteX7" fmla="*/ 116618 w 1370930"/>
                  <a:gd name="connsiteY7" fmla="*/ 76351 h 943863"/>
                  <a:gd name="connsiteX8" fmla="*/ 139147 w 1370930"/>
                  <a:gd name="connsiteY8" fmla="*/ 83064 h 943863"/>
                  <a:gd name="connsiteX9" fmla="*/ 184204 w 1370930"/>
                  <a:gd name="connsiteY9" fmla="*/ 56078 h 943863"/>
                  <a:gd name="connsiteX10" fmla="*/ 230056 w 1370930"/>
                  <a:gd name="connsiteY10" fmla="*/ 8951 h 943863"/>
                  <a:gd name="connsiteX11" fmla="*/ 275511 w 1370930"/>
                  <a:gd name="connsiteY11" fmla="*/ 0 h 943863"/>
                  <a:gd name="connsiteX12" fmla="*/ 367216 w 1370930"/>
                  <a:gd name="connsiteY12" fmla="*/ 119923 h 943863"/>
                  <a:gd name="connsiteX13" fmla="*/ 547975 w 1370930"/>
                  <a:gd name="connsiteY13" fmla="*/ 354768 h 943863"/>
                  <a:gd name="connsiteX14" fmla="*/ 821896 w 1370930"/>
                  <a:gd name="connsiteY14" fmla="*/ 618836 h 943863"/>
                  <a:gd name="connsiteX15" fmla="*/ 1096612 w 1370930"/>
                  <a:gd name="connsiteY15" fmla="*/ 759295 h 943863"/>
                  <a:gd name="connsiteX16" fmla="*/ 1370930 w 1370930"/>
                  <a:gd name="connsiteY16" fmla="*/ 787992 h 94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0930" h="943863">
                    <a:moveTo>
                      <a:pt x="0" y="828405"/>
                    </a:moveTo>
                    <a:cubicBezTo>
                      <a:pt x="0" y="828405"/>
                      <a:pt x="7156" y="945169"/>
                      <a:pt x="7554" y="943853"/>
                    </a:cubicBezTo>
                    <a:cubicBezTo>
                      <a:pt x="7951" y="942536"/>
                      <a:pt x="12855" y="846440"/>
                      <a:pt x="12855" y="846440"/>
                    </a:cubicBezTo>
                    <a:lnTo>
                      <a:pt x="24516" y="792073"/>
                    </a:lnTo>
                    <a:lnTo>
                      <a:pt x="47840" y="566707"/>
                    </a:lnTo>
                    <a:lnTo>
                      <a:pt x="70766" y="308957"/>
                    </a:lnTo>
                    <a:lnTo>
                      <a:pt x="94090" y="204831"/>
                    </a:lnTo>
                    <a:lnTo>
                      <a:pt x="116618" y="76351"/>
                    </a:lnTo>
                    <a:lnTo>
                      <a:pt x="139147" y="83064"/>
                    </a:lnTo>
                    <a:lnTo>
                      <a:pt x="184204" y="56078"/>
                    </a:lnTo>
                    <a:lnTo>
                      <a:pt x="230056" y="8951"/>
                    </a:lnTo>
                    <a:lnTo>
                      <a:pt x="275511" y="0"/>
                    </a:lnTo>
                    <a:lnTo>
                      <a:pt x="367216" y="119923"/>
                    </a:lnTo>
                    <a:lnTo>
                      <a:pt x="547975" y="354768"/>
                    </a:lnTo>
                    <a:lnTo>
                      <a:pt x="821896" y="618836"/>
                    </a:lnTo>
                    <a:lnTo>
                      <a:pt x="1096612" y="759295"/>
                    </a:lnTo>
                    <a:lnTo>
                      <a:pt x="1370930" y="787992"/>
                    </a:lnTo>
                  </a:path>
                </a:pathLst>
              </a:custGeom>
              <a:noFill/>
              <a:ln w="9933" cap="rnd">
                <a:solidFill>
                  <a:schemeClr val="accent2"/>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385" name="Freeform 384">
                <a:extLst>
                  <a:ext uri="{FF2B5EF4-FFF2-40B4-BE49-F238E27FC236}">
                    <a16:creationId xmlns:a16="http://schemas.microsoft.com/office/drawing/2014/main" id="{3526715F-D0D2-8292-0C12-5973D67466DA}"/>
                  </a:ext>
                </a:extLst>
              </p:cNvPr>
              <p:cNvSpPr/>
              <p:nvPr/>
            </p:nvSpPr>
            <p:spPr>
              <a:xfrm>
                <a:off x="4855771" y="2691851"/>
                <a:ext cx="1372520" cy="928845"/>
              </a:xfrm>
              <a:custGeom>
                <a:avLst/>
                <a:gdLst>
                  <a:gd name="connsiteX0" fmla="*/ 1372521 w 1372520"/>
                  <a:gd name="connsiteY0" fmla="*/ 780752 h 928845"/>
                  <a:gd name="connsiteX1" fmla="*/ 1096612 w 1372520"/>
                  <a:gd name="connsiteY1" fmla="*/ 746262 h 928845"/>
                  <a:gd name="connsiteX2" fmla="*/ 822558 w 1372520"/>
                  <a:gd name="connsiteY2" fmla="*/ 624233 h 928845"/>
                  <a:gd name="connsiteX3" fmla="*/ 549698 w 1372520"/>
                  <a:gd name="connsiteY3" fmla="*/ 375698 h 928845"/>
                  <a:gd name="connsiteX4" fmla="*/ 368541 w 1372520"/>
                  <a:gd name="connsiteY4" fmla="*/ 115316 h 928845"/>
                  <a:gd name="connsiteX5" fmla="*/ 276439 w 1372520"/>
                  <a:gd name="connsiteY5" fmla="*/ 0 h 928845"/>
                  <a:gd name="connsiteX6" fmla="*/ 232309 w 1372520"/>
                  <a:gd name="connsiteY6" fmla="*/ 10005 h 928845"/>
                  <a:gd name="connsiteX7" fmla="*/ 187385 w 1372520"/>
                  <a:gd name="connsiteY7" fmla="*/ 55552 h 928845"/>
                  <a:gd name="connsiteX8" fmla="*/ 141268 w 1372520"/>
                  <a:gd name="connsiteY8" fmla="*/ 92937 h 928845"/>
                  <a:gd name="connsiteX9" fmla="*/ 118871 w 1372520"/>
                  <a:gd name="connsiteY9" fmla="*/ 103995 h 928845"/>
                  <a:gd name="connsiteX10" fmla="*/ 95283 w 1372520"/>
                  <a:gd name="connsiteY10" fmla="*/ 210228 h 928845"/>
                  <a:gd name="connsiteX11" fmla="*/ 74477 w 1372520"/>
                  <a:gd name="connsiteY11" fmla="*/ 309879 h 928845"/>
                  <a:gd name="connsiteX12" fmla="*/ 49298 w 1372520"/>
                  <a:gd name="connsiteY12" fmla="*/ 575526 h 928845"/>
                  <a:gd name="connsiteX13" fmla="*/ 27697 w 1372520"/>
                  <a:gd name="connsiteY13" fmla="*/ 791415 h 928845"/>
                  <a:gd name="connsiteX14" fmla="*/ 17228 w 1372520"/>
                  <a:gd name="connsiteY14" fmla="*/ 861315 h 928845"/>
                  <a:gd name="connsiteX15" fmla="*/ 9277 w 1372520"/>
                  <a:gd name="connsiteY15" fmla="*/ 928846 h 928845"/>
                  <a:gd name="connsiteX16" fmla="*/ 0 w 1372520"/>
                  <a:gd name="connsiteY16" fmla="*/ 824061 h 92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2520" h="928845">
                    <a:moveTo>
                      <a:pt x="1372521" y="780752"/>
                    </a:moveTo>
                    <a:lnTo>
                      <a:pt x="1096612" y="746262"/>
                    </a:lnTo>
                    <a:lnTo>
                      <a:pt x="822558" y="624233"/>
                    </a:lnTo>
                    <a:lnTo>
                      <a:pt x="549698" y="375698"/>
                    </a:lnTo>
                    <a:cubicBezTo>
                      <a:pt x="549698" y="375698"/>
                      <a:pt x="369866" y="116237"/>
                      <a:pt x="368541" y="115316"/>
                    </a:cubicBezTo>
                    <a:cubicBezTo>
                      <a:pt x="367348" y="114394"/>
                      <a:pt x="276439" y="0"/>
                      <a:pt x="276439" y="0"/>
                    </a:cubicBezTo>
                    <a:cubicBezTo>
                      <a:pt x="276439" y="0"/>
                      <a:pt x="233502" y="7635"/>
                      <a:pt x="232309" y="10005"/>
                    </a:cubicBezTo>
                    <a:cubicBezTo>
                      <a:pt x="231117" y="12374"/>
                      <a:pt x="187385" y="55552"/>
                      <a:pt x="187385" y="55552"/>
                    </a:cubicBezTo>
                    <a:cubicBezTo>
                      <a:pt x="187385" y="55552"/>
                      <a:pt x="140075" y="92937"/>
                      <a:pt x="141268" y="92937"/>
                    </a:cubicBezTo>
                    <a:cubicBezTo>
                      <a:pt x="142460" y="92937"/>
                      <a:pt x="118871" y="103995"/>
                      <a:pt x="118871" y="103995"/>
                    </a:cubicBezTo>
                    <a:lnTo>
                      <a:pt x="95283" y="210228"/>
                    </a:lnTo>
                    <a:lnTo>
                      <a:pt x="74477" y="309879"/>
                    </a:lnTo>
                    <a:lnTo>
                      <a:pt x="49298" y="575526"/>
                    </a:lnTo>
                    <a:lnTo>
                      <a:pt x="27697" y="791415"/>
                    </a:lnTo>
                    <a:lnTo>
                      <a:pt x="17228" y="861315"/>
                    </a:lnTo>
                    <a:lnTo>
                      <a:pt x="9277" y="928846"/>
                    </a:lnTo>
                    <a:lnTo>
                      <a:pt x="0" y="824061"/>
                    </a:lnTo>
                  </a:path>
                </a:pathLst>
              </a:custGeom>
              <a:noFill/>
              <a:ln w="9933" cap="rnd">
                <a:solidFill>
                  <a:schemeClr val="accent6">
                    <a:lumMod val="75000"/>
                  </a:schemeClr>
                </a:solidFill>
                <a:prstDash val="solid"/>
                <a:round/>
              </a:ln>
            </p:spPr>
            <p:txBody>
              <a:bodyPr rtlCol="0" anchor="ctr"/>
              <a:lstStyle/>
              <a:p>
                <a:endParaRPr lang="en-US" sz="500">
                  <a:latin typeface="Arial" panose="020B0604020202020204" pitchFamily="34" charset="0"/>
                  <a:cs typeface="Arial" panose="020B0604020202020204" pitchFamily="34" charset="0"/>
                </a:endParaRPr>
              </a:p>
            </p:txBody>
          </p:sp>
          <p:sp>
            <p:nvSpPr>
              <p:cNvPr id="386" name="Freeform 385">
                <a:extLst>
                  <a:ext uri="{FF2B5EF4-FFF2-40B4-BE49-F238E27FC236}">
                    <a16:creationId xmlns:a16="http://schemas.microsoft.com/office/drawing/2014/main" id="{F918F686-9F01-4BF2-D670-87F0C262E5D9}"/>
                  </a:ext>
                </a:extLst>
              </p:cNvPr>
              <p:cNvSpPr/>
              <p:nvPr/>
            </p:nvSpPr>
            <p:spPr>
              <a:xfrm>
                <a:off x="6217160" y="346207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7" name="Freeform 386">
                <a:extLst>
                  <a:ext uri="{FF2B5EF4-FFF2-40B4-BE49-F238E27FC236}">
                    <a16:creationId xmlns:a16="http://schemas.microsoft.com/office/drawing/2014/main" id="{962B4FBD-AE3C-1408-74F9-9E430B7B1ADA}"/>
                  </a:ext>
                </a:extLst>
              </p:cNvPr>
              <p:cNvSpPr/>
              <p:nvPr/>
            </p:nvSpPr>
            <p:spPr>
              <a:xfrm>
                <a:off x="6217160" y="346207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8" name="Freeform 387">
                <a:extLst>
                  <a:ext uri="{FF2B5EF4-FFF2-40B4-BE49-F238E27FC236}">
                    <a16:creationId xmlns:a16="http://schemas.microsoft.com/office/drawing/2014/main" id="{42BA8055-87F2-3770-7223-BAA631654F9E}"/>
                  </a:ext>
                </a:extLst>
              </p:cNvPr>
              <p:cNvSpPr/>
              <p:nvPr/>
            </p:nvSpPr>
            <p:spPr>
              <a:xfrm>
                <a:off x="5943106" y="342824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89" name="Freeform 388">
                <a:extLst>
                  <a:ext uri="{FF2B5EF4-FFF2-40B4-BE49-F238E27FC236}">
                    <a16:creationId xmlns:a16="http://schemas.microsoft.com/office/drawing/2014/main" id="{35BA3C47-A458-4AB1-AF42-2A15D862362C}"/>
                  </a:ext>
                </a:extLst>
              </p:cNvPr>
              <p:cNvSpPr/>
              <p:nvPr/>
            </p:nvSpPr>
            <p:spPr>
              <a:xfrm>
                <a:off x="5943106" y="342824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0" name="Freeform 389">
                <a:extLst>
                  <a:ext uri="{FF2B5EF4-FFF2-40B4-BE49-F238E27FC236}">
                    <a16:creationId xmlns:a16="http://schemas.microsoft.com/office/drawing/2014/main" id="{1E893634-C039-7459-81C6-D6A8C02D5E39}"/>
                  </a:ext>
                </a:extLst>
              </p:cNvPr>
              <p:cNvSpPr/>
              <p:nvPr/>
            </p:nvSpPr>
            <p:spPr>
              <a:xfrm>
                <a:off x="5667993" y="33066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1" name="Freeform 390">
                <a:extLst>
                  <a:ext uri="{FF2B5EF4-FFF2-40B4-BE49-F238E27FC236}">
                    <a16:creationId xmlns:a16="http://schemas.microsoft.com/office/drawing/2014/main" id="{974C06A7-8D42-2BD4-10AF-51DFF6186D80}"/>
                  </a:ext>
                </a:extLst>
              </p:cNvPr>
              <p:cNvSpPr/>
              <p:nvPr/>
            </p:nvSpPr>
            <p:spPr>
              <a:xfrm>
                <a:off x="5667993" y="33066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2" name="Freeform 391">
                <a:extLst>
                  <a:ext uri="{FF2B5EF4-FFF2-40B4-BE49-F238E27FC236}">
                    <a16:creationId xmlns:a16="http://schemas.microsoft.com/office/drawing/2014/main" id="{A2C3D539-08B8-5A0E-AC15-706727B2385B}"/>
                  </a:ext>
                </a:extLst>
              </p:cNvPr>
              <p:cNvSpPr/>
              <p:nvPr/>
            </p:nvSpPr>
            <p:spPr>
              <a:xfrm>
                <a:off x="5395662" y="3058598"/>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3" name="Freeform 392">
                <a:extLst>
                  <a:ext uri="{FF2B5EF4-FFF2-40B4-BE49-F238E27FC236}">
                    <a16:creationId xmlns:a16="http://schemas.microsoft.com/office/drawing/2014/main" id="{99C4D2F9-748C-08B4-1096-DA8045889C59}"/>
                  </a:ext>
                </a:extLst>
              </p:cNvPr>
              <p:cNvSpPr/>
              <p:nvPr/>
            </p:nvSpPr>
            <p:spPr>
              <a:xfrm>
                <a:off x="5395662" y="3058598"/>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4" name="Freeform 393">
                <a:extLst>
                  <a:ext uri="{FF2B5EF4-FFF2-40B4-BE49-F238E27FC236}">
                    <a16:creationId xmlns:a16="http://schemas.microsoft.com/office/drawing/2014/main" id="{326FFA4F-DA8A-3217-0DCD-A3537910A70D}"/>
                  </a:ext>
                </a:extLst>
              </p:cNvPr>
              <p:cNvSpPr/>
              <p:nvPr/>
            </p:nvSpPr>
            <p:spPr>
              <a:xfrm>
                <a:off x="5211988" y="27963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5" name="Freeform 394">
                <a:extLst>
                  <a:ext uri="{FF2B5EF4-FFF2-40B4-BE49-F238E27FC236}">
                    <a16:creationId xmlns:a16="http://schemas.microsoft.com/office/drawing/2014/main" id="{A6AC07CC-F9FC-AAEB-DDC5-98A62104A94C}"/>
                  </a:ext>
                </a:extLst>
              </p:cNvPr>
              <p:cNvSpPr/>
              <p:nvPr/>
            </p:nvSpPr>
            <p:spPr>
              <a:xfrm>
                <a:off x="5211988" y="27963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6" name="Freeform 395">
                <a:extLst>
                  <a:ext uri="{FF2B5EF4-FFF2-40B4-BE49-F238E27FC236}">
                    <a16:creationId xmlns:a16="http://schemas.microsoft.com/office/drawing/2014/main" id="{096E9D39-7B8D-ED10-1AB2-C583341CD3B3}"/>
                  </a:ext>
                </a:extLst>
              </p:cNvPr>
              <p:cNvSpPr/>
              <p:nvPr/>
            </p:nvSpPr>
            <p:spPr>
              <a:xfrm>
                <a:off x="5121741" y="2680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7" name="Freeform 396">
                <a:extLst>
                  <a:ext uri="{FF2B5EF4-FFF2-40B4-BE49-F238E27FC236}">
                    <a16:creationId xmlns:a16="http://schemas.microsoft.com/office/drawing/2014/main" id="{F8AEA5AA-6B94-F2AB-5B6A-21C514D60235}"/>
                  </a:ext>
                </a:extLst>
              </p:cNvPr>
              <p:cNvSpPr/>
              <p:nvPr/>
            </p:nvSpPr>
            <p:spPr>
              <a:xfrm>
                <a:off x="5121741" y="2680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8" name="Freeform 397">
                <a:extLst>
                  <a:ext uri="{FF2B5EF4-FFF2-40B4-BE49-F238E27FC236}">
                    <a16:creationId xmlns:a16="http://schemas.microsoft.com/office/drawing/2014/main" id="{006AE26D-F449-2FF9-C913-BA5C741727C9}"/>
                  </a:ext>
                </a:extLst>
              </p:cNvPr>
              <p:cNvSpPr/>
              <p:nvPr/>
            </p:nvSpPr>
            <p:spPr>
              <a:xfrm>
                <a:off x="5078274" y="269158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99" name="Freeform 398">
                <a:extLst>
                  <a:ext uri="{FF2B5EF4-FFF2-40B4-BE49-F238E27FC236}">
                    <a16:creationId xmlns:a16="http://schemas.microsoft.com/office/drawing/2014/main" id="{2D39595B-E7BD-33C0-F68D-8AF6F27051A2}"/>
                  </a:ext>
                </a:extLst>
              </p:cNvPr>
              <p:cNvSpPr/>
              <p:nvPr/>
            </p:nvSpPr>
            <p:spPr>
              <a:xfrm>
                <a:off x="5078274" y="269158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0" name="Freeform 399">
                <a:extLst>
                  <a:ext uri="{FF2B5EF4-FFF2-40B4-BE49-F238E27FC236}">
                    <a16:creationId xmlns:a16="http://schemas.microsoft.com/office/drawing/2014/main" id="{93C0BA5E-E303-6750-3AA4-8EACD739F999}"/>
                  </a:ext>
                </a:extLst>
              </p:cNvPr>
              <p:cNvSpPr/>
              <p:nvPr/>
            </p:nvSpPr>
            <p:spPr>
              <a:xfrm>
                <a:off x="5033747" y="273608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1" name="Freeform 400">
                <a:extLst>
                  <a:ext uri="{FF2B5EF4-FFF2-40B4-BE49-F238E27FC236}">
                    <a16:creationId xmlns:a16="http://schemas.microsoft.com/office/drawing/2014/main" id="{22F9A3AE-2301-2044-CC2B-9A6541F91350}"/>
                  </a:ext>
                </a:extLst>
              </p:cNvPr>
              <p:cNvSpPr/>
              <p:nvPr/>
            </p:nvSpPr>
            <p:spPr>
              <a:xfrm>
                <a:off x="5033747" y="273608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2" name="Freeform 401">
                <a:extLst>
                  <a:ext uri="{FF2B5EF4-FFF2-40B4-BE49-F238E27FC236}">
                    <a16:creationId xmlns:a16="http://schemas.microsoft.com/office/drawing/2014/main" id="{BE23A328-DC83-CEB8-0DDE-229B3F51E2DC}"/>
                  </a:ext>
                </a:extLst>
              </p:cNvPr>
              <p:cNvSpPr/>
              <p:nvPr/>
            </p:nvSpPr>
            <p:spPr>
              <a:xfrm>
                <a:off x="4987100" y="27730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3" name="Freeform 402">
                <a:extLst>
                  <a:ext uri="{FF2B5EF4-FFF2-40B4-BE49-F238E27FC236}">
                    <a16:creationId xmlns:a16="http://schemas.microsoft.com/office/drawing/2014/main" id="{3E3F03F7-BA8F-E9BB-282E-08C4EFE85B49}"/>
                  </a:ext>
                </a:extLst>
              </p:cNvPr>
              <p:cNvSpPr/>
              <p:nvPr/>
            </p:nvSpPr>
            <p:spPr>
              <a:xfrm>
                <a:off x="4987100" y="277307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4" name="Freeform 403">
                <a:extLst>
                  <a:ext uri="{FF2B5EF4-FFF2-40B4-BE49-F238E27FC236}">
                    <a16:creationId xmlns:a16="http://schemas.microsoft.com/office/drawing/2014/main" id="{A20FD6B9-0DDC-CCA7-5B6D-B411066029AB}"/>
                  </a:ext>
                </a:extLst>
              </p:cNvPr>
              <p:cNvSpPr/>
              <p:nvPr/>
            </p:nvSpPr>
            <p:spPr>
              <a:xfrm>
                <a:off x="4963909" y="278373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5" name="Freeform 404">
                <a:extLst>
                  <a:ext uri="{FF2B5EF4-FFF2-40B4-BE49-F238E27FC236}">
                    <a16:creationId xmlns:a16="http://schemas.microsoft.com/office/drawing/2014/main" id="{31E9C765-8F3C-0416-FB04-305868FFD607}"/>
                  </a:ext>
                </a:extLst>
              </p:cNvPr>
              <p:cNvSpPr/>
              <p:nvPr/>
            </p:nvSpPr>
            <p:spPr>
              <a:xfrm>
                <a:off x="4963909" y="278373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6" name="Freeform 405">
                <a:extLst>
                  <a:ext uri="{FF2B5EF4-FFF2-40B4-BE49-F238E27FC236}">
                    <a16:creationId xmlns:a16="http://schemas.microsoft.com/office/drawing/2014/main" id="{10E1069E-C26D-69F5-7BE6-6A9122EA4BFF}"/>
                  </a:ext>
                </a:extLst>
              </p:cNvPr>
              <p:cNvSpPr/>
              <p:nvPr/>
            </p:nvSpPr>
            <p:spPr>
              <a:xfrm>
                <a:off x="4940982" y="289128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7" name="Freeform 406">
                <a:extLst>
                  <a:ext uri="{FF2B5EF4-FFF2-40B4-BE49-F238E27FC236}">
                    <a16:creationId xmlns:a16="http://schemas.microsoft.com/office/drawing/2014/main" id="{C62FA30F-3A79-4502-8B10-7D483F2D481B}"/>
                  </a:ext>
                </a:extLst>
              </p:cNvPr>
              <p:cNvSpPr/>
              <p:nvPr/>
            </p:nvSpPr>
            <p:spPr>
              <a:xfrm>
                <a:off x="4940982" y="289128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8" name="Freeform 407">
                <a:extLst>
                  <a:ext uri="{FF2B5EF4-FFF2-40B4-BE49-F238E27FC236}">
                    <a16:creationId xmlns:a16="http://schemas.microsoft.com/office/drawing/2014/main" id="{7E157A40-667B-57F1-BB63-8062451D16E1}"/>
                  </a:ext>
                </a:extLst>
              </p:cNvPr>
              <p:cNvSpPr/>
              <p:nvPr/>
            </p:nvSpPr>
            <p:spPr>
              <a:xfrm>
                <a:off x="4918984" y="298935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09" name="Freeform 408">
                <a:extLst>
                  <a:ext uri="{FF2B5EF4-FFF2-40B4-BE49-F238E27FC236}">
                    <a16:creationId xmlns:a16="http://schemas.microsoft.com/office/drawing/2014/main" id="{9B81C286-C8E5-9DED-D795-880EAE8EAE62}"/>
                  </a:ext>
                </a:extLst>
              </p:cNvPr>
              <p:cNvSpPr/>
              <p:nvPr/>
            </p:nvSpPr>
            <p:spPr>
              <a:xfrm>
                <a:off x="4918984" y="298935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0" name="Freeform 409">
                <a:extLst>
                  <a:ext uri="{FF2B5EF4-FFF2-40B4-BE49-F238E27FC236}">
                    <a16:creationId xmlns:a16="http://schemas.microsoft.com/office/drawing/2014/main" id="{3EB30213-6F3A-0CC9-75D7-D9239B3F17EE}"/>
                  </a:ext>
                </a:extLst>
              </p:cNvPr>
              <p:cNvSpPr/>
              <p:nvPr/>
            </p:nvSpPr>
            <p:spPr>
              <a:xfrm>
                <a:off x="4893937" y="3255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1" name="Freeform 410">
                <a:extLst>
                  <a:ext uri="{FF2B5EF4-FFF2-40B4-BE49-F238E27FC236}">
                    <a16:creationId xmlns:a16="http://schemas.microsoft.com/office/drawing/2014/main" id="{3047E427-8FF4-94F0-FA35-525BF511FECC}"/>
                  </a:ext>
                </a:extLst>
              </p:cNvPr>
              <p:cNvSpPr/>
              <p:nvPr/>
            </p:nvSpPr>
            <p:spPr>
              <a:xfrm>
                <a:off x="4893937" y="325566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2" name="Freeform 411">
                <a:extLst>
                  <a:ext uri="{FF2B5EF4-FFF2-40B4-BE49-F238E27FC236}">
                    <a16:creationId xmlns:a16="http://schemas.microsoft.com/office/drawing/2014/main" id="{42FA8EA5-C359-585C-29BF-476EECFB9827}"/>
                  </a:ext>
                </a:extLst>
              </p:cNvPr>
              <p:cNvSpPr/>
              <p:nvPr/>
            </p:nvSpPr>
            <p:spPr>
              <a:xfrm>
                <a:off x="4871806" y="347155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3" name="Freeform 412">
                <a:extLst>
                  <a:ext uri="{FF2B5EF4-FFF2-40B4-BE49-F238E27FC236}">
                    <a16:creationId xmlns:a16="http://schemas.microsoft.com/office/drawing/2014/main" id="{286FC7CC-41CC-45D3-F297-136751B2C38A}"/>
                  </a:ext>
                </a:extLst>
              </p:cNvPr>
              <p:cNvSpPr/>
              <p:nvPr/>
            </p:nvSpPr>
            <p:spPr>
              <a:xfrm>
                <a:off x="4871806" y="347155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4" name="Freeform 413">
                <a:extLst>
                  <a:ext uri="{FF2B5EF4-FFF2-40B4-BE49-F238E27FC236}">
                    <a16:creationId xmlns:a16="http://schemas.microsoft.com/office/drawing/2014/main" id="{9873607A-B6B2-B7C7-1AB7-FF56E5D4CFE8}"/>
                  </a:ext>
                </a:extLst>
              </p:cNvPr>
              <p:cNvSpPr/>
              <p:nvPr/>
            </p:nvSpPr>
            <p:spPr>
              <a:xfrm>
                <a:off x="4862265" y="3543557"/>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5" name="Freeform 414">
                <a:extLst>
                  <a:ext uri="{FF2B5EF4-FFF2-40B4-BE49-F238E27FC236}">
                    <a16:creationId xmlns:a16="http://schemas.microsoft.com/office/drawing/2014/main" id="{425A4065-BE09-80A6-A440-DDA6B6402923}"/>
                  </a:ext>
                </a:extLst>
              </p:cNvPr>
              <p:cNvSpPr/>
              <p:nvPr/>
            </p:nvSpPr>
            <p:spPr>
              <a:xfrm>
                <a:off x="4862265" y="3543557"/>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6" name="Freeform 415">
                <a:extLst>
                  <a:ext uri="{FF2B5EF4-FFF2-40B4-BE49-F238E27FC236}">
                    <a16:creationId xmlns:a16="http://schemas.microsoft.com/office/drawing/2014/main" id="{824BB76A-DFA2-1BAE-E6B8-CE038983C58D}"/>
                  </a:ext>
                </a:extLst>
              </p:cNvPr>
              <p:cNvSpPr/>
              <p:nvPr/>
            </p:nvSpPr>
            <p:spPr>
              <a:xfrm>
                <a:off x="4854314" y="360937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7" name="Freeform 416">
                <a:extLst>
                  <a:ext uri="{FF2B5EF4-FFF2-40B4-BE49-F238E27FC236}">
                    <a16:creationId xmlns:a16="http://schemas.microsoft.com/office/drawing/2014/main" id="{6DC81EF8-0F5B-424C-7BB6-653764DCEBB4}"/>
                  </a:ext>
                </a:extLst>
              </p:cNvPr>
              <p:cNvSpPr/>
              <p:nvPr/>
            </p:nvSpPr>
            <p:spPr>
              <a:xfrm>
                <a:off x="4854314" y="360937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8" name="Freeform 417">
                <a:extLst>
                  <a:ext uri="{FF2B5EF4-FFF2-40B4-BE49-F238E27FC236}">
                    <a16:creationId xmlns:a16="http://schemas.microsoft.com/office/drawing/2014/main" id="{A8FCEE5D-A678-E162-C7C9-D90597B01899}"/>
                  </a:ext>
                </a:extLst>
              </p:cNvPr>
              <p:cNvSpPr/>
              <p:nvPr/>
            </p:nvSpPr>
            <p:spPr>
              <a:xfrm>
                <a:off x="4844640" y="350301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19" name="Freeform 418">
                <a:extLst>
                  <a:ext uri="{FF2B5EF4-FFF2-40B4-BE49-F238E27FC236}">
                    <a16:creationId xmlns:a16="http://schemas.microsoft.com/office/drawing/2014/main" id="{1A7DB71A-3D28-A780-D7F1-1020F2FC99CD}"/>
                  </a:ext>
                </a:extLst>
              </p:cNvPr>
              <p:cNvSpPr/>
              <p:nvPr/>
            </p:nvSpPr>
            <p:spPr>
              <a:xfrm>
                <a:off x="4844640" y="3503012"/>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48" name="object 202">
                <a:extLst>
                  <a:ext uri="{FF2B5EF4-FFF2-40B4-BE49-F238E27FC236}">
                    <a16:creationId xmlns:a16="http://schemas.microsoft.com/office/drawing/2014/main" id="{CAF07BD4-B349-6C9C-034B-DCF161260B05}"/>
                  </a:ext>
                </a:extLst>
              </p:cNvPr>
              <p:cNvSpPr txBox="1"/>
              <p:nvPr/>
            </p:nvSpPr>
            <p:spPr>
              <a:xfrm>
                <a:off x="4583722" y="2356962"/>
                <a:ext cx="1734449" cy="120546"/>
              </a:xfrm>
              <a:prstGeom prst="rect">
                <a:avLst/>
              </a:prstGeom>
            </p:spPr>
            <p:txBody>
              <a:bodyPr vert="horz" wrap="none" lIns="0" tIns="12700" rIns="0" bIns="0" rtlCol="0">
                <a:spAutoFit/>
              </a:bodyPr>
              <a:lstStyle/>
              <a:p>
                <a:pPr algn="ctr">
                  <a:lnSpc>
                    <a:spcPct val="100000"/>
                  </a:lnSpc>
                  <a:spcBef>
                    <a:spcPts val="100"/>
                  </a:spcBef>
                </a:pPr>
                <a:r>
                  <a:rPr sz="700" b="1" dirty="0">
                    <a:solidFill>
                      <a:schemeClr val="accent1"/>
                    </a:solidFill>
                    <a:latin typeface="Arial"/>
                    <a:cs typeface="Arial"/>
                  </a:rPr>
                  <a:t>P</a:t>
                </a:r>
                <a:r>
                  <a:rPr lang="de-DE" sz="700" b="1" dirty="0">
                    <a:solidFill>
                      <a:schemeClr val="accent1"/>
                    </a:solidFill>
                    <a:latin typeface="Arial"/>
                    <a:cs typeface="Arial"/>
                  </a:rPr>
                  <a:t>D – </a:t>
                </a:r>
                <a:r>
                  <a:rPr lang="en-GB" sz="700" b="1" dirty="0">
                    <a:solidFill>
                      <a:schemeClr val="accent1"/>
                    </a:solidFill>
                    <a:latin typeface="Arial"/>
                    <a:cs typeface="Arial"/>
                  </a:rPr>
                  <a:t>what the medicine does in the body</a:t>
                </a:r>
              </a:p>
            </p:txBody>
          </p:sp>
          <p:sp>
            <p:nvSpPr>
              <p:cNvPr id="457" name="TextBox 456">
                <a:extLst>
                  <a:ext uri="{FF2B5EF4-FFF2-40B4-BE49-F238E27FC236}">
                    <a16:creationId xmlns:a16="http://schemas.microsoft.com/office/drawing/2014/main" id="{3B6A3669-2537-6F47-274A-573777AD0C35}"/>
                  </a:ext>
                </a:extLst>
              </p:cNvPr>
              <p:cNvSpPr txBox="1"/>
              <p:nvPr/>
            </p:nvSpPr>
            <p:spPr>
              <a:xfrm rot="16200000">
                <a:off x="4217090" y="3119553"/>
                <a:ext cx="873637" cy="76944"/>
              </a:xfrm>
              <a:prstGeom prst="rect">
                <a:avLst/>
              </a:prstGeom>
              <a:noFill/>
            </p:spPr>
            <p:txBody>
              <a:bodyPr wrap="none" lIns="0" tIns="0" rIns="0" bIns="0" rtlCol="0">
                <a:spAutoFit/>
              </a:bodyPr>
              <a:lstStyle/>
              <a:p>
                <a:pPr algn="ctr"/>
                <a:r>
                  <a:rPr lang="en-US" sz="500" dirty="0">
                    <a:ln/>
                    <a:solidFill>
                      <a:srgbClr val="000000"/>
                    </a:solidFill>
                    <a:latin typeface="Arial" panose="020B0604020202020204" pitchFamily="34" charset="0"/>
                    <a:cs typeface="Arial" panose="020B0604020202020204" pitchFamily="34" charset="0"/>
                    <a:sym typeface="Arial"/>
                    <a:rtl val="0"/>
                  </a:rPr>
                  <a:t>Geometric mean ANC (x10</a:t>
                </a:r>
                <a:r>
                  <a:rPr lang="en-US" sz="500" baseline="30000" dirty="0">
                    <a:ln/>
                    <a:solidFill>
                      <a:srgbClr val="000000"/>
                    </a:solidFill>
                    <a:latin typeface="Arial" panose="020B0604020202020204" pitchFamily="34" charset="0"/>
                    <a:cs typeface="Arial" panose="020B0604020202020204" pitchFamily="34" charset="0"/>
                    <a:sym typeface="Arial"/>
                    <a:rtl val="0"/>
                  </a:rPr>
                  <a:t>9</a:t>
                </a:r>
                <a:r>
                  <a:rPr lang="en-US" sz="500" dirty="0">
                    <a:ln/>
                    <a:solidFill>
                      <a:srgbClr val="000000"/>
                    </a:solidFill>
                    <a:latin typeface="Arial" panose="020B0604020202020204" pitchFamily="34" charset="0"/>
                    <a:cs typeface="Arial" panose="020B0604020202020204" pitchFamily="34" charset="0"/>
                    <a:sym typeface="Arial"/>
                    <a:rtl val="0"/>
                  </a:rPr>
                  <a:t>/L)</a:t>
                </a:r>
              </a:p>
            </p:txBody>
          </p:sp>
        </p:grpSp>
        <p:grpSp>
          <p:nvGrpSpPr>
            <p:cNvPr id="466" name="Group 465">
              <a:extLst>
                <a:ext uri="{FF2B5EF4-FFF2-40B4-BE49-F238E27FC236}">
                  <a16:creationId xmlns:a16="http://schemas.microsoft.com/office/drawing/2014/main" id="{41C8B324-BB03-EE0D-F79A-A730CF7AB27A}"/>
                </a:ext>
              </a:extLst>
            </p:cNvPr>
            <p:cNvGrpSpPr/>
            <p:nvPr/>
          </p:nvGrpSpPr>
          <p:grpSpPr>
            <a:xfrm>
              <a:off x="6341297" y="2349387"/>
              <a:ext cx="1773433" cy="1497297"/>
              <a:chOff x="6341297" y="2349387"/>
              <a:chExt cx="1773433" cy="1497297"/>
            </a:xfrm>
          </p:grpSpPr>
          <p:sp>
            <p:nvSpPr>
              <p:cNvPr id="262" name="TextBox 261">
                <a:extLst>
                  <a:ext uri="{FF2B5EF4-FFF2-40B4-BE49-F238E27FC236}">
                    <a16:creationId xmlns:a16="http://schemas.microsoft.com/office/drawing/2014/main" id="{8C9D836B-9E68-C2DF-D132-3983105F9C53}"/>
                  </a:ext>
                </a:extLst>
              </p:cNvPr>
              <p:cNvSpPr txBox="1"/>
              <p:nvPr/>
            </p:nvSpPr>
            <p:spPr>
              <a:xfrm>
                <a:off x="7348687" y="3769740"/>
                <a:ext cx="113814"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Day</a:t>
                </a:r>
              </a:p>
            </p:txBody>
          </p:sp>
          <p:sp>
            <p:nvSpPr>
              <p:cNvPr id="265" name="Freeform 264">
                <a:extLst>
                  <a:ext uri="{FF2B5EF4-FFF2-40B4-BE49-F238E27FC236}">
                    <a16:creationId xmlns:a16="http://schemas.microsoft.com/office/drawing/2014/main" id="{DF0EFE21-F3C8-544D-4E29-99592A161D76}"/>
                  </a:ext>
                </a:extLst>
              </p:cNvPr>
              <p:cNvSpPr/>
              <p:nvPr/>
            </p:nvSpPr>
            <p:spPr>
              <a:xfrm>
                <a:off x="6664551" y="3625568"/>
                <a:ext cx="1416252" cy="13163"/>
              </a:xfrm>
              <a:custGeom>
                <a:avLst/>
                <a:gdLst>
                  <a:gd name="connsiteX0" fmla="*/ 0 w 1416252"/>
                  <a:gd name="connsiteY0" fmla="*/ 0 h 13163"/>
                  <a:gd name="connsiteX1" fmla="*/ 1416253 w 1416252"/>
                  <a:gd name="connsiteY1" fmla="*/ 0 h 13163"/>
                </a:gdLst>
                <a:ahLst/>
                <a:cxnLst>
                  <a:cxn ang="0">
                    <a:pos x="connsiteX0" y="connsiteY0"/>
                  </a:cxn>
                  <a:cxn ang="0">
                    <a:pos x="connsiteX1" y="connsiteY1"/>
                  </a:cxn>
                </a:cxnLst>
                <a:rect l="l" t="t" r="r" b="b"/>
                <a:pathLst>
                  <a:path w="1416252" h="13163">
                    <a:moveTo>
                      <a:pt x="0" y="0"/>
                    </a:moveTo>
                    <a:lnTo>
                      <a:pt x="1416253"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6" name="Freeform 265">
                <a:extLst>
                  <a:ext uri="{FF2B5EF4-FFF2-40B4-BE49-F238E27FC236}">
                    <a16:creationId xmlns:a16="http://schemas.microsoft.com/office/drawing/2014/main" id="{19D81FBD-2BC8-1BB6-3495-E6E3DAB5A5B3}"/>
                  </a:ext>
                </a:extLst>
              </p:cNvPr>
              <p:cNvSpPr/>
              <p:nvPr/>
            </p:nvSpPr>
            <p:spPr>
              <a:xfrm>
                <a:off x="6639240" y="3601346"/>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7" name="Freeform 266">
                <a:extLst>
                  <a:ext uri="{FF2B5EF4-FFF2-40B4-BE49-F238E27FC236}">
                    <a16:creationId xmlns:a16="http://schemas.microsoft.com/office/drawing/2014/main" id="{D1997068-8D9F-5EA1-12D1-EA263EAD56A6}"/>
                  </a:ext>
                </a:extLst>
              </p:cNvPr>
              <p:cNvSpPr/>
              <p:nvPr/>
            </p:nvSpPr>
            <p:spPr>
              <a:xfrm>
                <a:off x="6639240" y="3281200"/>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8" name="Freeform 267">
                <a:extLst>
                  <a:ext uri="{FF2B5EF4-FFF2-40B4-BE49-F238E27FC236}">
                    <a16:creationId xmlns:a16="http://schemas.microsoft.com/office/drawing/2014/main" id="{9A79D4B7-5E3F-5507-1BF9-260750315B4D}"/>
                  </a:ext>
                </a:extLst>
              </p:cNvPr>
              <p:cNvSpPr/>
              <p:nvPr/>
            </p:nvSpPr>
            <p:spPr>
              <a:xfrm>
                <a:off x="6639240" y="3441273"/>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69" name="Freeform 268">
                <a:extLst>
                  <a:ext uri="{FF2B5EF4-FFF2-40B4-BE49-F238E27FC236}">
                    <a16:creationId xmlns:a16="http://schemas.microsoft.com/office/drawing/2014/main" id="{BA30CE57-FBFC-710D-A333-BDF0FF845FC5}"/>
                  </a:ext>
                </a:extLst>
              </p:cNvPr>
              <p:cNvSpPr/>
              <p:nvPr/>
            </p:nvSpPr>
            <p:spPr>
              <a:xfrm>
                <a:off x="6639240" y="3120995"/>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0" name="Freeform 269">
                <a:extLst>
                  <a:ext uri="{FF2B5EF4-FFF2-40B4-BE49-F238E27FC236}">
                    <a16:creationId xmlns:a16="http://schemas.microsoft.com/office/drawing/2014/main" id="{B0237849-7806-E2FA-183C-69202962795F}"/>
                  </a:ext>
                </a:extLst>
              </p:cNvPr>
              <p:cNvSpPr/>
              <p:nvPr/>
            </p:nvSpPr>
            <p:spPr>
              <a:xfrm>
                <a:off x="6639240" y="2960922"/>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1" name="Freeform 270">
                <a:extLst>
                  <a:ext uri="{FF2B5EF4-FFF2-40B4-BE49-F238E27FC236}">
                    <a16:creationId xmlns:a16="http://schemas.microsoft.com/office/drawing/2014/main" id="{90F1DF28-47A6-08A5-F6F5-459201F05462}"/>
                  </a:ext>
                </a:extLst>
              </p:cNvPr>
              <p:cNvSpPr/>
              <p:nvPr/>
            </p:nvSpPr>
            <p:spPr>
              <a:xfrm>
                <a:off x="6639240" y="2640775"/>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2" name="Freeform 271">
                <a:extLst>
                  <a:ext uri="{FF2B5EF4-FFF2-40B4-BE49-F238E27FC236}">
                    <a16:creationId xmlns:a16="http://schemas.microsoft.com/office/drawing/2014/main" id="{6783E54D-E2B5-A71B-B6E8-8A6AFDF63B65}"/>
                  </a:ext>
                </a:extLst>
              </p:cNvPr>
              <p:cNvSpPr/>
              <p:nvPr/>
            </p:nvSpPr>
            <p:spPr>
              <a:xfrm>
                <a:off x="6639240" y="2800849"/>
                <a:ext cx="27166" cy="13163"/>
              </a:xfrm>
              <a:custGeom>
                <a:avLst/>
                <a:gdLst>
                  <a:gd name="connsiteX0" fmla="*/ 0 w 27166"/>
                  <a:gd name="connsiteY0" fmla="*/ 0 h 13163"/>
                  <a:gd name="connsiteX1" fmla="*/ 27167 w 27166"/>
                  <a:gd name="connsiteY1" fmla="*/ 0 h 13163"/>
                </a:gdLst>
                <a:ahLst/>
                <a:cxnLst>
                  <a:cxn ang="0">
                    <a:pos x="connsiteX0" y="connsiteY0"/>
                  </a:cxn>
                  <a:cxn ang="0">
                    <a:pos x="connsiteX1" y="connsiteY1"/>
                  </a:cxn>
                </a:cxnLst>
                <a:rect l="l" t="t" r="r" b="b"/>
                <a:pathLst>
                  <a:path w="27166" h="13163">
                    <a:moveTo>
                      <a:pt x="0" y="0"/>
                    </a:moveTo>
                    <a:lnTo>
                      <a:pt x="27167" y="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73" name="Freeform 272">
                <a:extLst>
                  <a:ext uri="{FF2B5EF4-FFF2-40B4-BE49-F238E27FC236}">
                    <a16:creationId xmlns:a16="http://schemas.microsoft.com/office/drawing/2014/main" id="{03622C87-EFE6-F1B6-890B-131B9BC7614D}"/>
                  </a:ext>
                </a:extLst>
              </p:cNvPr>
              <p:cNvSpPr/>
              <p:nvPr/>
            </p:nvSpPr>
            <p:spPr>
              <a:xfrm>
                <a:off x="6666539" y="2638538"/>
                <a:ext cx="13252" cy="987820"/>
              </a:xfrm>
              <a:custGeom>
                <a:avLst/>
                <a:gdLst>
                  <a:gd name="connsiteX0" fmla="*/ 0 w 13252"/>
                  <a:gd name="connsiteY0" fmla="*/ 0 h 987820"/>
                  <a:gd name="connsiteX1" fmla="*/ 0 w 13252"/>
                  <a:gd name="connsiteY1" fmla="*/ 987820 h 987820"/>
                </a:gdLst>
                <a:ahLst/>
                <a:cxnLst>
                  <a:cxn ang="0">
                    <a:pos x="connsiteX0" y="connsiteY0"/>
                  </a:cxn>
                  <a:cxn ang="0">
                    <a:pos x="connsiteX1" y="connsiteY1"/>
                  </a:cxn>
                </a:cxnLst>
                <a:rect l="l" t="t" r="r" b="b"/>
                <a:pathLst>
                  <a:path w="13252" h="987820">
                    <a:moveTo>
                      <a:pt x="0" y="0"/>
                    </a:moveTo>
                    <a:lnTo>
                      <a:pt x="0" y="987820"/>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grpSp>
            <p:nvGrpSpPr>
              <p:cNvPr id="451" name="Group 450">
                <a:extLst>
                  <a:ext uri="{FF2B5EF4-FFF2-40B4-BE49-F238E27FC236}">
                    <a16:creationId xmlns:a16="http://schemas.microsoft.com/office/drawing/2014/main" id="{B820FC32-EF5D-7EF2-FAD7-DBE65338E1AD}"/>
                  </a:ext>
                </a:extLst>
              </p:cNvPr>
              <p:cNvGrpSpPr/>
              <p:nvPr/>
            </p:nvGrpSpPr>
            <p:grpSpPr>
              <a:xfrm>
                <a:off x="6696459" y="3666197"/>
                <a:ext cx="1418271" cy="76944"/>
                <a:chOff x="6606904" y="3666197"/>
                <a:chExt cx="1418271" cy="76944"/>
              </a:xfrm>
            </p:grpSpPr>
            <p:sp>
              <p:nvSpPr>
                <p:cNvPr id="276" name="TextBox 275">
                  <a:extLst>
                    <a:ext uri="{FF2B5EF4-FFF2-40B4-BE49-F238E27FC236}">
                      <a16:creationId xmlns:a16="http://schemas.microsoft.com/office/drawing/2014/main" id="{FEB8301B-C486-F8D2-6C5A-ED92610CE196}"/>
                    </a:ext>
                  </a:extLst>
                </p:cNvPr>
                <p:cNvSpPr txBox="1"/>
                <p:nvPr/>
              </p:nvSpPr>
              <p:spPr>
                <a:xfrm>
                  <a:off x="7954643"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1</a:t>
                  </a:r>
                </a:p>
              </p:txBody>
            </p:sp>
            <p:sp>
              <p:nvSpPr>
                <p:cNvPr id="277" name="TextBox 276">
                  <a:extLst>
                    <a:ext uri="{FF2B5EF4-FFF2-40B4-BE49-F238E27FC236}">
                      <a16:creationId xmlns:a16="http://schemas.microsoft.com/office/drawing/2014/main" id="{9ABEE2D4-5789-458E-63CC-853E69D7A7D7}"/>
                    </a:ext>
                  </a:extLst>
                </p:cNvPr>
                <p:cNvSpPr txBox="1"/>
                <p:nvPr/>
              </p:nvSpPr>
              <p:spPr>
                <a:xfrm>
                  <a:off x="6606904"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a:t>
                  </a:r>
                </a:p>
              </p:txBody>
            </p:sp>
            <p:sp>
              <p:nvSpPr>
                <p:cNvPr id="278" name="TextBox 277">
                  <a:extLst>
                    <a:ext uri="{FF2B5EF4-FFF2-40B4-BE49-F238E27FC236}">
                      <a16:creationId xmlns:a16="http://schemas.microsoft.com/office/drawing/2014/main" id="{1CC86A4F-2C5F-06DD-613F-20C1E34091A9}"/>
                    </a:ext>
                  </a:extLst>
                </p:cNvPr>
                <p:cNvSpPr txBox="1"/>
                <p:nvPr/>
              </p:nvSpPr>
              <p:spPr>
                <a:xfrm>
                  <a:off x="6871681" y="3666197"/>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279" name="TextBox 278">
                  <a:extLst>
                    <a:ext uri="{FF2B5EF4-FFF2-40B4-BE49-F238E27FC236}">
                      <a16:creationId xmlns:a16="http://schemas.microsoft.com/office/drawing/2014/main" id="{356142BA-3160-BDD0-30C3-04D6220E34D5}"/>
                    </a:ext>
                  </a:extLst>
                </p:cNvPr>
                <p:cNvSpPr txBox="1"/>
                <p:nvPr/>
              </p:nvSpPr>
              <p:spPr>
                <a:xfrm>
                  <a:off x="7206430"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sp>
              <p:nvSpPr>
                <p:cNvPr id="280" name="TextBox 279">
                  <a:extLst>
                    <a:ext uri="{FF2B5EF4-FFF2-40B4-BE49-F238E27FC236}">
                      <a16:creationId xmlns:a16="http://schemas.microsoft.com/office/drawing/2014/main" id="{0499486E-0E8E-D896-68EB-7722518B4E59}"/>
                    </a:ext>
                  </a:extLst>
                </p:cNvPr>
                <p:cNvSpPr txBox="1"/>
                <p:nvPr/>
              </p:nvSpPr>
              <p:spPr>
                <a:xfrm>
                  <a:off x="7548864" y="366619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a:t>
                  </a:r>
                </a:p>
              </p:txBody>
            </p:sp>
          </p:grpSp>
          <p:grpSp>
            <p:nvGrpSpPr>
              <p:cNvPr id="455" name="Group 454">
                <a:extLst>
                  <a:ext uri="{FF2B5EF4-FFF2-40B4-BE49-F238E27FC236}">
                    <a16:creationId xmlns:a16="http://schemas.microsoft.com/office/drawing/2014/main" id="{FAF46728-102A-F972-123D-F2C23F0949B6}"/>
                  </a:ext>
                </a:extLst>
              </p:cNvPr>
              <p:cNvGrpSpPr/>
              <p:nvPr/>
            </p:nvGrpSpPr>
            <p:grpSpPr>
              <a:xfrm>
                <a:off x="6528866" y="2601696"/>
                <a:ext cx="92796" cy="1038937"/>
                <a:chOff x="6451059" y="2536079"/>
                <a:chExt cx="92796" cy="1038937"/>
              </a:xfrm>
            </p:grpSpPr>
            <p:sp>
              <p:nvSpPr>
                <p:cNvPr id="274" name="TextBox 273">
                  <a:extLst>
                    <a:ext uri="{FF2B5EF4-FFF2-40B4-BE49-F238E27FC236}">
                      <a16:creationId xmlns:a16="http://schemas.microsoft.com/office/drawing/2014/main" id="{E51C44B8-35AF-74E1-DCDB-F35386CBAD0D}"/>
                    </a:ext>
                  </a:extLst>
                </p:cNvPr>
                <p:cNvSpPr txBox="1"/>
                <p:nvPr/>
              </p:nvSpPr>
              <p:spPr>
                <a:xfrm>
                  <a:off x="6451059" y="2536079"/>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30</a:t>
                  </a:r>
                </a:p>
              </p:txBody>
            </p:sp>
            <p:sp>
              <p:nvSpPr>
                <p:cNvPr id="275" name="TextBox 274">
                  <a:extLst>
                    <a:ext uri="{FF2B5EF4-FFF2-40B4-BE49-F238E27FC236}">
                      <a16:creationId xmlns:a16="http://schemas.microsoft.com/office/drawing/2014/main" id="{69A69EFD-C9CD-A585-335E-16F1423016A3}"/>
                    </a:ext>
                  </a:extLst>
                </p:cNvPr>
                <p:cNvSpPr txBox="1"/>
                <p:nvPr/>
              </p:nvSpPr>
              <p:spPr>
                <a:xfrm>
                  <a:off x="6456493" y="2696411"/>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5</a:t>
                  </a:r>
                </a:p>
              </p:txBody>
            </p:sp>
            <p:sp>
              <p:nvSpPr>
                <p:cNvPr id="285" name="TextBox 284">
                  <a:extLst>
                    <a:ext uri="{FF2B5EF4-FFF2-40B4-BE49-F238E27FC236}">
                      <a16:creationId xmlns:a16="http://schemas.microsoft.com/office/drawing/2014/main" id="{CC0E11C2-073B-725B-CAF6-984AED4A45FF}"/>
                    </a:ext>
                  </a:extLst>
                </p:cNvPr>
                <p:cNvSpPr txBox="1"/>
                <p:nvPr/>
              </p:nvSpPr>
              <p:spPr>
                <a:xfrm>
                  <a:off x="6451987" y="2856743"/>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20</a:t>
                  </a:r>
                </a:p>
              </p:txBody>
            </p:sp>
            <p:sp>
              <p:nvSpPr>
                <p:cNvPr id="286" name="TextBox 285">
                  <a:extLst>
                    <a:ext uri="{FF2B5EF4-FFF2-40B4-BE49-F238E27FC236}">
                      <a16:creationId xmlns:a16="http://schemas.microsoft.com/office/drawing/2014/main" id="{D92E6DCE-6875-ED40-F31D-2D7C4858B6A0}"/>
                    </a:ext>
                  </a:extLst>
                </p:cNvPr>
                <p:cNvSpPr txBox="1"/>
                <p:nvPr/>
              </p:nvSpPr>
              <p:spPr>
                <a:xfrm>
                  <a:off x="6473323" y="3017075"/>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5</a:t>
                  </a:r>
                </a:p>
              </p:txBody>
            </p:sp>
            <p:sp>
              <p:nvSpPr>
                <p:cNvPr id="287" name="TextBox 286">
                  <a:extLst>
                    <a:ext uri="{FF2B5EF4-FFF2-40B4-BE49-F238E27FC236}">
                      <a16:creationId xmlns:a16="http://schemas.microsoft.com/office/drawing/2014/main" id="{D16D0382-9026-0E33-771E-88AA7A520895}"/>
                    </a:ext>
                  </a:extLst>
                </p:cNvPr>
                <p:cNvSpPr txBox="1"/>
                <p:nvPr/>
              </p:nvSpPr>
              <p:spPr>
                <a:xfrm>
                  <a:off x="6469082" y="3177407"/>
                  <a:ext cx="70532"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10</a:t>
                  </a:r>
                </a:p>
              </p:txBody>
            </p:sp>
            <p:sp>
              <p:nvSpPr>
                <p:cNvPr id="288" name="TextBox 287">
                  <a:extLst>
                    <a:ext uri="{FF2B5EF4-FFF2-40B4-BE49-F238E27FC236}">
                      <a16:creationId xmlns:a16="http://schemas.microsoft.com/office/drawing/2014/main" id="{39B5022F-C5BE-AD88-6D21-06E6EFEE2F7A}"/>
                    </a:ext>
                  </a:extLst>
                </p:cNvPr>
                <p:cNvSpPr txBox="1"/>
                <p:nvPr/>
              </p:nvSpPr>
              <p:spPr>
                <a:xfrm>
                  <a:off x="6492936" y="3337739"/>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5</a:t>
                  </a:r>
                </a:p>
              </p:txBody>
            </p:sp>
            <p:sp>
              <p:nvSpPr>
                <p:cNvPr id="289" name="TextBox 288">
                  <a:extLst>
                    <a:ext uri="{FF2B5EF4-FFF2-40B4-BE49-F238E27FC236}">
                      <a16:creationId xmlns:a16="http://schemas.microsoft.com/office/drawing/2014/main" id="{0D180D03-16F3-7D3B-08DE-5B1D82B02E88}"/>
                    </a:ext>
                  </a:extLst>
                </p:cNvPr>
                <p:cNvSpPr txBox="1"/>
                <p:nvPr/>
              </p:nvSpPr>
              <p:spPr>
                <a:xfrm>
                  <a:off x="6488563" y="3498072"/>
                  <a:ext cx="35266" cy="76944"/>
                </a:xfrm>
                <a:prstGeom prst="rect">
                  <a:avLst/>
                </a:prstGeom>
                <a:noFill/>
              </p:spPr>
              <p:txBody>
                <a:bodyPr wrap="none" lIns="0" tIns="0" rIns="0" bIns="0" rtlCol="0">
                  <a:spAutoFit/>
                </a:bodyPr>
                <a:lstStyle/>
                <a:p>
                  <a:pPr algn="l"/>
                  <a:r>
                    <a:rPr lang="en-US" sz="500" spc="0" baseline="0">
                      <a:ln/>
                      <a:solidFill>
                        <a:srgbClr val="000000"/>
                      </a:solidFill>
                      <a:latin typeface="Arial" panose="020B0604020202020204" pitchFamily="34" charset="0"/>
                      <a:cs typeface="Arial" panose="020B0604020202020204" pitchFamily="34" charset="0"/>
                      <a:sym typeface="Arial"/>
                      <a:rtl val="0"/>
                    </a:rPr>
                    <a:t>0</a:t>
                  </a:r>
                </a:p>
              </p:txBody>
            </p:sp>
          </p:grpSp>
          <p:sp>
            <p:nvSpPr>
              <p:cNvPr id="290" name="TextBox 289">
                <a:extLst>
                  <a:ext uri="{FF2B5EF4-FFF2-40B4-BE49-F238E27FC236}">
                    <a16:creationId xmlns:a16="http://schemas.microsoft.com/office/drawing/2014/main" id="{F3E2429B-F6D5-AB5A-14DE-ED0C4A9B655F}"/>
                  </a:ext>
                </a:extLst>
              </p:cNvPr>
              <p:cNvSpPr txBox="1"/>
              <p:nvPr/>
            </p:nvSpPr>
            <p:spPr>
              <a:xfrm>
                <a:off x="7264313" y="2684996"/>
                <a:ext cx="751809" cy="76944"/>
              </a:xfrm>
              <a:prstGeom prst="rect">
                <a:avLst/>
              </a:prstGeom>
              <a:noFill/>
            </p:spPr>
            <p:txBody>
              <a:bodyPr wrap="none" lIns="0" tIns="0" rIns="0" bIns="0" rtlCol="0">
                <a:spAutoFit/>
              </a:bodyPr>
              <a:lstStyle/>
              <a:p>
                <a:pPr algn="l"/>
                <a:r>
                  <a:rPr lang="en-US" sz="500" spc="0" baseline="0">
                    <a:ln/>
                    <a:solidFill>
                      <a:schemeClr val="accent2"/>
                    </a:solidFill>
                    <a:latin typeface="Arial" panose="020B0604020202020204" pitchFamily="34" charset="0"/>
                    <a:cs typeface="Arial" panose="020B0604020202020204" pitchFamily="34" charset="0"/>
                    <a:sym typeface="Arial"/>
                    <a:rtl val="0"/>
                  </a:rPr>
                  <a:t>Biosimilar medicine (n=97)</a:t>
                </a:r>
              </a:p>
            </p:txBody>
          </p:sp>
          <p:sp>
            <p:nvSpPr>
              <p:cNvPr id="294" name="Freeform 293">
                <a:extLst>
                  <a:ext uri="{FF2B5EF4-FFF2-40B4-BE49-F238E27FC236}">
                    <a16:creationId xmlns:a16="http://schemas.microsoft.com/office/drawing/2014/main" id="{47FE9626-6AB4-DFA6-258B-F5DF0D3DA75F}"/>
                  </a:ext>
                </a:extLst>
              </p:cNvPr>
              <p:cNvSpPr/>
              <p:nvPr/>
            </p:nvSpPr>
            <p:spPr>
              <a:xfrm>
                <a:off x="7085173" y="2722655"/>
                <a:ext cx="141002" cy="13163"/>
              </a:xfrm>
              <a:custGeom>
                <a:avLst/>
                <a:gdLst>
                  <a:gd name="connsiteX0" fmla="*/ 0 w 141002"/>
                  <a:gd name="connsiteY0" fmla="*/ 0 h 13163"/>
                  <a:gd name="connsiteX1" fmla="*/ 141002 w 141002"/>
                  <a:gd name="connsiteY1" fmla="*/ 0 h 13163"/>
                </a:gdLst>
                <a:ahLst/>
                <a:cxnLst>
                  <a:cxn ang="0">
                    <a:pos x="connsiteX0" y="connsiteY0"/>
                  </a:cxn>
                  <a:cxn ang="0">
                    <a:pos x="connsiteX1" y="connsiteY1"/>
                  </a:cxn>
                </a:cxnLst>
                <a:rect l="l" t="t" r="r" b="b"/>
                <a:pathLst>
                  <a:path w="141002" h="13163">
                    <a:moveTo>
                      <a:pt x="0" y="0"/>
                    </a:moveTo>
                    <a:lnTo>
                      <a:pt x="141002" y="0"/>
                    </a:lnTo>
                  </a:path>
                </a:pathLst>
              </a:custGeom>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296" name="TextBox 295">
                <a:extLst>
                  <a:ext uri="{FF2B5EF4-FFF2-40B4-BE49-F238E27FC236}">
                    <a16:creationId xmlns:a16="http://schemas.microsoft.com/office/drawing/2014/main" id="{09411638-2B9E-50D4-F874-138239DE2A60}"/>
                  </a:ext>
                </a:extLst>
              </p:cNvPr>
              <p:cNvSpPr txBox="1"/>
              <p:nvPr/>
            </p:nvSpPr>
            <p:spPr>
              <a:xfrm>
                <a:off x="7264313" y="2589820"/>
                <a:ext cx="803105" cy="76944"/>
              </a:xfrm>
              <a:prstGeom prst="rect">
                <a:avLst/>
              </a:prstGeom>
              <a:noFill/>
            </p:spPr>
            <p:txBody>
              <a:bodyPr wrap="none" lIns="0" tIns="0" rIns="0" bIns="0" rtlCol="0">
                <a:spAutoFit/>
              </a:bodyPr>
              <a:lstStyle/>
              <a:p>
                <a:pPr algn="l"/>
                <a:r>
                  <a:rPr lang="en-US" sz="500" spc="0" baseline="0">
                    <a:ln/>
                    <a:solidFill>
                      <a:schemeClr val="accent6">
                        <a:lumMod val="75000"/>
                      </a:schemeClr>
                    </a:solidFill>
                    <a:latin typeface="Arial" panose="020B0604020202020204" pitchFamily="34" charset="0"/>
                    <a:cs typeface="Arial" panose="020B0604020202020204" pitchFamily="34" charset="0"/>
                    <a:sym typeface="Arial"/>
                    <a:rtl val="0"/>
                  </a:rPr>
                  <a:t>Reference medicine (n=102)</a:t>
                </a:r>
              </a:p>
            </p:txBody>
          </p:sp>
          <p:sp>
            <p:nvSpPr>
              <p:cNvPr id="304" name="Freeform 303">
                <a:extLst>
                  <a:ext uri="{FF2B5EF4-FFF2-40B4-BE49-F238E27FC236}">
                    <a16:creationId xmlns:a16="http://schemas.microsoft.com/office/drawing/2014/main" id="{143BC694-0B3B-6DB4-6DC3-1E902E7EF636}"/>
                  </a:ext>
                </a:extLst>
              </p:cNvPr>
              <p:cNvSpPr/>
              <p:nvPr/>
            </p:nvSpPr>
            <p:spPr>
              <a:xfrm>
                <a:off x="7085173" y="2631561"/>
                <a:ext cx="141002" cy="13163"/>
              </a:xfrm>
              <a:custGeom>
                <a:avLst/>
                <a:gdLst>
                  <a:gd name="connsiteX0" fmla="*/ 0 w 141002"/>
                  <a:gd name="connsiteY0" fmla="*/ 0 h 13163"/>
                  <a:gd name="connsiteX1" fmla="*/ 141002 w 141002"/>
                  <a:gd name="connsiteY1" fmla="*/ 0 h 13163"/>
                </a:gdLst>
                <a:ahLst/>
                <a:cxnLst>
                  <a:cxn ang="0">
                    <a:pos x="connsiteX0" y="connsiteY0"/>
                  </a:cxn>
                  <a:cxn ang="0">
                    <a:pos x="connsiteX1" y="connsiteY1"/>
                  </a:cxn>
                </a:cxnLst>
                <a:rect l="l" t="t" r="r" b="b"/>
                <a:pathLst>
                  <a:path w="141002" h="13163">
                    <a:moveTo>
                      <a:pt x="0" y="0"/>
                    </a:moveTo>
                    <a:lnTo>
                      <a:pt x="141002" y="0"/>
                    </a:lnTo>
                  </a:path>
                </a:pathLst>
              </a:custGeom>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5" name="Freeform 304">
                <a:extLst>
                  <a:ext uri="{FF2B5EF4-FFF2-40B4-BE49-F238E27FC236}">
                    <a16:creationId xmlns:a16="http://schemas.microsoft.com/office/drawing/2014/main" id="{9950F239-BF95-984D-D6EA-6051F83E862E}"/>
                  </a:ext>
                </a:extLst>
              </p:cNvPr>
              <p:cNvSpPr/>
              <p:nvPr/>
            </p:nvSpPr>
            <p:spPr>
              <a:xfrm>
                <a:off x="7136061" y="2611025"/>
                <a:ext cx="39226" cy="41071"/>
              </a:xfrm>
              <a:custGeom>
                <a:avLst/>
                <a:gdLst>
                  <a:gd name="connsiteX0" fmla="*/ 39226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6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6" y="20536"/>
                    </a:moveTo>
                    <a:cubicBezTo>
                      <a:pt x="39226" y="9215"/>
                      <a:pt x="30480" y="0"/>
                      <a:pt x="19613" y="0"/>
                    </a:cubicBezTo>
                    <a:cubicBezTo>
                      <a:pt x="8746" y="0"/>
                      <a:pt x="0" y="9215"/>
                      <a:pt x="0" y="20536"/>
                    </a:cubicBezTo>
                    <a:cubicBezTo>
                      <a:pt x="0" y="31857"/>
                      <a:pt x="8746" y="41071"/>
                      <a:pt x="19613" y="41071"/>
                    </a:cubicBezTo>
                    <a:cubicBezTo>
                      <a:pt x="30480" y="41071"/>
                      <a:pt x="39226" y="31857"/>
                      <a:pt x="39226" y="20536"/>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6" name="Freeform 305">
                <a:extLst>
                  <a:ext uri="{FF2B5EF4-FFF2-40B4-BE49-F238E27FC236}">
                    <a16:creationId xmlns:a16="http://schemas.microsoft.com/office/drawing/2014/main" id="{589FF0F7-54AD-D799-CD18-0CF02C32E70B}"/>
                  </a:ext>
                </a:extLst>
              </p:cNvPr>
              <p:cNvSpPr/>
              <p:nvPr/>
            </p:nvSpPr>
            <p:spPr>
              <a:xfrm>
                <a:off x="7136061" y="2611025"/>
                <a:ext cx="39226" cy="41071"/>
              </a:xfrm>
              <a:custGeom>
                <a:avLst/>
                <a:gdLst>
                  <a:gd name="connsiteX0" fmla="*/ 39226 w 39226"/>
                  <a:gd name="connsiteY0" fmla="*/ 20536 h 41071"/>
                  <a:gd name="connsiteX1" fmla="*/ 19613 w 39226"/>
                  <a:gd name="connsiteY1" fmla="*/ 0 h 41071"/>
                  <a:gd name="connsiteX2" fmla="*/ 0 w 39226"/>
                  <a:gd name="connsiteY2" fmla="*/ 20536 h 41071"/>
                  <a:gd name="connsiteX3" fmla="*/ 19613 w 39226"/>
                  <a:gd name="connsiteY3" fmla="*/ 41071 h 41071"/>
                  <a:gd name="connsiteX4" fmla="*/ 39226 w 39226"/>
                  <a:gd name="connsiteY4" fmla="*/ 20536 h 41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26" h="41071">
                    <a:moveTo>
                      <a:pt x="39226" y="20536"/>
                    </a:moveTo>
                    <a:cubicBezTo>
                      <a:pt x="39226" y="9215"/>
                      <a:pt x="30480" y="0"/>
                      <a:pt x="19613" y="0"/>
                    </a:cubicBezTo>
                    <a:cubicBezTo>
                      <a:pt x="8746" y="0"/>
                      <a:pt x="0" y="9215"/>
                      <a:pt x="0" y="20536"/>
                    </a:cubicBezTo>
                    <a:cubicBezTo>
                      <a:pt x="0" y="31857"/>
                      <a:pt x="8746" y="41071"/>
                      <a:pt x="19613" y="41071"/>
                    </a:cubicBezTo>
                    <a:cubicBezTo>
                      <a:pt x="30480" y="41071"/>
                      <a:pt x="39226" y="31857"/>
                      <a:pt x="39226" y="20536"/>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7" name="Freeform 306">
                <a:extLst>
                  <a:ext uri="{FF2B5EF4-FFF2-40B4-BE49-F238E27FC236}">
                    <a16:creationId xmlns:a16="http://schemas.microsoft.com/office/drawing/2014/main" id="{133AC4D7-DD28-0359-F617-721DC343E16D}"/>
                  </a:ext>
                </a:extLst>
              </p:cNvPr>
              <p:cNvSpPr/>
              <p:nvPr/>
            </p:nvSpPr>
            <p:spPr>
              <a:xfrm>
                <a:off x="6700994" y="340968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8" name="Freeform 307">
                <a:extLst>
                  <a:ext uri="{FF2B5EF4-FFF2-40B4-BE49-F238E27FC236}">
                    <a16:creationId xmlns:a16="http://schemas.microsoft.com/office/drawing/2014/main" id="{D8E082F1-372C-1D6E-7401-E22FFBD7AF7F}"/>
                  </a:ext>
                </a:extLst>
              </p:cNvPr>
              <p:cNvSpPr/>
              <p:nvPr/>
            </p:nvSpPr>
            <p:spPr>
              <a:xfrm>
                <a:off x="6700994" y="3409680"/>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09" name="Freeform 308">
                <a:extLst>
                  <a:ext uri="{FF2B5EF4-FFF2-40B4-BE49-F238E27FC236}">
                    <a16:creationId xmlns:a16="http://schemas.microsoft.com/office/drawing/2014/main" id="{16F03751-C443-7791-2846-4E8EDEEEA279}"/>
                  </a:ext>
                </a:extLst>
              </p:cNvPr>
              <p:cNvSpPr/>
              <p:nvPr/>
            </p:nvSpPr>
            <p:spPr>
              <a:xfrm>
                <a:off x="6704440" y="2664602"/>
                <a:ext cx="1381532" cy="962282"/>
              </a:xfrm>
              <a:custGeom>
                <a:avLst/>
                <a:gdLst>
                  <a:gd name="connsiteX0" fmla="*/ 967006 w 1381532"/>
                  <a:gd name="connsiteY0" fmla="*/ 531427 h 962282"/>
                  <a:gd name="connsiteX1" fmla="*/ 967006 w 1381532"/>
                  <a:gd name="connsiteY1" fmla="*/ 894356 h 962282"/>
                  <a:gd name="connsiteX2" fmla="*/ 959055 w 1381532"/>
                  <a:gd name="connsiteY2" fmla="*/ 894356 h 962282"/>
                  <a:gd name="connsiteX3" fmla="*/ 974958 w 1381532"/>
                  <a:gd name="connsiteY3" fmla="*/ 894356 h 962282"/>
                  <a:gd name="connsiteX4" fmla="*/ 959055 w 1381532"/>
                  <a:gd name="connsiteY4" fmla="*/ 531427 h 962282"/>
                  <a:gd name="connsiteX5" fmla="*/ 974958 w 1381532"/>
                  <a:gd name="connsiteY5" fmla="*/ 531427 h 962282"/>
                  <a:gd name="connsiteX6" fmla="*/ 899288 w 1381532"/>
                  <a:gd name="connsiteY6" fmla="*/ 305271 h 962282"/>
                  <a:gd name="connsiteX7" fmla="*/ 899288 w 1381532"/>
                  <a:gd name="connsiteY7" fmla="*/ 805895 h 962282"/>
                  <a:gd name="connsiteX8" fmla="*/ 891337 w 1381532"/>
                  <a:gd name="connsiteY8" fmla="*/ 732704 h 962282"/>
                  <a:gd name="connsiteX9" fmla="*/ 907239 w 1381532"/>
                  <a:gd name="connsiteY9" fmla="*/ 732704 h 962282"/>
                  <a:gd name="connsiteX10" fmla="*/ 891337 w 1381532"/>
                  <a:gd name="connsiteY10" fmla="*/ 789177 h 962282"/>
                  <a:gd name="connsiteX11" fmla="*/ 907239 w 1381532"/>
                  <a:gd name="connsiteY11" fmla="*/ 789177 h 962282"/>
                  <a:gd name="connsiteX12" fmla="*/ 891337 w 1381532"/>
                  <a:gd name="connsiteY12" fmla="*/ 805763 h 962282"/>
                  <a:gd name="connsiteX13" fmla="*/ 907239 w 1381532"/>
                  <a:gd name="connsiteY13" fmla="*/ 805763 h 962282"/>
                  <a:gd name="connsiteX14" fmla="*/ 891337 w 1381532"/>
                  <a:gd name="connsiteY14" fmla="*/ 305271 h 962282"/>
                  <a:gd name="connsiteX15" fmla="*/ 907239 w 1381532"/>
                  <a:gd name="connsiteY15" fmla="*/ 305271 h 962282"/>
                  <a:gd name="connsiteX16" fmla="*/ 1373581 w 1381532"/>
                  <a:gd name="connsiteY16" fmla="*/ 664251 h 962282"/>
                  <a:gd name="connsiteX17" fmla="*/ 1373581 w 1381532"/>
                  <a:gd name="connsiteY17" fmla="*/ 854601 h 962282"/>
                  <a:gd name="connsiteX18" fmla="*/ 1365629 w 1381532"/>
                  <a:gd name="connsiteY18" fmla="*/ 675441 h 962282"/>
                  <a:gd name="connsiteX19" fmla="*/ 1381532 w 1381532"/>
                  <a:gd name="connsiteY19" fmla="*/ 675441 h 962282"/>
                  <a:gd name="connsiteX20" fmla="*/ 1365629 w 1381532"/>
                  <a:gd name="connsiteY20" fmla="*/ 664251 h 962282"/>
                  <a:gd name="connsiteX21" fmla="*/ 1381532 w 1381532"/>
                  <a:gd name="connsiteY21" fmla="*/ 664251 h 962282"/>
                  <a:gd name="connsiteX22" fmla="*/ 1365629 w 1381532"/>
                  <a:gd name="connsiteY22" fmla="*/ 854733 h 962282"/>
                  <a:gd name="connsiteX23" fmla="*/ 1381532 w 1381532"/>
                  <a:gd name="connsiteY23" fmla="*/ 854733 h 962282"/>
                  <a:gd name="connsiteX24" fmla="*/ 830642 w 1381532"/>
                  <a:gd name="connsiteY24" fmla="*/ 378199 h 962282"/>
                  <a:gd name="connsiteX25" fmla="*/ 830642 w 1381532"/>
                  <a:gd name="connsiteY25" fmla="*/ 831959 h 962282"/>
                  <a:gd name="connsiteX26" fmla="*/ 822691 w 1381532"/>
                  <a:gd name="connsiteY26" fmla="*/ 740734 h 962282"/>
                  <a:gd name="connsiteX27" fmla="*/ 838593 w 1381532"/>
                  <a:gd name="connsiteY27" fmla="*/ 740734 h 962282"/>
                  <a:gd name="connsiteX28" fmla="*/ 822691 w 1381532"/>
                  <a:gd name="connsiteY28" fmla="*/ 831959 h 962282"/>
                  <a:gd name="connsiteX29" fmla="*/ 838593 w 1381532"/>
                  <a:gd name="connsiteY29" fmla="*/ 831959 h 962282"/>
                  <a:gd name="connsiteX30" fmla="*/ 822691 w 1381532"/>
                  <a:gd name="connsiteY30" fmla="*/ 596194 h 962282"/>
                  <a:gd name="connsiteX31" fmla="*/ 838593 w 1381532"/>
                  <a:gd name="connsiteY31" fmla="*/ 596194 h 962282"/>
                  <a:gd name="connsiteX32" fmla="*/ 822691 w 1381532"/>
                  <a:gd name="connsiteY32" fmla="*/ 378199 h 962282"/>
                  <a:gd name="connsiteX33" fmla="*/ 838593 w 1381532"/>
                  <a:gd name="connsiteY33" fmla="*/ 378199 h 962282"/>
                  <a:gd name="connsiteX34" fmla="*/ 761201 w 1381532"/>
                  <a:gd name="connsiteY34" fmla="*/ 292765 h 962282"/>
                  <a:gd name="connsiteX35" fmla="*/ 761201 w 1381532"/>
                  <a:gd name="connsiteY35" fmla="*/ 752054 h 962282"/>
                  <a:gd name="connsiteX36" fmla="*/ 753250 w 1381532"/>
                  <a:gd name="connsiteY36" fmla="*/ 714669 h 962282"/>
                  <a:gd name="connsiteX37" fmla="*/ 769152 w 1381532"/>
                  <a:gd name="connsiteY37" fmla="*/ 714669 h 962282"/>
                  <a:gd name="connsiteX38" fmla="*/ 753250 w 1381532"/>
                  <a:gd name="connsiteY38" fmla="*/ 751923 h 962282"/>
                  <a:gd name="connsiteX39" fmla="*/ 769152 w 1381532"/>
                  <a:gd name="connsiteY39" fmla="*/ 751923 h 962282"/>
                  <a:gd name="connsiteX40" fmla="*/ 753250 w 1381532"/>
                  <a:gd name="connsiteY40" fmla="*/ 427827 h 962282"/>
                  <a:gd name="connsiteX41" fmla="*/ 769152 w 1381532"/>
                  <a:gd name="connsiteY41" fmla="*/ 427827 h 962282"/>
                  <a:gd name="connsiteX42" fmla="*/ 753250 w 1381532"/>
                  <a:gd name="connsiteY42" fmla="*/ 292765 h 962282"/>
                  <a:gd name="connsiteX43" fmla="*/ 769152 w 1381532"/>
                  <a:gd name="connsiteY43" fmla="*/ 292765 h 962282"/>
                  <a:gd name="connsiteX44" fmla="*/ 145243 w 1381532"/>
                  <a:gd name="connsiteY44" fmla="*/ 0 h 962282"/>
                  <a:gd name="connsiteX45" fmla="*/ 145243 w 1381532"/>
                  <a:gd name="connsiteY45" fmla="*/ 606857 h 962282"/>
                  <a:gd name="connsiteX46" fmla="*/ 137292 w 1381532"/>
                  <a:gd name="connsiteY46" fmla="*/ 597905 h 962282"/>
                  <a:gd name="connsiteX47" fmla="*/ 153194 w 1381532"/>
                  <a:gd name="connsiteY47" fmla="*/ 597905 h 962282"/>
                  <a:gd name="connsiteX48" fmla="*/ 137292 w 1381532"/>
                  <a:gd name="connsiteY48" fmla="*/ 606988 h 962282"/>
                  <a:gd name="connsiteX49" fmla="*/ 153194 w 1381532"/>
                  <a:gd name="connsiteY49" fmla="*/ 606988 h 962282"/>
                  <a:gd name="connsiteX50" fmla="*/ 137292 w 1381532"/>
                  <a:gd name="connsiteY50" fmla="*/ 40808 h 962282"/>
                  <a:gd name="connsiteX51" fmla="*/ 153194 w 1381532"/>
                  <a:gd name="connsiteY51" fmla="*/ 40808 h 962282"/>
                  <a:gd name="connsiteX52" fmla="*/ 137292 w 1381532"/>
                  <a:gd name="connsiteY52" fmla="*/ 0 h 962282"/>
                  <a:gd name="connsiteX53" fmla="*/ 153194 w 1381532"/>
                  <a:gd name="connsiteY53" fmla="*/ 0 h 962282"/>
                  <a:gd name="connsiteX54" fmla="*/ 214287 w 1381532"/>
                  <a:gd name="connsiteY54" fmla="*/ 169025 h 962282"/>
                  <a:gd name="connsiteX55" fmla="*/ 214287 w 1381532"/>
                  <a:gd name="connsiteY55" fmla="*/ 682944 h 962282"/>
                  <a:gd name="connsiteX56" fmla="*/ 206335 w 1381532"/>
                  <a:gd name="connsiteY56" fmla="*/ 645032 h 962282"/>
                  <a:gd name="connsiteX57" fmla="*/ 222238 w 1381532"/>
                  <a:gd name="connsiteY57" fmla="*/ 645032 h 962282"/>
                  <a:gd name="connsiteX58" fmla="*/ 206335 w 1381532"/>
                  <a:gd name="connsiteY58" fmla="*/ 682944 h 962282"/>
                  <a:gd name="connsiteX59" fmla="*/ 222238 w 1381532"/>
                  <a:gd name="connsiteY59" fmla="*/ 682944 h 962282"/>
                  <a:gd name="connsiteX60" fmla="*/ 206468 w 1381532"/>
                  <a:gd name="connsiteY60" fmla="*/ 189560 h 962282"/>
                  <a:gd name="connsiteX61" fmla="*/ 222370 w 1381532"/>
                  <a:gd name="connsiteY61" fmla="*/ 189560 h 962282"/>
                  <a:gd name="connsiteX62" fmla="*/ 206335 w 1381532"/>
                  <a:gd name="connsiteY62" fmla="*/ 169025 h 962282"/>
                  <a:gd name="connsiteX63" fmla="*/ 222238 w 1381532"/>
                  <a:gd name="connsiteY63" fmla="*/ 169025 h 962282"/>
                  <a:gd name="connsiteX64" fmla="*/ 693880 w 1381532"/>
                  <a:gd name="connsiteY64" fmla="*/ 134009 h 962282"/>
                  <a:gd name="connsiteX65" fmla="*/ 693880 w 1381532"/>
                  <a:gd name="connsiteY65" fmla="*/ 828932 h 962282"/>
                  <a:gd name="connsiteX66" fmla="*/ 685929 w 1381532"/>
                  <a:gd name="connsiteY66" fmla="*/ 134009 h 962282"/>
                  <a:gd name="connsiteX67" fmla="*/ 701831 w 1381532"/>
                  <a:gd name="connsiteY67" fmla="*/ 134009 h 962282"/>
                  <a:gd name="connsiteX68" fmla="*/ 685929 w 1381532"/>
                  <a:gd name="connsiteY68" fmla="*/ 198249 h 962282"/>
                  <a:gd name="connsiteX69" fmla="*/ 701831 w 1381532"/>
                  <a:gd name="connsiteY69" fmla="*/ 198249 h 962282"/>
                  <a:gd name="connsiteX70" fmla="*/ 685929 w 1381532"/>
                  <a:gd name="connsiteY70" fmla="*/ 737179 h 962282"/>
                  <a:gd name="connsiteX71" fmla="*/ 701831 w 1381532"/>
                  <a:gd name="connsiteY71" fmla="*/ 737179 h 962282"/>
                  <a:gd name="connsiteX72" fmla="*/ 685929 w 1381532"/>
                  <a:gd name="connsiteY72" fmla="*/ 828932 h 962282"/>
                  <a:gd name="connsiteX73" fmla="*/ 701831 w 1381532"/>
                  <a:gd name="connsiteY73" fmla="*/ 828932 h 962282"/>
                  <a:gd name="connsiteX74" fmla="*/ 623511 w 1381532"/>
                  <a:gd name="connsiteY74" fmla="*/ 315802 h 962282"/>
                  <a:gd name="connsiteX75" fmla="*/ 623511 w 1381532"/>
                  <a:gd name="connsiteY75" fmla="*/ 824456 h 962282"/>
                  <a:gd name="connsiteX76" fmla="*/ 615561 w 1381532"/>
                  <a:gd name="connsiteY76" fmla="*/ 315802 h 962282"/>
                  <a:gd name="connsiteX77" fmla="*/ 631463 w 1381532"/>
                  <a:gd name="connsiteY77" fmla="*/ 315802 h 962282"/>
                  <a:gd name="connsiteX78" fmla="*/ 615561 w 1381532"/>
                  <a:gd name="connsiteY78" fmla="*/ 369248 h 962282"/>
                  <a:gd name="connsiteX79" fmla="*/ 631463 w 1381532"/>
                  <a:gd name="connsiteY79" fmla="*/ 369248 h 962282"/>
                  <a:gd name="connsiteX80" fmla="*/ 615561 w 1381532"/>
                  <a:gd name="connsiteY80" fmla="*/ 780225 h 962282"/>
                  <a:gd name="connsiteX81" fmla="*/ 631463 w 1381532"/>
                  <a:gd name="connsiteY81" fmla="*/ 780225 h 962282"/>
                  <a:gd name="connsiteX82" fmla="*/ 615561 w 1381532"/>
                  <a:gd name="connsiteY82" fmla="*/ 824456 h 962282"/>
                  <a:gd name="connsiteX83" fmla="*/ 631463 w 1381532"/>
                  <a:gd name="connsiteY83" fmla="*/ 824456 h 962282"/>
                  <a:gd name="connsiteX84" fmla="*/ 555131 w 1381532"/>
                  <a:gd name="connsiteY84" fmla="*/ 618309 h 962282"/>
                  <a:gd name="connsiteX85" fmla="*/ 555131 w 1381532"/>
                  <a:gd name="connsiteY85" fmla="*/ 952409 h 962282"/>
                  <a:gd name="connsiteX86" fmla="*/ 547180 w 1381532"/>
                  <a:gd name="connsiteY86" fmla="*/ 618309 h 962282"/>
                  <a:gd name="connsiteX87" fmla="*/ 563082 w 1381532"/>
                  <a:gd name="connsiteY87" fmla="*/ 618309 h 962282"/>
                  <a:gd name="connsiteX88" fmla="*/ 547577 w 1381532"/>
                  <a:gd name="connsiteY88" fmla="*/ 635159 h 962282"/>
                  <a:gd name="connsiteX89" fmla="*/ 563479 w 1381532"/>
                  <a:gd name="connsiteY89" fmla="*/ 635159 h 962282"/>
                  <a:gd name="connsiteX90" fmla="*/ 547180 w 1381532"/>
                  <a:gd name="connsiteY90" fmla="*/ 936086 h 962282"/>
                  <a:gd name="connsiteX91" fmla="*/ 563082 w 1381532"/>
                  <a:gd name="connsiteY91" fmla="*/ 936086 h 962282"/>
                  <a:gd name="connsiteX92" fmla="*/ 547180 w 1381532"/>
                  <a:gd name="connsiteY92" fmla="*/ 952409 h 962282"/>
                  <a:gd name="connsiteX93" fmla="*/ 563082 w 1381532"/>
                  <a:gd name="connsiteY93" fmla="*/ 952409 h 962282"/>
                  <a:gd name="connsiteX94" fmla="*/ 486750 w 1381532"/>
                  <a:gd name="connsiteY94" fmla="*/ 749158 h 962282"/>
                  <a:gd name="connsiteX95" fmla="*/ 486750 w 1381532"/>
                  <a:gd name="connsiteY95" fmla="*/ 959649 h 962282"/>
                  <a:gd name="connsiteX96" fmla="*/ 478799 w 1381532"/>
                  <a:gd name="connsiteY96" fmla="*/ 749158 h 962282"/>
                  <a:gd name="connsiteX97" fmla="*/ 494701 w 1381532"/>
                  <a:gd name="connsiteY97" fmla="*/ 749158 h 962282"/>
                  <a:gd name="connsiteX98" fmla="*/ 478799 w 1381532"/>
                  <a:gd name="connsiteY98" fmla="*/ 781410 h 962282"/>
                  <a:gd name="connsiteX99" fmla="*/ 494701 w 1381532"/>
                  <a:gd name="connsiteY99" fmla="*/ 781410 h 962282"/>
                  <a:gd name="connsiteX100" fmla="*/ 478799 w 1381532"/>
                  <a:gd name="connsiteY100" fmla="*/ 961624 h 962282"/>
                  <a:gd name="connsiteX101" fmla="*/ 494701 w 1381532"/>
                  <a:gd name="connsiteY101" fmla="*/ 961624 h 962282"/>
                  <a:gd name="connsiteX102" fmla="*/ 348265 w 1381532"/>
                  <a:gd name="connsiteY102" fmla="*/ 673071 h 962282"/>
                  <a:gd name="connsiteX103" fmla="*/ 348265 w 1381532"/>
                  <a:gd name="connsiteY103" fmla="*/ 959649 h 962282"/>
                  <a:gd name="connsiteX104" fmla="*/ 340314 w 1381532"/>
                  <a:gd name="connsiteY104" fmla="*/ 951883 h 962282"/>
                  <a:gd name="connsiteX105" fmla="*/ 356217 w 1381532"/>
                  <a:gd name="connsiteY105" fmla="*/ 951883 h 962282"/>
                  <a:gd name="connsiteX106" fmla="*/ 340314 w 1381532"/>
                  <a:gd name="connsiteY106" fmla="*/ 957806 h 962282"/>
                  <a:gd name="connsiteX107" fmla="*/ 356217 w 1381532"/>
                  <a:gd name="connsiteY107" fmla="*/ 957806 h 962282"/>
                  <a:gd name="connsiteX108" fmla="*/ 340314 w 1381532"/>
                  <a:gd name="connsiteY108" fmla="*/ 732440 h 962282"/>
                  <a:gd name="connsiteX109" fmla="*/ 356217 w 1381532"/>
                  <a:gd name="connsiteY109" fmla="*/ 732440 h 962282"/>
                  <a:gd name="connsiteX110" fmla="*/ 340314 w 1381532"/>
                  <a:gd name="connsiteY110" fmla="*/ 673071 h 962282"/>
                  <a:gd name="connsiteX111" fmla="*/ 356217 w 1381532"/>
                  <a:gd name="connsiteY111" fmla="*/ 673071 h 962282"/>
                  <a:gd name="connsiteX112" fmla="*/ 418899 w 1381532"/>
                  <a:gd name="connsiteY112" fmla="*/ 728886 h 962282"/>
                  <a:gd name="connsiteX113" fmla="*/ 418899 w 1381532"/>
                  <a:gd name="connsiteY113" fmla="*/ 959649 h 962282"/>
                  <a:gd name="connsiteX114" fmla="*/ 410948 w 1381532"/>
                  <a:gd name="connsiteY114" fmla="*/ 824456 h 962282"/>
                  <a:gd name="connsiteX115" fmla="*/ 426850 w 1381532"/>
                  <a:gd name="connsiteY115" fmla="*/ 824456 h 962282"/>
                  <a:gd name="connsiteX116" fmla="*/ 410948 w 1381532"/>
                  <a:gd name="connsiteY116" fmla="*/ 728886 h 962282"/>
                  <a:gd name="connsiteX117" fmla="*/ 426850 w 1381532"/>
                  <a:gd name="connsiteY117" fmla="*/ 728886 h 962282"/>
                  <a:gd name="connsiteX118" fmla="*/ 410948 w 1381532"/>
                  <a:gd name="connsiteY118" fmla="*/ 957806 h 962282"/>
                  <a:gd name="connsiteX119" fmla="*/ 426850 w 1381532"/>
                  <a:gd name="connsiteY119" fmla="*/ 957806 h 962282"/>
                  <a:gd name="connsiteX120" fmla="*/ 410948 w 1381532"/>
                  <a:gd name="connsiteY120" fmla="*/ 962282 h 962282"/>
                  <a:gd name="connsiteX121" fmla="*/ 426850 w 1381532"/>
                  <a:gd name="connsiteY121" fmla="*/ 962282 h 962282"/>
                  <a:gd name="connsiteX122" fmla="*/ 410948 w 1381532"/>
                  <a:gd name="connsiteY122" fmla="*/ 959649 h 962282"/>
                  <a:gd name="connsiteX123" fmla="*/ 426850 w 1381532"/>
                  <a:gd name="connsiteY123" fmla="*/ 959649 h 962282"/>
                  <a:gd name="connsiteX124" fmla="*/ 281872 w 1381532"/>
                  <a:gd name="connsiteY124" fmla="*/ 455866 h 962282"/>
                  <a:gd name="connsiteX125" fmla="*/ 281872 w 1381532"/>
                  <a:gd name="connsiteY125" fmla="*/ 833934 h 962282"/>
                  <a:gd name="connsiteX126" fmla="*/ 273921 w 1381532"/>
                  <a:gd name="connsiteY126" fmla="*/ 826167 h 962282"/>
                  <a:gd name="connsiteX127" fmla="*/ 289824 w 1381532"/>
                  <a:gd name="connsiteY127" fmla="*/ 826167 h 962282"/>
                  <a:gd name="connsiteX128" fmla="*/ 273921 w 1381532"/>
                  <a:gd name="connsiteY128" fmla="*/ 833934 h 962282"/>
                  <a:gd name="connsiteX129" fmla="*/ 289824 w 1381532"/>
                  <a:gd name="connsiteY129" fmla="*/ 833934 h 962282"/>
                  <a:gd name="connsiteX130" fmla="*/ 273921 w 1381532"/>
                  <a:gd name="connsiteY130" fmla="*/ 482194 h 962282"/>
                  <a:gd name="connsiteX131" fmla="*/ 289824 w 1381532"/>
                  <a:gd name="connsiteY131" fmla="*/ 482194 h 962282"/>
                  <a:gd name="connsiteX132" fmla="*/ 273921 w 1381532"/>
                  <a:gd name="connsiteY132" fmla="*/ 455866 h 962282"/>
                  <a:gd name="connsiteX133" fmla="*/ 289824 w 1381532"/>
                  <a:gd name="connsiteY133" fmla="*/ 455866 h 962282"/>
                  <a:gd name="connsiteX134" fmla="*/ 75935 w 1381532"/>
                  <a:gd name="connsiteY134" fmla="*/ 603302 h 962282"/>
                  <a:gd name="connsiteX135" fmla="*/ 75935 w 1381532"/>
                  <a:gd name="connsiteY135" fmla="*/ 803525 h 962282"/>
                  <a:gd name="connsiteX136" fmla="*/ 67983 w 1381532"/>
                  <a:gd name="connsiteY136" fmla="*/ 803525 h 962282"/>
                  <a:gd name="connsiteX137" fmla="*/ 83886 w 1381532"/>
                  <a:gd name="connsiteY137" fmla="*/ 803525 h 962282"/>
                  <a:gd name="connsiteX138" fmla="*/ 67983 w 1381532"/>
                  <a:gd name="connsiteY138" fmla="*/ 621205 h 962282"/>
                  <a:gd name="connsiteX139" fmla="*/ 83886 w 1381532"/>
                  <a:gd name="connsiteY139" fmla="*/ 621205 h 962282"/>
                  <a:gd name="connsiteX140" fmla="*/ 67983 w 1381532"/>
                  <a:gd name="connsiteY140" fmla="*/ 603302 h 962282"/>
                  <a:gd name="connsiteX141" fmla="*/ 83886 w 1381532"/>
                  <a:gd name="connsiteY141" fmla="*/ 603302 h 962282"/>
                  <a:gd name="connsiteX142" fmla="*/ 7951 w 1381532"/>
                  <a:gd name="connsiteY142" fmla="*/ 641214 h 962282"/>
                  <a:gd name="connsiteX143" fmla="*/ 7951 w 1381532"/>
                  <a:gd name="connsiteY143" fmla="*/ 858551 h 962282"/>
                  <a:gd name="connsiteX144" fmla="*/ 0 w 1381532"/>
                  <a:gd name="connsiteY144" fmla="*/ 858551 h 962282"/>
                  <a:gd name="connsiteX145" fmla="*/ 15903 w 1381532"/>
                  <a:gd name="connsiteY145" fmla="*/ 858551 h 962282"/>
                  <a:gd name="connsiteX146" fmla="*/ 0 w 1381532"/>
                  <a:gd name="connsiteY146" fmla="*/ 649376 h 962282"/>
                  <a:gd name="connsiteX147" fmla="*/ 15903 w 1381532"/>
                  <a:gd name="connsiteY147" fmla="*/ 649376 h 962282"/>
                  <a:gd name="connsiteX148" fmla="*/ 0 w 1381532"/>
                  <a:gd name="connsiteY148" fmla="*/ 641214 h 962282"/>
                  <a:gd name="connsiteX149" fmla="*/ 15903 w 1381532"/>
                  <a:gd name="connsiteY149" fmla="*/ 641214 h 962282"/>
                  <a:gd name="connsiteX150" fmla="*/ 11397 w 1381532"/>
                  <a:gd name="connsiteY150" fmla="*/ 756267 h 962282"/>
                  <a:gd name="connsiteX151" fmla="*/ 7951 w 1381532"/>
                  <a:gd name="connsiteY151" fmla="*/ 758768 h 962282"/>
                  <a:gd name="connsiteX152" fmla="*/ 77657 w 1381532"/>
                  <a:gd name="connsiteY152" fmla="*/ 702032 h 962282"/>
                  <a:gd name="connsiteX153" fmla="*/ 76597 w 1381532"/>
                  <a:gd name="connsiteY153" fmla="*/ 708087 h 962282"/>
                  <a:gd name="connsiteX154" fmla="*/ 73151 w 1381532"/>
                  <a:gd name="connsiteY154" fmla="*/ 710588 h 962282"/>
                  <a:gd name="connsiteX155" fmla="*/ 144581 w 1381532"/>
                  <a:gd name="connsiteY155" fmla="*/ 309352 h 962282"/>
                  <a:gd name="connsiteX156" fmla="*/ 142063 w 1381532"/>
                  <a:gd name="connsiteY156" fmla="*/ 304613 h 962282"/>
                  <a:gd name="connsiteX157" fmla="*/ 141003 w 1381532"/>
                  <a:gd name="connsiteY157" fmla="*/ 310800 h 962282"/>
                  <a:gd name="connsiteX158" fmla="*/ 697458 w 1381532"/>
                  <a:gd name="connsiteY158" fmla="*/ 467714 h 962282"/>
                  <a:gd name="connsiteX159" fmla="*/ 694013 w 1381532"/>
                  <a:gd name="connsiteY159" fmla="*/ 465344 h 962282"/>
                  <a:gd name="connsiteX160" fmla="*/ 690832 w 1381532"/>
                  <a:gd name="connsiteY160" fmla="*/ 468899 h 962282"/>
                  <a:gd name="connsiteX161" fmla="*/ 899156 w 1381532"/>
                  <a:gd name="connsiteY161" fmla="*/ 561178 h 962282"/>
                  <a:gd name="connsiteX162" fmla="*/ 897433 w 1381532"/>
                  <a:gd name="connsiteY162" fmla="*/ 555517 h 962282"/>
                  <a:gd name="connsiteX163" fmla="*/ 893722 w 1381532"/>
                  <a:gd name="connsiteY163" fmla="*/ 555780 h 962282"/>
                  <a:gd name="connsiteX164" fmla="*/ 970717 w 1381532"/>
                  <a:gd name="connsiteY164" fmla="*/ 781805 h 962282"/>
                  <a:gd name="connsiteX165" fmla="*/ 967006 w 1381532"/>
                  <a:gd name="connsiteY165" fmla="*/ 782068 h 962282"/>
                  <a:gd name="connsiteX166" fmla="*/ 965283 w 1381532"/>
                  <a:gd name="connsiteY166" fmla="*/ 776408 h 962282"/>
                  <a:gd name="connsiteX167" fmla="*/ 1374376 w 1381532"/>
                  <a:gd name="connsiteY167" fmla="*/ 759558 h 962282"/>
                  <a:gd name="connsiteX168" fmla="*/ 1370665 w 1381532"/>
                  <a:gd name="connsiteY168" fmla="*/ 759821 h 962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381532" h="962282">
                    <a:moveTo>
                      <a:pt x="967006" y="531427"/>
                    </a:moveTo>
                    <a:lnTo>
                      <a:pt x="967006" y="894356"/>
                    </a:lnTo>
                    <a:moveTo>
                      <a:pt x="959055" y="894356"/>
                    </a:moveTo>
                    <a:lnTo>
                      <a:pt x="974958" y="894356"/>
                    </a:lnTo>
                    <a:moveTo>
                      <a:pt x="959055" y="531427"/>
                    </a:moveTo>
                    <a:lnTo>
                      <a:pt x="974958" y="531427"/>
                    </a:lnTo>
                    <a:moveTo>
                      <a:pt x="899288" y="305271"/>
                    </a:moveTo>
                    <a:lnTo>
                      <a:pt x="899288" y="805895"/>
                    </a:lnTo>
                    <a:moveTo>
                      <a:pt x="891337" y="732704"/>
                    </a:moveTo>
                    <a:lnTo>
                      <a:pt x="907239" y="732704"/>
                    </a:lnTo>
                    <a:moveTo>
                      <a:pt x="891337" y="789177"/>
                    </a:moveTo>
                    <a:lnTo>
                      <a:pt x="907239" y="789177"/>
                    </a:lnTo>
                    <a:moveTo>
                      <a:pt x="891337" y="805763"/>
                    </a:moveTo>
                    <a:lnTo>
                      <a:pt x="907239" y="805763"/>
                    </a:lnTo>
                    <a:moveTo>
                      <a:pt x="891337" y="305271"/>
                    </a:moveTo>
                    <a:lnTo>
                      <a:pt x="907239" y="305271"/>
                    </a:lnTo>
                    <a:moveTo>
                      <a:pt x="1373581" y="664251"/>
                    </a:moveTo>
                    <a:lnTo>
                      <a:pt x="1373581" y="854601"/>
                    </a:lnTo>
                    <a:moveTo>
                      <a:pt x="1365629" y="675441"/>
                    </a:moveTo>
                    <a:lnTo>
                      <a:pt x="1381532" y="675441"/>
                    </a:lnTo>
                    <a:moveTo>
                      <a:pt x="1365629" y="664251"/>
                    </a:moveTo>
                    <a:lnTo>
                      <a:pt x="1381532" y="664251"/>
                    </a:lnTo>
                    <a:moveTo>
                      <a:pt x="1365629" y="854733"/>
                    </a:moveTo>
                    <a:lnTo>
                      <a:pt x="1381532" y="854733"/>
                    </a:lnTo>
                    <a:moveTo>
                      <a:pt x="830642" y="378199"/>
                    </a:moveTo>
                    <a:lnTo>
                      <a:pt x="830642" y="831959"/>
                    </a:lnTo>
                    <a:moveTo>
                      <a:pt x="822691" y="740734"/>
                    </a:moveTo>
                    <a:lnTo>
                      <a:pt x="838593" y="740734"/>
                    </a:lnTo>
                    <a:moveTo>
                      <a:pt x="822691" y="831959"/>
                    </a:moveTo>
                    <a:lnTo>
                      <a:pt x="838593" y="831959"/>
                    </a:lnTo>
                    <a:moveTo>
                      <a:pt x="822691" y="596194"/>
                    </a:moveTo>
                    <a:lnTo>
                      <a:pt x="838593" y="596194"/>
                    </a:lnTo>
                    <a:moveTo>
                      <a:pt x="822691" y="378199"/>
                    </a:moveTo>
                    <a:lnTo>
                      <a:pt x="838593" y="378199"/>
                    </a:lnTo>
                    <a:moveTo>
                      <a:pt x="761201" y="292765"/>
                    </a:moveTo>
                    <a:lnTo>
                      <a:pt x="761201" y="752054"/>
                    </a:lnTo>
                    <a:moveTo>
                      <a:pt x="753250" y="714669"/>
                    </a:moveTo>
                    <a:lnTo>
                      <a:pt x="769152" y="714669"/>
                    </a:lnTo>
                    <a:moveTo>
                      <a:pt x="753250" y="751923"/>
                    </a:moveTo>
                    <a:lnTo>
                      <a:pt x="769152" y="751923"/>
                    </a:lnTo>
                    <a:moveTo>
                      <a:pt x="753250" y="427827"/>
                    </a:moveTo>
                    <a:lnTo>
                      <a:pt x="769152" y="427827"/>
                    </a:lnTo>
                    <a:moveTo>
                      <a:pt x="753250" y="292765"/>
                    </a:moveTo>
                    <a:lnTo>
                      <a:pt x="769152" y="292765"/>
                    </a:lnTo>
                    <a:moveTo>
                      <a:pt x="145243" y="0"/>
                    </a:moveTo>
                    <a:lnTo>
                      <a:pt x="145243" y="606857"/>
                    </a:lnTo>
                    <a:moveTo>
                      <a:pt x="137292" y="597905"/>
                    </a:moveTo>
                    <a:lnTo>
                      <a:pt x="153194" y="597905"/>
                    </a:lnTo>
                    <a:moveTo>
                      <a:pt x="137292" y="606988"/>
                    </a:moveTo>
                    <a:lnTo>
                      <a:pt x="153194" y="606988"/>
                    </a:lnTo>
                    <a:moveTo>
                      <a:pt x="137292" y="40808"/>
                    </a:moveTo>
                    <a:lnTo>
                      <a:pt x="153194" y="40808"/>
                    </a:lnTo>
                    <a:moveTo>
                      <a:pt x="137292" y="0"/>
                    </a:moveTo>
                    <a:lnTo>
                      <a:pt x="153194" y="0"/>
                    </a:lnTo>
                    <a:moveTo>
                      <a:pt x="214287" y="169025"/>
                    </a:moveTo>
                    <a:lnTo>
                      <a:pt x="214287" y="682944"/>
                    </a:lnTo>
                    <a:moveTo>
                      <a:pt x="206335" y="645032"/>
                    </a:moveTo>
                    <a:lnTo>
                      <a:pt x="222238" y="645032"/>
                    </a:lnTo>
                    <a:moveTo>
                      <a:pt x="206335" y="682944"/>
                    </a:moveTo>
                    <a:lnTo>
                      <a:pt x="222238" y="682944"/>
                    </a:lnTo>
                    <a:moveTo>
                      <a:pt x="206468" y="189560"/>
                    </a:moveTo>
                    <a:lnTo>
                      <a:pt x="222370" y="189560"/>
                    </a:lnTo>
                    <a:moveTo>
                      <a:pt x="206335" y="169025"/>
                    </a:moveTo>
                    <a:lnTo>
                      <a:pt x="222238" y="169025"/>
                    </a:lnTo>
                    <a:moveTo>
                      <a:pt x="693880" y="134009"/>
                    </a:moveTo>
                    <a:lnTo>
                      <a:pt x="693880" y="828932"/>
                    </a:lnTo>
                    <a:moveTo>
                      <a:pt x="685929" y="134009"/>
                    </a:moveTo>
                    <a:lnTo>
                      <a:pt x="701831" y="134009"/>
                    </a:lnTo>
                    <a:moveTo>
                      <a:pt x="685929" y="198249"/>
                    </a:moveTo>
                    <a:lnTo>
                      <a:pt x="701831" y="198249"/>
                    </a:lnTo>
                    <a:moveTo>
                      <a:pt x="685929" y="737179"/>
                    </a:moveTo>
                    <a:lnTo>
                      <a:pt x="701831" y="737179"/>
                    </a:lnTo>
                    <a:moveTo>
                      <a:pt x="685929" y="828932"/>
                    </a:moveTo>
                    <a:lnTo>
                      <a:pt x="701831" y="828932"/>
                    </a:lnTo>
                    <a:moveTo>
                      <a:pt x="623511" y="315802"/>
                    </a:moveTo>
                    <a:lnTo>
                      <a:pt x="623511" y="824456"/>
                    </a:lnTo>
                    <a:moveTo>
                      <a:pt x="615561" y="315802"/>
                    </a:moveTo>
                    <a:lnTo>
                      <a:pt x="631463" y="315802"/>
                    </a:lnTo>
                    <a:moveTo>
                      <a:pt x="615561" y="369248"/>
                    </a:moveTo>
                    <a:lnTo>
                      <a:pt x="631463" y="369248"/>
                    </a:lnTo>
                    <a:moveTo>
                      <a:pt x="615561" y="780225"/>
                    </a:moveTo>
                    <a:lnTo>
                      <a:pt x="631463" y="780225"/>
                    </a:lnTo>
                    <a:moveTo>
                      <a:pt x="615561" y="824456"/>
                    </a:moveTo>
                    <a:lnTo>
                      <a:pt x="631463" y="824456"/>
                    </a:lnTo>
                    <a:moveTo>
                      <a:pt x="555131" y="618309"/>
                    </a:moveTo>
                    <a:lnTo>
                      <a:pt x="555131" y="952409"/>
                    </a:lnTo>
                    <a:moveTo>
                      <a:pt x="547180" y="618309"/>
                    </a:moveTo>
                    <a:lnTo>
                      <a:pt x="563082" y="618309"/>
                    </a:lnTo>
                    <a:moveTo>
                      <a:pt x="547577" y="635159"/>
                    </a:moveTo>
                    <a:lnTo>
                      <a:pt x="563479" y="635159"/>
                    </a:lnTo>
                    <a:moveTo>
                      <a:pt x="547180" y="936086"/>
                    </a:moveTo>
                    <a:lnTo>
                      <a:pt x="563082" y="936086"/>
                    </a:lnTo>
                    <a:moveTo>
                      <a:pt x="547180" y="952409"/>
                    </a:moveTo>
                    <a:lnTo>
                      <a:pt x="563082" y="952409"/>
                    </a:lnTo>
                    <a:moveTo>
                      <a:pt x="486750" y="749158"/>
                    </a:moveTo>
                    <a:lnTo>
                      <a:pt x="486750" y="959649"/>
                    </a:lnTo>
                    <a:moveTo>
                      <a:pt x="478799" y="749158"/>
                    </a:moveTo>
                    <a:lnTo>
                      <a:pt x="494701" y="749158"/>
                    </a:lnTo>
                    <a:moveTo>
                      <a:pt x="478799" y="781410"/>
                    </a:moveTo>
                    <a:lnTo>
                      <a:pt x="494701" y="781410"/>
                    </a:lnTo>
                    <a:moveTo>
                      <a:pt x="478799" y="961624"/>
                    </a:moveTo>
                    <a:lnTo>
                      <a:pt x="494701" y="961624"/>
                    </a:lnTo>
                    <a:moveTo>
                      <a:pt x="348265" y="673071"/>
                    </a:moveTo>
                    <a:lnTo>
                      <a:pt x="348265" y="959649"/>
                    </a:lnTo>
                    <a:moveTo>
                      <a:pt x="340314" y="951883"/>
                    </a:moveTo>
                    <a:lnTo>
                      <a:pt x="356217" y="951883"/>
                    </a:lnTo>
                    <a:moveTo>
                      <a:pt x="340314" y="957806"/>
                    </a:moveTo>
                    <a:lnTo>
                      <a:pt x="356217" y="957806"/>
                    </a:lnTo>
                    <a:moveTo>
                      <a:pt x="340314" y="732440"/>
                    </a:moveTo>
                    <a:lnTo>
                      <a:pt x="356217" y="732440"/>
                    </a:lnTo>
                    <a:moveTo>
                      <a:pt x="340314" y="673071"/>
                    </a:moveTo>
                    <a:lnTo>
                      <a:pt x="356217" y="673071"/>
                    </a:lnTo>
                    <a:moveTo>
                      <a:pt x="418899" y="728886"/>
                    </a:moveTo>
                    <a:lnTo>
                      <a:pt x="418899" y="959649"/>
                    </a:lnTo>
                    <a:moveTo>
                      <a:pt x="410948" y="824456"/>
                    </a:moveTo>
                    <a:lnTo>
                      <a:pt x="426850" y="824456"/>
                    </a:lnTo>
                    <a:moveTo>
                      <a:pt x="410948" y="728886"/>
                    </a:moveTo>
                    <a:lnTo>
                      <a:pt x="426850" y="728886"/>
                    </a:lnTo>
                    <a:moveTo>
                      <a:pt x="410948" y="957806"/>
                    </a:moveTo>
                    <a:lnTo>
                      <a:pt x="426850" y="957806"/>
                    </a:lnTo>
                    <a:moveTo>
                      <a:pt x="410948" y="962282"/>
                    </a:moveTo>
                    <a:lnTo>
                      <a:pt x="426850" y="962282"/>
                    </a:lnTo>
                    <a:moveTo>
                      <a:pt x="410948" y="959649"/>
                    </a:moveTo>
                    <a:lnTo>
                      <a:pt x="426850" y="959649"/>
                    </a:lnTo>
                    <a:moveTo>
                      <a:pt x="281872" y="455866"/>
                    </a:moveTo>
                    <a:lnTo>
                      <a:pt x="281872" y="833934"/>
                    </a:lnTo>
                    <a:moveTo>
                      <a:pt x="273921" y="826167"/>
                    </a:moveTo>
                    <a:lnTo>
                      <a:pt x="289824" y="826167"/>
                    </a:lnTo>
                    <a:moveTo>
                      <a:pt x="273921" y="833934"/>
                    </a:moveTo>
                    <a:lnTo>
                      <a:pt x="289824" y="833934"/>
                    </a:lnTo>
                    <a:moveTo>
                      <a:pt x="273921" y="482194"/>
                    </a:moveTo>
                    <a:lnTo>
                      <a:pt x="289824" y="482194"/>
                    </a:lnTo>
                    <a:moveTo>
                      <a:pt x="273921" y="455866"/>
                    </a:moveTo>
                    <a:lnTo>
                      <a:pt x="289824" y="455866"/>
                    </a:lnTo>
                    <a:moveTo>
                      <a:pt x="75935" y="603302"/>
                    </a:moveTo>
                    <a:lnTo>
                      <a:pt x="75935" y="803525"/>
                    </a:lnTo>
                    <a:moveTo>
                      <a:pt x="67983" y="803525"/>
                    </a:moveTo>
                    <a:lnTo>
                      <a:pt x="83886" y="803525"/>
                    </a:lnTo>
                    <a:moveTo>
                      <a:pt x="67983" y="621205"/>
                    </a:moveTo>
                    <a:lnTo>
                      <a:pt x="83886" y="621205"/>
                    </a:lnTo>
                    <a:moveTo>
                      <a:pt x="67983" y="603302"/>
                    </a:moveTo>
                    <a:lnTo>
                      <a:pt x="83886" y="603302"/>
                    </a:lnTo>
                    <a:moveTo>
                      <a:pt x="7951" y="641214"/>
                    </a:moveTo>
                    <a:lnTo>
                      <a:pt x="7951" y="858551"/>
                    </a:lnTo>
                    <a:moveTo>
                      <a:pt x="0" y="858551"/>
                    </a:moveTo>
                    <a:lnTo>
                      <a:pt x="15903" y="858551"/>
                    </a:lnTo>
                    <a:moveTo>
                      <a:pt x="0" y="649376"/>
                    </a:moveTo>
                    <a:lnTo>
                      <a:pt x="15903" y="649376"/>
                    </a:lnTo>
                    <a:moveTo>
                      <a:pt x="0" y="641214"/>
                    </a:moveTo>
                    <a:lnTo>
                      <a:pt x="15903" y="641214"/>
                    </a:lnTo>
                    <a:moveTo>
                      <a:pt x="11397" y="756267"/>
                    </a:moveTo>
                    <a:lnTo>
                      <a:pt x="7951" y="758768"/>
                    </a:lnTo>
                    <a:moveTo>
                      <a:pt x="77657" y="702032"/>
                    </a:moveTo>
                    <a:lnTo>
                      <a:pt x="76597" y="708087"/>
                    </a:lnTo>
                    <a:lnTo>
                      <a:pt x="73151" y="710588"/>
                    </a:lnTo>
                    <a:moveTo>
                      <a:pt x="144581" y="309352"/>
                    </a:moveTo>
                    <a:lnTo>
                      <a:pt x="142063" y="304613"/>
                    </a:lnTo>
                    <a:lnTo>
                      <a:pt x="141003" y="310800"/>
                    </a:lnTo>
                    <a:moveTo>
                      <a:pt x="697458" y="467714"/>
                    </a:moveTo>
                    <a:lnTo>
                      <a:pt x="694013" y="465344"/>
                    </a:lnTo>
                    <a:lnTo>
                      <a:pt x="690832" y="468899"/>
                    </a:lnTo>
                    <a:moveTo>
                      <a:pt x="899156" y="561178"/>
                    </a:moveTo>
                    <a:lnTo>
                      <a:pt x="897433" y="555517"/>
                    </a:lnTo>
                    <a:lnTo>
                      <a:pt x="893722" y="555780"/>
                    </a:lnTo>
                    <a:moveTo>
                      <a:pt x="970717" y="781805"/>
                    </a:moveTo>
                    <a:lnTo>
                      <a:pt x="967006" y="782068"/>
                    </a:lnTo>
                    <a:lnTo>
                      <a:pt x="965283" y="776408"/>
                    </a:lnTo>
                    <a:moveTo>
                      <a:pt x="1374376" y="759558"/>
                    </a:moveTo>
                    <a:lnTo>
                      <a:pt x="1370665" y="759821"/>
                    </a:lnTo>
                  </a:path>
                </a:pathLst>
              </a:custGeom>
              <a:noFill/>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0" name="Freeform 309">
                <a:extLst>
                  <a:ext uri="{FF2B5EF4-FFF2-40B4-BE49-F238E27FC236}">
                    <a16:creationId xmlns:a16="http://schemas.microsoft.com/office/drawing/2014/main" id="{9D28265A-2AE3-1E0E-4FCF-C73B6F407347}"/>
                  </a:ext>
                </a:extLst>
              </p:cNvPr>
              <p:cNvSpPr/>
              <p:nvPr/>
            </p:nvSpPr>
            <p:spPr>
              <a:xfrm>
                <a:off x="6719282" y="2978561"/>
                <a:ext cx="1348136" cy="573025"/>
              </a:xfrm>
              <a:custGeom>
                <a:avLst/>
                <a:gdLst>
                  <a:gd name="connsiteX0" fmla="*/ 55261 w 1348136"/>
                  <a:gd name="connsiteY0" fmla="*/ 399130 h 573025"/>
                  <a:gd name="connsiteX1" fmla="*/ 0 w 1348136"/>
                  <a:gd name="connsiteY1" fmla="*/ 439806 h 573025"/>
                  <a:gd name="connsiteX2" fmla="*/ 125233 w 1348136"/>
                  <a:gd name="connsiteY2" fmla="*/ 3423 h 573025"/>
                  <a:gd name="connsiteX3" fmla="*/ 64008 w 1348136"/>
                  <a:gd name="connsiteY3" fmla="*/ 381754 h 573025"/>
                  <a:gd name="connsiteX4" fmla="*/ 669762 w 1348136"/>
                  <a:gd name="connsiteY4" fmla="*/ 162048 h 573025"/>
                  <a:gd name="connsiteX5" fmla="*/ 608669 w 1348136"/>
                  <a:gd name="connsiteY5" fmla="*/ 231948 h 573025"/>
                  <a:gd name="connsiteX6" fmla="*/ 540289 w 1348136"/>
                  <a:gd name="connsiteY6" fmla="*/ 479561 h 573025"/>
                  <a:gd name="connsiteX7" fmla="*/ 471908 w 1348136"/>
                  <a:gd name="connsiteY7" fmla="*/ 568286 h 573025"/>
                  <a:gd name="connsiteX8" fmla="*/ 404057 w 1348136"/>
                  <a:gd name="connsiteY8" fmla="*/ 573025 h 573025"/>
                  <a:gd name="connsiteX9" fmla="*/ 334616 w 1348136"/>
                  <a:gd name="connsiteY9" fmla="*/ 513788 h 573025"/>
                  <a:gd name="connsiteX10" fmla="*/ 267030 w 1348136"/>
                  <a:gd name="connsiteY10" fmla="*/ 335811 h 573025"/>
                  <a:gd name="connsiteX11" fmla="*/ 199312 w 1348136"/>
                  <a:gd name="connsiteY11" fmla="*/ 129401 h 573025"/>
                  <a:gd name="connsiteX12" fmla="*/ 132124 w 1348136"/>
                  <a:gd name="connsiteY12" fmla="*/ 0 h 573025"/>
                  <a:gd name="connsiteX13" fmla="*/ 873579 w 1348136"/>
                  <a:gd name="connsiteY13" fmla="*/ 242084 h 573025"/>
                  <a:gd name="connsiteX14" fmla="*/ 815800 w 1348136"/>
                  <a:gd name="connsiteY14" fmla="*/ 245375 h 573025"/>
                  <a:gd name="connsiteX15" fmla="*/ 686062 w 1348136"/>
                  <a:gd name="connsiteY15" fmla="*/ 156256 h 573025"/>
                  <a:gd name="connsiteX16" fmla="*/ 946995 w 1348136"/>
                  <a:gd name="connsiteY16" fmla="*/ 456920 h 573025"/>
                  <a:gd name="connsiteX17" fmla="*/ 886036 w 1348136"/>
                  <a:gd name="connsiteY17" fmla="*/ 252879 h 573025"/>
                  <a:gd name="connsiteX18" fmla="*/ 1348137 w 1348136"/>
                  <a:gd name="connsiteY18" fmla="*/ 446125 h 573025"/>
                  <a:gd name="connsiteX19" fmla="*/ 959585 w 1348136"/>
                  <a:gd name="connsiteY19" fmla="*/ 467582 h 57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8136" h="573025">
                    <a:moveTo>
                      <a:pt x="55261" y="399130"/>
                    </a:moveTo>
                    <a:lnTo>
                      <a:pt x="0" y="439806"/>
                    </a:lnTo>
                    <a:moveTo>
                      <a:pt x="125233" y="3423"/>
                    </a:moveTo>
                    <a:lnTo>
                      <a:pt x="64008" y="381754"/>
                    </a:lnTo>
                    <a:moveTo>
                      <a:pt x="669762" y="162048"/>
                    </a:moveTo>
                    <a:lnTo>
                      <a:pt x="608669" y="231948"/>
                    </a:lnTo>
                    <a:lnTo>
                      <a:pt x="540289" y="479561"/>
                    </a:lnTo>
                    <a:lnTo>
                      <a:pt x="471908" y="568286"/>
                    </a:lnTo>
                    <a:lnTo>
                      <a:pt x="404057" y="573025"/>
                    </a:lnTo>
                    <a:lnTo>
                      <a:pt x="334616" y="513788"/>
                    </a:lnTo>
                    <a:lnTo>
                      <a:pt x="267030" y="335811"/>
                    </a:lnTo>
                    <a:lnTo>
                      <a:pt x="199312" y="129401"/>
                    </a:lnTo>
                    <a:lnTo>
                      <a:pt x="132124" y="0"/>
                    </a:lnTo>
                    <a:moveTo>
                      <a:pt x="873579" y="242084"/>
                    </a:moveTo>
                    <a:lnTo>
                      <a:pt x="815800" y="245375"/>
                    </a:lnTo>
                    <a:lnTo>
                      <a:pt x="686062" y="156256"/>
                    </a:lnTo>
                    <a:moveTo>
                      <a:pt x="946995" y="456920"/>
                    </a:moveTo>
                    <a:lnTo>
                      <a:pt x="886036" y="252879"/>
                    </a:lnTo>
                    <a:moveTo>
                      <a:pt x="1348137" y="446125"/>
                    </a:moveTo>
                    <a:lnTo>
                      <a:pt x="959585" y="467582"/>
                    </a:lnTo>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1" name="Freeform 310">
                <a:extLst>
                  <a:ext uri="{FF2B5EF4-FFF2-40B4-BE49-F238E27FC236}">
                    <a16:creationId xmlns:a16="http://schemas.microsoft.com/office/drawing/2014/main" id="{31167C8B-F504-6B54-4C8C-0EED24E9111F}"/>
                  </a:ext>
                </a:extLst>
              </p:cNvPr>
              <p:cNvSpPr/>
              <p:nvPr/>
            </p:nvSpPr>
            <p:spPr>
              <a:xfrm>
                <a:off x="6712392" y="2983827"/>
                <a:ext cx="1366424" cy="575131"/>
              </a:xfrm>
              <a:custGeom>
                <a:avLst/>
                <a:gdLst>
                  <a:gd name="connsiteX0" fmla="*/ 0 w 1366424"/>
                  <a:gd name="connsiteY0" fmla="*/ 420719 h 575131"/>
                  <a:gd name="connsiteX1" fmla="*/ 69441 w 1366424"/>
                  <a:gd name="connsiteY1" fmla="*/ 385176 h 575131"/>
                  <a:gd name="connsiteX2" fmla="*/ 137292 w 1366424"/>
                  <a:gd name="connsiteY2" fmla="*/ 0 h 575131"/>
                  <a:gd name="connsiteX3" fmla="*/ 206335 w 1366424"/>
                  <a:gd name="connsiteY3" fmla="*/ 82669 h 575131"/>
                  <a:gd name="connsiteX4" fmla="*/ 273921 w 1366424"/>
                  <a:gd name="connsiteY4" fmla="*/ 330678 h 575131"/>
                  <a:gd name="connsiteX5" fmla="*/ 340314 w 1366424"/>
                  <a:gd name="connsiteY5" fmla="*/ 510628 h 575131"/>
                  <a:gd name="connsiteX6" fmla="*/ 410948 w 1366424"/>
                  <a:gd name="connsiteY6" fmla="*/ 575131 h 575131"/>
                  <a:gd name="connsiteX7" fmla="*/ 478799 w 1366424"/>
                  <a:gd name="connsiteY7" fmla="*/ 559466 h 575131"/>
                  <a:gd name="connsiteX8" fmla="*/ 547577 w 1366424"/>
                  <a:gd name="connsiteY8" fmla="*/ 451127 h 575131"/>
                  <a:gd name="connsiteX9" fmla="*/ 615560 w 1366424"/>
                  <a:gd name="connsiteY9" fmla="*/ 276969 h 575131"/>
                  <a:gd name="connsiteX10" fmla="*/ 685929 w 1366424"/>
                  <a:gd name="connsiteY10" fmla="*/ 154808 h 575131"/>
                  <a:gd name="connsiteX11" fmla="*/ 753250 w 1366424"/>
                  <a:gd name="connsiteY11" fmla="*/ 265911 h 575131"/>
                  <a:gd name="connsiteX12" fmla="*/ 822691 w 1366424"/>
                  <a:gd name="connsiteY12" fmla="*/ 391232 h 575131"/>
                  <a:gd name="connsiteX13" fmla="*/ 891336 w 1366424"/>
                  <a:gd name="connsiteY13" fmla="*/ 443756 h 575131"/>
                  <a:gd name="connsiteX14" fmla="*/ 959717 w 1366424"/>
                  <a:gd name="connsiteY14" fmla="*/ 387546 h 575131"/>
                  <a:gd name="connsiteX15" fmla="*/ 1366425 w 1366424"/>
                  <a:gd name="connsiteY15" fmla="*/ 440333 h 575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6424" h="575131">
                    <a:moveTo>
                      <a:pt x="0" y="420719"/>
                    </a:moveTo>
                    <a:lnTo>
                      <a:pt x="69441" y="385176"/>
                    </a:lnTo>
                    <a:lnTo>
                      <a:pt x="137292" y="0"/>
                    </a:lnTo>
                    <a:lnTo>
                      <a:pt x="206335" y="82669"/>
                    </a:lnTo>
                    <a:lnTo>
                      <a:pt x="273921" y="330678"/>
                    </a:lnTo>
                    <a:lnTo>
                      <a:pt x="340314" y="510628"/>
                    </a:lnTo>
                    <a:lnTo>
                      <a:pt x="410948" y="575131"/>
                    </a:lnTo>
                    <a:lnTo>
                      <a:pt x="478799" y="559466"/>
                    </a:lnTo>
                    <a:lnTo>
                      <a:pt x="547577" y="451127"/>
                    </a:lnTo>
                    <a:lnTo>
                      <a:pt x="615560" y="276969"/>
                    </a:lnTo>
                    <a:lnTo>
                      <a:pt x="685929" y="154808"/>
                    </a:lnTo>
                    <a:lnTo>
                      <a:pt x="753250" y="265911"/>
                    </a:lnTo>
                    <a:lnTo>
                      <a:pt x="822691" y="391232"/>
                    </a:lnTo>
                    <a:lnTo>
                      <a:pt x="891336" y="443756"/>
                    </a:lnTo>
                    <a:lnTo>
                      <a:pt x="959717" y="387546"/>
                    </a:lnTo>
                    <a:lnTo>
                      <a:pt x="1366425" y="440333"/>
                    </a:lnTo>
                  </a:path>
                </a:pathLst>
              </a:custGeom>
              <a:noFill/>
              <a:ln w="9933" cap="flat">
                <a:solidFill>
                  <a:schemeClr val="accent2"/>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2" name="Freeform 311">
                <a:extLst>
                  <a:ext uri="{FF2B5EF4-FFF2-40B4-BE49-F238E27FC236}">
                    <a16:creationId xmlns:a16="http://schemas.microsoft.com/office/drawing/2014/main" id="{6E948DDB-F7E5-5B69-39FE-46725C1FF087}"/>
                  </a:ext>
                </a:extLst>
              </p:cNvPr>
              <p:cNvSpPr/>
              <p:nvPr/>
            </p:nvSpPr>
            <p:spPr>
              <a:xfrm>
                <a:off x="6837624" y="295802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3" name="Freeform 312">
                <a:extLst>
                  <a:ext uri="{FF2B5EF4-FFF2-40B4-BE49-F238E27FC236}">
                    <a16:creationId xmlns:a16="http://schemas.microsoft.com/office/drawing/2014/main" id="{16214EBB-2CE2-61CD-16CA-2222F7D75A2B}"/>
                  </a:ext>
                </a:extLst>
              </p:cNvPr>
              <p:cNvSpPr/>
              <p:nvPr/>
            </p:nvSpPr>
            <p:spPr>
              <a:xfrm>
                <a:off x="6837624" y="2958026"/>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4" name="Freeform 313">
                <a:extLst>
                  <a:ext uri="{FF2B5EF4-FFF2-40B4-BE49-F238E27FC236}">
                    <a16:creationId xmlns:a16="http://schemas.microsoft.com/office/drawing/2014/main" id="{19EB764B-BEB9-443D-8ABE-6C495A32C158}"/>
                  </a:ext>
                </a:extLst>
              </p:cNvPr>
              <p:cNvSpPr/>
              <p:nvPr/>
            </p:nvSpPr>
            <p:spPr>
              <a:xfrm>
                <a:off x="6906402" y="3099275"/>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5" name="Freeform 314">
                <a:extLst>
                  <a:ext uri="{FF2B5EF4-FFF2-40B4-BE49-F238E27FC236}">
                    <a16:creationId xmlns:a16="http://schemas.microsoft.com/office/drawing/2014/main" id="{4BE70DEF-A608-F298-6707-6EAC0F4B89B7}"/>
                  </a:ext>
                </a:extLst>
              </p:cNvPr>
              <p:cNvSpPr/>
              <p:nvPr/>
            </p:nvSpPr>
            <p:spPr>
              <a:xfrm>
                <a:off x="6906402" y="3099275"/>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6" name="Freeform 315">
                <a:extLst>
                  <a:ext uri="{FF2B5EF4-FFF2-40B4-BE49-F238E27FC236}">
                    <a16:creationId xmlns:a16="http://schemas.microsoft.com/office/drawing/2014/main" id="{15476B7F-3508-8186-D91F-117743DB9560}"/>
                  </a:ext>
                </a:extLst>
              </p:cNvPr>
              <p:cNvSpPr/>
              <p:nvPr/>
            </p:nvSpPr>
            <p:spPr>
              <a:xfrm>
                <a:off x="6975181" y="330331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7" name="Freeform 316">
                <a:extLst>
                  <a:ext uri="{FF2B5EF4-FFF2-40B4-BE49-F238E27FC236}">
                    <a16:creationId xmlns:a16="http://schemas.microsoft.com/office/drawing/2014/main" id="{FBBDC0DB-F1D5-CD77-A442-E0F2DC259B05}"/>
                  </a:ext>
                </a:extLst>
              </p:cNvPr>
              <p:cNvSpPr/>
              <p:nvPr/>
            </p:nvSpPr>
            <p:spPr>
              <a:xfrm>
                <a:off x="6975181" y="3303315"/>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8" name="Freeform 317">
                <a:extLst>
                  <a:ext uri="{FF2B5EF4-FFF2-40B4-BE49-F238E27FC236}">
                    <a16:creationId xmlns:a16="http://schemas.microsoft.com/office/drawing/2014/main" id="{DD66B9F8-BFCB-A6FF-5A0F-A8D21DC8B257}"/>
                  </a:ext>
                </a:extLst>
              </p:cNvPr>
              <p:cNvSpPr/>
              <p:nvPr/>
            </p:nvSpPr>
            <p:spPr>
              <a:xfrm>
                <a:off x="7041574" y="348129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19" name="Freeform 318">
                <a:extLst>
                  <a:ext uri="{FF2B5EF4-FFF2-40B4-BE49-F238E27FC236}">
                    <a16:creationId xmlns:a16="http://schemas.microsoft.com/office/drawing/2014/main" id="{A78FBCE9-DE41-0610-8E1B-574F9398905F}"/>
                  </a:ext>
                </a:extLst>
              </p:cNvPr>
              <p:cNvSpPr/>
              <p:nvPr/>
            </p:nvSpPr>
            <p:spPr>
              <a:xfrm>
                <a:off x="7041574" y="348129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0" name="Freeform 319">
                <a:extLst>
                  <a:ext uri="{FF2B5EF4-FFF2-40B4-BE49-F238E27FC236}">
                    <a16:creationId xmlns:a16="http://schemas.microsoft.com/office/drawing/2014/main" id="{929E8ED5-F451-129E-F7EB-E58397CBC3A8}"/>
                  </a:ext>
                </a:extLst>
              </p:cNvPr>
              <p:cNvSpPr/>
              <p:nvPr/>
            </p:nvSpPr>
            <p:spPr>
              <a:xfrm>
                <a:off x="7112207" y="353671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1" name="Freeform 320">
                <a:extLst>
                  <a:ext uri="{FF2B5EF4-FFF2-40B4-BE49-F238E27FC236}">
                    <a16:creationId xmlns:a16="http://schemas.microsoft.com/office/drawing/2014/main" id="{FB8622FF-3704-1B7D-50E8-16CEA6D9CCF8}"/>
                  </a:ext>
                </a:extLst>
              </p:cNvPr>
              <p:cNvSpPr/>
              <p:nvPr/>
            </p:nvSpPr>
            <p:spPr>
              <a:xfrm>
                <a:off x="7112207" y="3536711"/>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2" name="Freeform 321">
                <a:extLst>
                  <a:ext uri="{FF2B5EF4-FFF2-40B4-BE49-F238E27FC236}">
                    <a16:creationId xmlns:a16="http://schemas.microsoft.com/office/drawing/2014/main" id="{035DAB99-5605-FA3F-3A8F-24113CEA280A}"/>
                  </a:ext>
                </a:extLst>
              </p:cNvPr>
              <p:cNvSpPr/>
              <p:nvPr/>
            </p:nvSpPr>
            <p:spPr>
              <a:xfrm>
                <a:off x="7180058" y="353671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3" name="Freeform 322">
                <a:extLst>
                  <a:ext uri="{FF2B5EF4-FFF2-40B4-BE49-F238E27FC236}">
                    <a16:creationId xmlns:a16="http://schemas.microsoft.com/office/drawing/2014/main" id="{F6113636-7606-607A-CA84-AF925AAF769E}"/>
                  </a:ext>
                </a:extLst>
              </p:cNvPr>
              <p:cNvSpPr/>
              <p:nvPr/>
            </p:nvSpPr>
            <p:spPr>
              <a:xfrm>
                <a:off x="7180058" y="353671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4" name="Freeform 323">
                <a:extLst>
                  <a:ext uri="{FF2B5EF4-FFF2-40B4-BE49-F238E27FC236}">
                    <a16:creationId xmlns:a16="http://schemas.microsoft.com/office/drawing/2014/main" id="{198EA94D-FF06-D04F-D345-2FBA43FCC6F1}"/>
                  </a:ext>
                </a:extLst>
              </p:cNvPr>
              <p:cNvSpPr/>
              <p:nvPr/>
            </p:nvSpPr>
            <p:spPr>
              <a:xfrm>
                <a:off x="7248439" y="3446933"/>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5" name="Freeform 324">
                <a:extLst>
                  <a:ext uri="{FF2B5EF4-FFF2-40B4-BE49-F238E27FC236}">
                    <a16:creationId xmlns:a16="http://schemas.microsoft.com/office/drawing/2014/main" id="{2C8F0FBD-616F-FAA4-BDED-3C688E50707A}"/>
                  </a:ext>
                </a:extLst>
              </p:cNvPr>
              <p:cNvSpPr/>
              <p:nvPr/>
            </p:nvSpPr>
            <p:spPr>
              <a:xfrm>
                <a:off x="7248439" y="3446933"/>
                <a:ext cx="22263" cy="22378"/>
              </a:xfrm>
              <a:custGeom>
                <a:avLst/>
                <a:gdLst>
                  <a:gd name="connsiteX0" fmla="*/ 22264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4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4" y="11189"/>
                    </a:moveTo>
                    <a:cubicBezTo>
                      <a:pt x="22264" y="17376"/>
                      <a:pt x="17228" y="22379"/>
                      <a:pt x="11132" y="22379"/>
                    </a:cubicBezTo>
                    <a:cubicBezTo>
                      <a:pt x="5036" y="22379"/>
                      <a:pt x="0" y="17376"/>
                      <a:pt x="0" y="11189"/>
                    </a:cubicBezTo>
                    <a:cubicBezTo>
                      <a:pt x="0" y="5002"/>
                      <a:pt x="5036" y="0"/>
                      <a:pt x="11132" y="0"/>
                    </a:cubicBezTo>
                    <a:cubicBezTo>
                      <a:pt x="17228" y="0"/>
                      <a:pt x="22264" y="5002"/>
                      <a:pt x="22264"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6" name="Freeform 325">
                <a:extLst>
                  <a:ext uri="{FF2B5EF4-FFF2-40B4-BE49-F238E27FC236}">
                    <a16:creationId xmlns:a16="http://schemas.microsoft.com/office/drawing/2014/main" id="{7BC384BA-1F7F-B42D-BE0B-D4C014C191B1}"/>
                  </a:ext>
                </a:extLst>
              </p:cNvPr>
              <p:cNvSpPr/>
              <p:nvPr/>
            </p:nvSpPr>
            <p:spPr>
              <a:xfrm>
                <a:off x="7316025" y="32030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7" name="Freeform 326">
                <a:extLst>
                  <a:ext uri="{FF2B5EF4-FFF2-40B4-BE49-F238E27FC236}">
                    <a16:creationId xmlns:a16="http://schemas.microsoft.com/office/drawing/2014/main" id="{8073A133-499D-FB85-A01D-71A0D79D9EB7}"/>
                  </a:ext>
                </a:extLst>
              </p:cNvPr>
              <p:cNvSpPr/>
              <p:nvPr/>
            </p:nvSpPr>
            <p:spPr>
              <a:xfrm>
                <a:off x="7316025" y="3203006"/>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8" name="Freeform 327">
                <a:extLst>
                  <a:ext uri="{FF2B5EF4-FFF2-40B4-BE49-F238E27FC236}">
                    <a16:creationId xmlns:a16="http://schemas.microsoft.com/office/drawing/2014/main" id="{A21539B9-4CF7-A62D-38E8-80CA8A313D6D}"/>
                  </a:ext>
                </a:extLst>
              </p:cNvPr>
              <p:cNvSpPr/>
              <p:nvPr/>
            </p:nvSpPr>
            <p:spPr>
              <a:xfrm>
                <a:off x="7385864" y="312402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29" name="Freeform 328">
                <a:extLst>
                  <a:ext uri="{FF2B5EF4-FFF2-40B4-BE49-F238E27FC236}">
                    <a16:creationId xmlns:a16="http://schemas.microsoft.com/office/drawing/2014/main" id="{FC122315-5DDC-2A70-A5F8-8BDE3B7C2439}"/>
                  </a:ext>
                </a:extLst>
              </p:cNvPr>
              <p:cNvSpPr/>
              <p:nvPr/>
            </p:nvSpPr>
            <p:spPr>
              <a:xfrm>
                <a:off x="7385864" y="312402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0" name="Freeform 329">
                <a:extLst>
                  <a:ext uri="{FF2B5EF4-FFF2-40B4-BE49-F238E27FC236}">
                    <a16:creationId xmlns:a16="http://schemas.microsoft.com/office/drawing/2014/main" id="{B15BC25A-2DE3-6D59-6869-40350F757975}"/>
                  </a:ext>
                </a:extLst>
              </p:cNvPr>
              <p:cNvSpPr/>
              <p:nvPr/>
            </p:nvSpPr>
            <p:spPr>
              <a:xfrm>
                <a:off x="7455305" y="316101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1" name="Freeform 330">
                <a:extLst>
                  <a:ext uri="{FF2B5EF4-FFF2-40B4-BE49-F238E27FC236}">
                    <a16:creationId xmlns:a16="http://schemas.microsoft.com/office/drawing/2014/main" id="{524A9D42-B67C-DA7E-47AB-56BBCEF8A722}"/>
                  </a:ext>
                </a:extLst>
              </p:cNvPr>
              <p:cNvSpPr/>
              <p:nvPr/>
            </p:nvSpPr>
            <p:spPr>
              <a:xfrm>
                <a:off x="7455305" y="3161013"/>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2" name="Freeform 331">
                <a:extLst>
                  <a:ext uri="{FF2B5EF4-FFF2-40B4-BE49-F238E27FC236}">
                    <a16:creationId xmlns:a16="http://schemas.microsoft.com/office/drawing/2014/main" id="{5AE24F7E-31A2-44C6-40BA-2437F720C5A0}"/>
                  </a:ext>
                </a:extLst>
              </p:cNvPr>
              <p:cNvSpPr/>
              <p:nvPr/>
            </p:nvSpPr>
            <p:spPr>
              <a:xfrm>
                <a:off x="6770038" y="3356892"/>
                <a:ext cx="912539" cy="100309"/>
              </a:xfrm>
              <a:custGeom>
                <a:avLst/>
                <a:gdLst>
                  <a:gd name="connsiteX0" fmla="*/ 22263 w 912539"/>
                  <a:gd name="connsiteY0" fmla="*/ 11189 h 100309"/>
                  <a:gd name="connsiteX1" fmla="*/ 11132 w 912539"/>
                  <a:gd name="connsiteY1" fmla="*/ 22379 h 100309"/>
                  <a:gd name="connsiteX2" fmla="*/ 0 w 912539"/>
                  <a:gd name="connsiteY2" fmla="*/ 11189 h 100309"/>
                  <a:gd name="connsiteX3" fmla="*/ 11132 w 912539"/>
                  <a:gd name="connsiteY3" fmla="*/ 0 h 100309"/>
                  <a:gd name="connsiteX4" fmla="*/ 22263 w 912539"/>
                  <a:gd name="connsiteY4" fmla="*/ 11189 h 100309"/>
                  <a:gd name="connsiteX5" fmla="*/ 912540 w 912539"/>
                  <a:gd name="connsiteY5" fmla="*/ 89120 h 100309"/>
                  <a:gd name="connsiteX6" fmla="*/ 901408 w 912539"/>
                  <a:gd name="connsiteY6" fmla="*/ 100309 h 100309"/>
                  <a:gd name="connsiteX7" fmla="*/ 890276 w 912539"/>
                  <a:gd name="connsiteY7" fmla="*/ 89120 h 100309"/>
                  <a:gd name="connsiteX8" fmla="*/ 901408 w 912539"/>
                  <a:gd name="connsiteY8" fmla="*/ 77930 h 100309"/>
                  <a:gd name="connsiteX9" fmla="*/ 912540 w 912539"/>
                  <a:gd name="connsiteY9" fmla="*/ 89120 h 1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539" h="100309">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moveTo>
                      <a:pt x="912540" y="89120"/>
                    </a:moveTo>
                    <a:cubicBezTo>
                      <a:pt x="912540" y="95307"/>
                      <a:pt x="907504" y="100309"/>
                      <a:pt x="901408" y="100309"/>
                    </a:cubicBezTo>
                    <a:cubicBezTo>
                      <a:pt x="895312" y="100309"/>
                      <a:pt x="890276" y="95307"/>
                      <a:pt x="890276" y="89120"/>
                    </a:cubicBezTo>
                    <a:cubicBezTo>
                      <a:pt x="890276" y="82933"/>
                      <a:pt x="895312" y="77930"/>
                      <a:pt x="901408" y="77930"/>
                    </a:cubicBezTo>
                    <a:cubicBezTo>
                      <a:pt x="907504" y="77930"/>
                      <a:pt x="912540" y="82933"/>
                      <a:pt x="912540" y="89120"/>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3" name="Freeform 332">
                <a:extLst>
                  <a:ext uri="{FF2B5EF4-FFF2-40B4-BE49-F238E27FC236}">
                    <a16:creationId xmlns:a16="http://schemas.microsoft.com/office/drawing/2014/main" id="{F33ECDA6-72CF-172A-36C2-EB33F7BB945A}"/>
                  </a:ext>
                </a:extLst>
              </p:cNvPr>
              <p:cNvSpPr/>
              <p:nvPr/>
            </p:nvSpPr>
            <p:spPr>
              <a:xfrm>
                <a:off x="6770038" y="3356892"/>
                <a:ext cx="912539" cy="100309"/>
              </a:xfrm>
              <a:custGeom>
                <a:avLst/>
                <a:gdLst>
                  <a:gd name="connsiteX0" fmla="*/ 22263 w 912539"/>
                  <a:gd name="connsiteY0" fmla="*/ 11189 h 100309"/>
                  <a:gd name="connsiteX1" fmla="*/ 11132 w 912539"/>
                  <a:gd name="connsiteY1" fmla="*/ 22379 h 100309"/>
                  <a:gd name="connsiteX2" fmla="*/ 0 w 912539"/>
                  <a:gd name="connsiteY2" fmla="*/ 11189 h 100309"/>
                  <a:gd name="connsiteX3" fmla="*/ 11132 w 912539"/>
                  <a:gd name="connsiteY3" fmla="*/ 0 h 100309"/>
                  <a:gd name="connsiteX4" fmla="*/ 22263 w 912539"/>
                  <a:gd name="connsiteY4" fmla="*/ 11189 h 100309"/>
                  <a:gd name="connsiteX5" fmla="*/ 912540 w 912539"/>
                  <a:gd name="connsiteY5" fmla="*/ 89120 h 100309"/>
                  <a:gd name="connsiteX6" fmla="*/ 901408 w 912539"/>
                  <a:gd name="connsiteY6" fmla="*/ 100309 h 100309"/>
                  <a:gd name="connsiteX7" fmla="*/ 890276 w 912539"/>
                  <a:gd name="connsiteY7" fmla="*/ 89120 h 100309"/>
                  <a:gd name="connsiteX8" fmla="*/ 901408 w 912539"/>
                  <a:gd name="connsiteY8" fmla="*/ 77930 h 100309"/>
                  <a:gd name="connsiteX9" fmla="*/ 912540 w 912539"/>
                  <a:gd name="connsiteY9" fmla="*/ 89120 h 1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539" h="100309">
                    <a:moveTo>
                      <a:pt x="22263" y="11189"/>
                    </a:moveTo>
                    <a:cubicBezTo>
                      <a:pt x="22263" y="17376"/>
                      <a:pt x="17228" y="22379"/>
                      <a:pt x="11132" y="22379"/>
                    </a:cubicBezTo>
                    <a:cubicBezTo>
                      <a:pt x="5035" y="22379"/>
                      <a:pt x="0" y="17376"/>
                      <a:pt x="0" y="11189"/>
                    </a:cubicBezTo>
                    <a:cubicBezTo>
                      <a:pt x="0" y="5002"/>
                      <a:pt x="5035" y="0"/>
                      <a:pt x="11132" y="0"/>
                    </a:cubicBezTo>
                    <a:cubicBezTo>
                      <a:pt x="17228" y="0"/>
                      <a:pt x="22263" y="5002"/>
                      <a:pt x="22263" y="11189"/>
                    </a:cubicBezTo>
                    <a:close/>
                    <a:moveTo>
                      <a:pt x="912540" y="89120"/>
                    </a:moveTo>
                    <a:cubicBezTo>
                      <a:pt x="912540" y="95307"/>
                      <a:pt x="907504" y="100309"/>
                      <a:pt x="901408" y="100309"/>
                    </a:cubicBezTo>
                    <a:cubicBezTo>
                      <a:pt x="895312" y="100309"/>
                      <a:pt x="890276" y="95307"/>
                      <a:pt x="890276" y="89120"/>
                    </a:cubicBezTo>
                    <a:cubicBezTo>
                      <a:pt x="890276" y="82933"/>
                      <a:pt x="895312" y="77930"/>
                      <a:pt x="901408" y="77930"/>
                    </a:cubicBezTo>
                    <a:cubicBezTo>
                      <a:pt x="907504" y="77930"/>
                      <a:pt x="912540" y="82933"/>
                      <a:pt x="912540" y="89120"/>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4" name="Freeform 333">
                <a:extLst>
                  <a:ext uri="{FF2B5EF4-FFF2-40B4-BE49-F238E27FC236}">
                    <a16:creationId xmlns:a16="http://schemas.microsoft.com/office/drawing/2014/main" id="{8A690949-2716-0085-0068-C1429F850B12}"/>
                  </a:ext>
                </a:extLst>
              </p:cNvPr>
              <p:cNvSpPr/>
              <p:nvPr/>
            </p:nvSpPr>
            <p:spPr>
              <a:xfrm>
                <a:off x="8067684" y="341297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5" name="Freeform 334">
                <a:extLst>
                  <a:ext uri="{FF2B5EF4-FFF2-40B4-BE49-F238E27FC236}">
                    <a16:creationId xmlns:a16="http://schemas.microsoft.com/office/drawing/2014/main" id="{F35E58EA-53A1-7886-C700-1553D915C7B0}"/>
                  </a:ext>
                </a:extLst>
              </p:cNvPr>
              <p:cNvSpPr/>
              <p:nvPr/>
            </p:nvSpPr>
            <p:spPr>
              <a:xfrm>
                <a:off x="8067684" y="3412971"/>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6" name="Freeform 335">
                <a:extLst>
                  <a:ext uri="{FF2B5EF4-FFF2-40B4-BE49-F238E27FC236}">
                    <a16:creationId xmlns:a16="http://schemas.microsoft.com/office/drawing/2014/main" id="{1341ABDF-C114-CC91-33D5-6773D3401129}"/>
                  </a:ext>
                </a:extLst>
              </p:cNvPr>
              <p:cNvSpPr/>
              <p:nvPr/>
            </p:nvSpPr>
            <p:spPr>
              <a:xfrm>
                <a:off x="7523950"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7" name="Freeform 336">
                <a:extLst>
                  <a:ext uri="{FF2B5EF4-FFF2-40B4-BE49-F238E27FC236}">
                    <a16:creationId xmlns:a16="http://schemas.microsoft.com/office/drawing/2014/main" id="{6FC46909-C072-9CED-278E-BD9AFC202CF5}"/>
                  </a:ext>
                </a:extLst>
              </p:cNvPr>
              <p:cNvSpPr/>
              <p:nvPr/>
            </p:nvSpPr>
            <p:spPr>
              <a:xfrm>
                <a:off x="7523950"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8" name="Freeform 337">
                <a:extLst>
                  <a:ext uri="{FF2B5EF4-FFF2-40B4-BE49-F238E27FC236}">
                    <a16:creationId xmlns:a16="http://schemas.microsoft.com/office/drawing/2014/main" id="{1977C8CC-E45C-6722-6207-81B716493A2C}"/>
                  </a:ext>
                </a:extLst>
              </p:cNvPr>
              <p:cNvSpPr/>
              <p:nvPr/>
            </p:nvSpPr>
            <p:spPr>
              <a:xfrm>
                <a:off x="7591934"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path>
                </a:pathLst>
              </a:custGeom>
              <a:solidFill>
                <a:schemeClr val="bg2"/>
              </a:solidFill>
              <a:ln w="0" cap="flat">
                <a:no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339" name="Freeform 338">
                <a:extLst>
                  <a:ext uri="{FF2B5EF4-FFF2-40B4-BE49-F238E27FC236}">
                    <a16:creationId xmlns:a16="http://schemas.microsoft.com/office/drawing/2014/main" id="{C9832860-EA45-78EB-451D-6F0F34E8F486}"/>
                  </a:ext>
                </a:extLst>
              </p:cNvPr>
              <p:cNvSpPr/>
              <p:nvPr/>
            </p:nvSpPr>
            <p:spPr>
              <a:xfrm>
                <a:off x="7591934" y="3212748"/>
                <a:ext cx="22263" cy="22378"/>
              </a:xfrm>
              <a:custGeom>
                <a:avLst/>
                <a:gdLst>
                  <a:gd name="connsiteX0" fmla="*/ 22263 w 22263"/>
                  <a:gd name="connsiteY0" fmla="*/ 11189 h 22378"/>
                  <a:gd name="connsiteX1" fmla="*/ 11132 w 22263"/>
                  <a:gd name="connsiteY1" fmla="*/ 22379 h 22378"/>
                  <a:gd name="connsiteX2" fmla="*/ 0 w 22263"/>
                  <a:gd name="connsiteY2" fmla="*/ 11189 h 22378"/>
                  <a:gd name="connsiteX3" fmla="*/ 11132 w 22263"/>
                  <a:gd name="connsiteY3" fmla="*/ 0 h 22378"/>
                  <a:gd name="connsiteX4" fmla="*/ 22263 w 22263"/>
                  <a:gd name="connsiteY4" fmla="*/ 11189 h 22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378">
                    <a:moveTo>
                      <a:pt x="22263" y="11189"/>
                    </a:moveTo>
                    <a:cubicBezTo>
                      <a:pt x="22263" y="17376"/>
                      <a:pt x="17228" y="22379"/>
                      <a:pt x="11132" y="22379"/>
                    </a:cubicBezTo>
                    <a:cubicBezTo>
                      <a:pt x="5036" y="22379"/>
                      <a:pt x="0" y="17376"/>
                      <a:pt x="0" y="11189"/>
                    </a:cubicBezTo>
                    <a:cubicBezTo>
                      <a:pt x="0" y="5002"/>
                      <a:pt x="5036" y="0"/>
                      <a:pt x="11132" y="0"/>
                    </a:cubicBezTo>
                    <a:cubicBezTo>
                      <a:pt x="17228" y="0"/>
                      <a:pt x="22263" y="5002"/>
                      <a:pt x="22263" y="11189"/>
                    </a:cubicBezTo>
                    <a:close/>
                  </a:path>
                </a:pathLst>
              </a:custGeom>
              <a:noFill/>
              <a:ln w="9933" cap="flat">
                <a:solidFill>
                  <a:schemeClr val="accent6">
                    <a:lumMod val="75000"/>
                  </a:schemeClr>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7" name="Freeform 426">
                <a:extLst>
                  <a:ext uri="{FF2B5EF4-FFF2-40B4-BE49-F238E27FC236}">
                    <a16:creationId xmlns:a16="http://schemas.microsoft.com/office/drawing/2014/main" id="{10AE8A85-753A-4AA9-0C71-0534A393C484}"/>
                  </a:ext>
                </a:extLst>
              </p:cNvPr>
              <p:cNvSpPr/>
              <p:nvPr/>
            </p:nvSpPr>
            <p:spPr>
              <a:xfrm>
                <a:off x="6712656"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8" name="Freeform 427">
                <a:extLst>
                  <a:ext uri="{FF2B5EF4-FFF2-40B4-BE49-F238E27FC236}">
                    <a16:creationId xmlns:a16="http://schemas.microsoft.com/office/drawing/2014/main" id="{5DC10566-21EE-624B-8683-4D8534A308E8}"/>
                  </a:ext>
                </a:extLst>
              </p:cNvPr>
              <p:cNvSpPr/>
              <p:nvPr/>
            </p:nvSpPr>
            <p:spPr>
              <a:xfrm>
                <a:off x="7331397"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29" name="Freeform 428">
                <a:extLst>
                  <a:ext uri="{FF2B5EF4-FFF2-40B4-BE49-F238E27FC236}">
                    <a16:creationId xmlns:a16="http://schemas.microsoft.com/office/drawing/2014/main" id="{4679240E-EA16-FBD6-E60D-F8E8B9A3E65B}"/>
                  </a:ext>
                </a:extLst>
              </p:cNvPr>
              <p:cNvSpPr/>
              <p:nvPr/>
            </p:nvSpPr>
            <p:spPr>
              <a:xfrm>
                <a:off x="6981674"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30" name="Freeform 429">
                <a:extLst>
                  <a:ext uri="{FF2B5EF4-FFF2-40B4-BE49-F238E27FC236}">
                    <a16:creationId xmlns:a16="http://schemas.microsoft.com/office/drawing/2014/main" id="{26A4E2EA-2CA0-B8D9-BF2B-88C352C64893}"/>
                  </a:ext>
                </a:extLst>
              </p:cNvPr>
              <p:cNvSpPr/>
              <p:nvPr/>
            </p:nvSpPr>
            <p:spPr>
              <a:xfrm>
                <a:off x="7673302"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31" name="Freeform 430">
                <a:extLst>
                  <a:ext uri="{FF2B5EF4-FFF2-40B4-BE49-F238E27FC236}">
                    <a16:creationId xmlns:a16="http://schemas.microsoft.com/office/drawing/2014/main" id="{6D11EFC8-F52F-DA3F-32B9-C880E3F0EAF6}"/>
                  </a:ext>
                </a:extLst>
              </p:cNvPr>
              <p:cNvSpPr/>
              <p:nvPr/>
            </p:nvSpPr>
            <p:spPr>
              <a:xfrm>
                <a:off x="8078551" y="3626358"/>
                <a:ext cx="13252" cy="28302"/>
              </a:xfrm>
              <a:custGeom>
                <a:avLst/>
                <a:gdLst>
                  <a:gd name="connsiteX0" fmla="*/ 0 w 13252"/>
                  <a:gd name="connsiteY0" fmla="*/ 0 h 28302"/>
                  <a:gd name="connsiteX1" fmla="*/ 0 w 13252"/>
                  <a:gd name="connsiteY1" fmla="*/ 28302 h 28302"/>
                </a:gdLst>
                <a:ahLst/>
                <a:cxnLst>
                  <a:cxn ang="0">
                    <a:pos x="connsiteX0" y="connsiteY0"/>
                  </a:cxn>
                  <a:cxn ang="0">
                    <a:pos x="connsiteX1" y="connsiteY1"/>
                  </a:cxn>
                </a:cxnLst>
                <a:rect l="l" t="t" r="r" b="b"/>
                <a:pathLst>
                  <a:path w="13252" h="28302">
                    <a:moveTo>
                      <a:pt x="0" y="0"/>
                    </a:moveTo>
                    <a:lnTo>
                      <a:pt x="0" y="28302"/>
                    </a:lnTo>
                  </a:path>
                </a:pathLst>
              </a:custGeom>
              <a:ln w="4635" cap="flat">
                <a:solidFill>
                  <a:srgbClr val="000000"/>
                </a:solidFill>
                <a:prstDash val="solid"/>
                <a:miter/>
              </a:ln>
            </p:spPr>
            <p:txBody>
              <a:bodyPr rtlCol="0" anchor="ctr"/>
              <a:lstStyle/>
              <a:p>
                <a:endParaRPr lang="en-US" sz="500">
                  <a:latin typeface="Arial" panose="020B0604020202020204" pitchFamily="34" charset="0"/>
                  <a:cs typeface="Arial" panose="020B0604020202020204" pitchFamily="34" charset="0"/>
                </a:endParaRPr>
              </a:p>
            </p:txBody>
          </p:sp>
          <p:sp>
            <p:nvSpPr>
              <p:cNvPr id="445" name="object 199">
                <a:extLst>
                  <a:ext uri="{FF2B5EF4-FFF2-40B4-BE49-F238E27FC236}">
                    <a16:creationId xmlns:a16="http://schemas.microsoft.com/office/drawing/2014/main" id="{57375F15-4018-529B-F0E1-92BE67C5C5A4}"/>
                  </a:ext>
                </a:extLst>
              </p:cNvPr>
              <p:cNvSpPr txBox="1"/>
              <p:nvPr/>
            </p:nvSpPr>
            <p:spPr>
              <a:xfrm>
                <a:off x="6659219" y="2349387"/>
                <a:ext cx="1332095" cy="120546"/>
              </a:xfrm>
              <a:prstGeom prst="rect">
                <a:avLst/>
              </a:prstGeom>
            </p:spPr>
            <p:txBody>
              <a:bodyPr vert="horz" wrap="none" lIns="0" tIns="12700" rIns="0" bIns="0" rtlCol="0">
                <a:spAutoFit/>
              </a:bodyPr>
              <a:lstStyle/>
              <a:p>
                <a:pPr algn="ctr">
                  <a:lnSpc>
                    <a:spcPct val="100000"/>
                  </a:lnSpc>
                  <a:spcBef>
                    <a:spcPts val="100"/>
                  </a:spcBef>
                </a:pPr>
                <a:r>
                  <a:rPr sz="700" b="1" dirty="0">
                    <a:solidFill>
                      <a:srgbClr val="001C49"/>
                    </a:solidFill>
                    <a:latin typeface="Arial"/>
                    <a:cs typeface="Arial"/>
                  </a:rPr>
                  <a:t>Efficacy</a:t>
                </a:r>
                <a:r>
                  <a:rPr lang="de-DE" sz="700" b="1" dirty="0">
                    <a:solidFill>
                      <a:srgbClr val="001C49"/>
                    </a:solidFill>
                    <a:latin typeface="Arial"/>
                    <a:cs typeface="Arial"/>
                  </a:rPr>
                  <a:t> </a:t>
                </a:r>
                <a:r>
                  <a:rPr lang="de-DE" sz="700" b="1" dirty="0">
                    <a:solidFill>
                      <a:schemeClr val="accent1"/>
                    </a:solidFill>
                    <a:latin typeface="Arial"/>
                    <a:cs typeface="Arial"/>
                  </a:rPr>
                  <a:t>– </a:t>
                </a:r>
                <a:r>
                  <a:rPr lang="en-GB" sz="700" b="1" dirty="0">
                    <a:solidFill>
                      <a:schemeClr val="accent1"/>
                    </a:solidFill>
                    <a:latin typeface="Arial"/>
                    <a:cs typeface="Arial"/>
                  </a:rPr>
                  <a:t>the treatment effect</a:t>
                </a:r>
              </a:p>
            </p:txBody>
          </p:sp>
          <p:sp>
            <p:nvSpPr>
              <p:cNvPr id="458" name="TextBox 457">
                <a:extLst>
                  <a:ext uri="{FF2B5EF4-FFF2-40B4-BE49-F238E27FC236}">
                    <a16:creationId xmlns:a16="http://schemas.microsoft.com/office/drawing/2014/main" id="{95B5B9D5-0E30-E4F0-AB40-1F2F35C0E25F}"/>
                  </a:ext>
                </a:extLst>
              </p:cNvPr>
              <p:cNvSpPr txBox="1"/>
              <p:nvPr/>
            </p:nvSpPr>
            <p:spPr>
              <a:xfrm rot="16200000">
                <a:off x="6077602" y="3081081"/>
                <a:ext cx="681277" cy="153888"/>
              </a:xfrm>
              <a:prstGeom prst="rect">
                <a:avLst/>
              </a:prstGeom>
              <a:noFill/>
            </p:spPr>
            <p:txBody>
              <a:bodyPr wrap="none" lIns="0" tIns="0" rIns="0" bIns="0" rtlCol="0">
                <a:spAutoFit/>
              </a:bodyPr>
              <a:lstStyle/>
              <a:p>
                <a:pPr algn="ctr"/>
                <a:r>
                  <a:rPr lang="en-US" sz="500" dirty="0">
                    <a:ln/>
                    <a:solidFill>
                      <a:srgbClr val="000000"/>
                    </a:solidFill>
                    <a:latin typeface="Arial" panose="020B0604020202020204" pitchFamily="34" charset="0"/>
                    <a:cs typeface="Arial" panose="020B0604020202020204" pitchFamily="34" charset="0"/>
                    <a:sym typeface="Arial"/>
                    <a:rtl val="0"/>
                  </a:rPr>
                  <a:t>Time course of recovery</a:t>
                </a:r>
                <a:br>
                  <a:rPr lang="en-US" sz="500" dirty="0">
                    <a:ln/>
                    <a:solidFill>
                      <a:srgbClr val="000000"/>
                    </a:solidFill>
                    <a:latin typeface="Arial" panose="020B0604020202020204" pitchFamily="34" charset="0"/>
                    <a:cs typeface="Arial" panose="020B0604020202020204" pitchFamily="34" charset="0"/>
                    <a:sym typeface="Arial"/>
                    <a:rtl val="0"/>
                  </a:rPr>
                </a:br>
                <a:r>
                  <a:rPr lang="en-US" sz="500" dirty="0">
                    <a:ln/>
                    <a:solidFill>
                      <a:srgbClr val="000000"/>
                    </a:solidFill>
                    <a:latin typeface="Arial" panose="020B0604020202020204" pitchFamily="34" charset="0"/>
                    <a:cs typeface="Arial" panose="020B0604020202020204" pitchFamily="34" charset="0"/>
                    <a:sym typeface="Arial"/>
                    <a:rtl val="0"/>
                  </a:rPr>
                  <a:t>ANC (10</a:t>
                </a:r>
                <a:r>
                  <a:rPr lang="en-US" sz="500" baseline="30000" dirty="0">
                    <a:ln/>
                    <a:solidFill>
                      <a:srgbClr val="000000"/>
                    </a:solidFill>
                    <a:latin typeface="Arial" panose="020B0604020202020204" pitchFamily="34" charset="0"/>
                    <a:cs typeface="Arial" panose="020B0604020202020204" pitchFamily="34" charset="0"/>
                    <a:sym typeface="Arial"/>
                    <a:rtl val="0"/>
                  </a:rPr>
                  <a:t>9</a:t>
                </a:r>
                <a:r>
                  <a:rPr lang="en-US" sz="500" dirty="0">
                    <a:ln/>
                    <a:solidFill>
                      <a:srgbClr val="000000"/>
                    </a:solidFill>
                    <a:latin typeface="Arial" panose="020B0604020202020204" pitchFamily="34" charset="0"/>
                    <a:cs typeface="Arial" panose="020B0604020202020204" pitchFamily="34" charset="0"/>
                    <a:sym typeface="Arial"/>
                    <a:rtl val="0"/>
                  </a:rPr>
                  <a:t>/L)</a:t>
                </a:r>
              </a:p>
            </p:txBody>
          </p:sp>
        </p:grpSp>
        <p:cxnSp>
          <p:nvCxnSpPr>
            <p:cNvPr id="460" name="Straight Connector 459">
              <a:extLst>
                <a:ext uri="{FF2B5EF4-FFF2-40B4-BE49-F238E27FC236}">
                  <a16:creationId xmlns:a16="http://schemas.microsoft.com/office/drawing/2014/main" id="{3532C818-4402-0825-F4A8-FE88E91754A0}"/>
                </a:ext>
              </a:extLst>
            </p:cNvPr>
            <p:cNvCxnSpPr>
              <a:cxnSpLocks/>
            </p:cNvCxnSpPr>
            <p:nvPr/>
          </p:nvCxnSpPr>
          <p:spPr>
            <a:xfrm>
              <a:off x="2572436" y="2327738"/>
              <a:ext cx="0" cy="15396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18215D12-1817-4537-A415-165FCFE91FA1}"/>
                </a:ext>
              </a:extLst>
            </p:cNvPr>
            <p:cNvCxnSpPr>
              <a:cxnSpLocks/>
            </p:cNvCxnSpPr>
            <p:nvPr/>
          </p:nvCxnSpPr>
          <p:spPr>
            <a:xfrm>
              <a:off x="4496880" y="2327738"/>
              <a:ext cx="0" cy="15396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6EB23495-3C31-D943-9EB7-D1FB254CDD0D}"/>
                </a:ext>
              </a:extLst>
            </p:cNvPr>
            <p:cNvCxnSpPr>
              <a:cxnSpLocks/>
            </p:cNvCxnSpPr>
            <p:nvPr/>
          </p:nvCxnSpPr>
          <p:spPr>
            <a:xfrm>
              <a:off x="6293044" y="2327738"/>
              <a:ext cx="0" cy="15396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88820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621FC-B1A8-926A-BAE2-5F5EAEBF07FC}"/>
              </a:ext>
            </a:extLst>
          </p:cNvPr>
          <p:cNvSpPr>
            <a:spLocks noGrp="1"/>
          </p:cNvSpPr>
          <p:nvPr>
            <p:ph type="title"/>
          </p:nvPr>
        </p:nvSpPr>
        <p:spPr/>
        <p:txBody>
          <a:bodyPr>
            <a:normAutofit/>
          </a:bodyPr>
          <a:lstStyle/>
          <a:p>
            <a:r>
              <a:rPr lang="en-US" dirty="0"/>
              <a:t>Biosimilar medicines are approved based on the </a:t>
            </a:r>
            <a:br>
              <a:rPr lang="en-US" dirty="0"/>
            </a:br>
            <a:r>
              <a:rPr lang="en-US" dirty="0"/>
              <a:t>‘Totality of Evidence’ data package</a:t>
            </a:r>
            <a:r>
              <a:rPr lang="en-US" baseline="30000" dirty="0"/>
              <a:t>1,2,3</a:t>
            </a:r>
            <a:endParaRPr lang="en-GB" baseline="30000" dirty="0"/>
          </a:p>
        </p:txBody>
      </p:sp>
      <p:sp>
        <p:nvSpPr>
          <p:cNvPr id="7" name="Slide Number Placeholder 6">
            <a:extLst>
              <a:ext uri="{FF2B5EF4-FFF2-40B4-BE49-F238E27FC236}">
                <a16:creationId xmlns:a16="http://schemas.microsoft.com/office/drawing/2014/main" id="{A86916A4-694F-8C01-A290-31950C69A48D}"/>
              </a:ext>
            </a:extLst>
          </p:cNvPr>
          <p:cNvSpPr>
            <a:spLocks noGrp="1"/>
          </p:cNvSpPr>
          <p:nvPr>
            <p:ph type="sldNum" sz="quarter" idx="12"/>
          </p:nvPr>
        </p:nvSpPr>
        <p:spPr/>
        <p:txBody>
          <a:bodyPr/>
          <a:lstStyle/>
          <a:p>
            <a:fld id="{A31C51CB-94C2-40E2-B070-08CEE3D6A386}" type="slidenum">
              <a:rPr lang="en-GB" smtClean="0"/>
              <a:t>19</a:t>
            </a:fld>
            <a:endParaRPr lang="en-GB"/>
          </a:p>
        </p:txBody>
      </p:sp>
      <p:sp>
        <p:nvSpPr>
          <p:cNvPr id="9" name="Footer Placeholder 8">
            <a:extLst>
              <a:ext uri="{FF2B5EF4-FFF2-40B4-BE49-F238E27FC236}">
                <a16:creationId xmlns:a16="http://schemas.microsoft.com/office/drawing/2014/main" id="{8D66EEE2-E092-F3D0-9DD4-C16582C4C438}"/>
              </a:ext>
            </a:extLst>
          </p:cNvPr>
          <p:cNvSpPr>
            <a:spLocks noGrp="1"/>
          </p:cNvSpPr>
          <p:nvPr>
            <p:ph type="ftr" sz="quarter" idx="11"/>
          </p:nvPr>
        </p:nvSpPr>
        <p:spPr>
          <a:xfrm>
            <a:off x="420573" y="4827355"/>
            <a:ext cx="7555633" cy="134999"/>
          </a:xfrm>
        </p:spPr>
        <p:txBody>
          <a:bodyPr/>
          <a:lstStyle/>
          <a:p>
            <a:r>
              <a:rPr lang="en-US" sz="500" dirty="0">
                <a:latin typeface="Arial "/>
                <a:cs typeface="Times New Roman" panose="02020603050405020304" pitchFamily="18" charset="0"/>
              </a:rPr>
              <a:t>*Toxicity assessment is conducted as part of the analytical assessment and/or clinical studies</a:t>
            </a:r>
            <a:r>
              <a:rPr lang="en-US" sz="500" baseline="30000" dirty="0">
                <a:latin typeface="Arial "/>
                <a:cs typeface="Times New Roman" panose="02020603050405020304" pitchFamily="18" charset="0"/>
              </a:rPr>
              <a:t>3</a:t>
            </a:r>
          </a:p>
          <a:p>
            <a:r>
              <a:rPr lang="en-US" sz="500" dirty="0">
                <a:latin typeface="Arial "/>
                <a:cs typeface="Times New Roman" panose="02020603050405020304" pitchFamily="18" charset="0"/>
              </a:rPr>
              <a:t>PD, pharmacodynamics; PK, pharmacokinetics</a:t>
            </a:r>
          </a:p>
          <a:p>
            <a:r>
              <a:rPr lang="en-US" sz="500" dirty="0">
                <a:latin typeface="Arial "/>
                <a:cs typeface="Times New Roman" panose="02020603050405020304" pitchFamily="18" charset="0"/>
              </a:rPr>
              <a:t>1. US FDA. Guidance for industry. 2015. Available at: http://www.fda.gov/downloads/Drugs/GuidanceComplianceRegulatoryInformation/Guidances/UCM291128.pdf. Accessed June 2024;</a:t>
            </a:r>
            <a:br>
              <a:rPr lang="en-US" sz="500" dirty="0">
                <a:latin typeface="Arial "/>
                <a:cs typeface="Times New Roman" panose="02020603050405020304" pitchFamily="18" charset="0"/>
              </a:rPr>
            </a:br>
            <a:r>
              <a:rPr lang="en-US" sz="500" dirty="0">
                <a:latin typeface="Arial "/>
                <a:cs typeface="Times New Roman" panose="02020603050405020304" pitchFamily="18" charset="0"/>
              </a:rPr>
              <a:t>2. McCamish M, Woollett G. </a:t>
            </a:r>
            <a:r>
              <a:rPr lang="en-US" sz="500" i="1" dirty="0">
                <a:latin typeface="Arial "/>
                <a:cs typeface="Times New Roman" panose="02020603050405020304" pitchFamily="18" charset="0"/>
              </a:rPr>
              <a:t>Clin </a:t>
            </a:r>
            <a:r>
              <a:rPr lang="en-US" sz="500" i="1" dirty="0" err="1">
                <a:latin typeface="Arial "/>
                <a:cs typeface="Times New Roman" panose="02020603050405020304" pitchFamily="18" charset="0"/>
              </a:rPr>
              <a:t>Pharmacol</a:t>
            </a:r>
            <a:r>
              <a:rPr lang="en-US" sz="500" i="1" dirty="0">
                <a:latin typeface="Arial "/>
                <a:cs typeface="Times New Roman" panose="02020603050405020304" pitchFamily="18" charset="0"/>
              </a:rPr>
              <a:t> </a:t>
            </a:r>
            <a:r>
              <a:rPr lang="en-US" sz="500" i="1" dirty="0" err="1">
                <a:latin typeface="Arial "/>
                <a:cs typeface="Times New Roman" panose="02020603050405020304" pitchFamily="18" charset="0"/>
              </a:rPr>
              <a:t>Ther</a:t>
            </a:r>
            <a:r>
              <a:rPr lang="en-US" sz="500" i="1" dirty="0">
                <a:latin typeface="Arial "/>
                <a:cs typeface="Times New Roman" panose="02020603050405020304" pitchFamily="18" charset="0"/>
              </a:rPr>
              <a:t> </a:t>
            </a:r>
            <a:r>
              <a:rPr lang="en-US" sz="500" dirty="0">
                <a:latin typeface="Arial "/>
                <a:cs typeface="Times New Roman" panose="02020603050405020304" pitchFamily="18" charset="0"/>
              </a:rPr>
              <a:t>2012;91:405–17; 3. FDA Omnibus Reform Act [FDORA], 2022; 3. US FDA. Biosimilar development process. Available at: https://www.fda.gov/files/drugs/published/Biosimilar-Development-Process.pdf. Accessed June 2024</a:t>
            </a:r>
          </a:p>
        </p:txBody>
      </p:sp>
      <p:graphicFrame>
        <p:nvGraphicFramePr>
          <p:cNvPr id="4" name="Diagram 3">
            <a:extLst>
              <a:ext uri="{FF2B5EF4-FFF2-40B4-BE49-F238E27FC236}">
                <a16:creationId xmlns:a16="http://schemas.microsoft.com/office/drawing/2014/main" id="{B392CA16-BE1A-4A71-4C61-EA5505C61ACE}"/>
              </a:ext>
            </a:extLst>
          </p:cNvPr>
          <p:cNvGraphicFramePr/>
          <p:nvPr>
            <p:extLst>
              <p:ext uri="{D42A27DB-BD31-4B8C-83A1-F6EECF244321}">
                <p14:modId xmlns:p14="http://schemas.microsoft.com/office/powerpoint/2010/main" val="2303270739"/>
              </p:ext>
            </p:extLst>
          </p:nvPr>
        </p:nvGraphicFramePr>
        <p:xfrm>
          <a:off x="416302" y="1960751"/>
          <a:ext cx="3432175" cy="2439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DEE8F305-ED61-D2AD-ABE8-D7AF2B661659}"/>
              </a:ext>
            </a:extLst>
          </p:cNvPr>
          <p:cNvGraphicFramePr/>
          <p:nvPr>
            <p:extLst>
              <p:ext uri="{D42A27DB-BD31-4B8C-83A1-F6EECF244321}">
                <p14:modId xmlns:p14="http://schemas.microsoft.com/office/powerpoint/2010/main" val="321872790"/>
              </p:ext>
            </p:extLst>
          </p:nvPr>
        </p:nvGraphicFramePr>
        <p:xfrm>
          <a:off x="5337155" y="1898861"/>
          <a:ext cx="3154745" cy="25023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TextBox 28">
            <a:extLst>
              <a:ext uri="{FF2B5EF4-FFF2-40B4-BE49-F238E27FC236}">
                <a16:creationId xmlns:a16="http://schemas.microsoft.com/office/drawing/2014/main" id="{4538F502-DC50-E109-BE3D-BC2061C47329}"/>
              </a:ext>
            </a:extLst>
          </p:cNvPr>
          <p:cNvSpPr txBox="1">
            <a:spLocks noChangeArrowheads="1"/>
          </p:cNvSpPr>
          <p:nvPr/>
        </p:nvSpPr>
        <p:spPr bwMode="auto">
          <a:xfrm>
            <a:off x="295192" y="1168044"/>
            <a:ext cx="367439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pitchFamily="34" charset="0"/>
                <a:ea typeface="MS PGothic" pitchFamily="34" charset="-128"/>
              </a:defRPr>
            </a:lvl1pPr>
            <a:lvl2pPr marL="742950" indent="-28575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Arial" pitchFamily="34" charset="0"/>
                <a:ea typeface="MS PGothic" pitchFamily="34" charset="-128"/>
              </a:defRPr>
            </a:lvl2pPr>
            <a:lvl3pPr marL="1143000" indent="-228600" eaLnBrk="0" hangingPunct="0">
              <a:lnSpc>
                <a:spcPct val="95000"/>
              </a:lnSpc>
              <a:spcBef>
                <a:spcPct val="20000"/>
              </a:spcBef>
              <a:spcAft>
                <a:spcPct val="20000"/>
              </a:spcAft>
              <a:buClr>
                <a:srgbClr val="005BC3"/>
              </a:buClr>
              <a:buFont typeface="Arial" pitchFamily="34" charset="0"/>
              <a:buChar char="–"/>
              <a:defRPr>
                <a:solidFill>
                  <a:schemeClr val="tx2"/>
                </a:solidFill>
                <a:latin typeface="Arial" pitchFamily="34" charset="0"/>
                <a:ea typeface="MS PGothic" pitchFamily="34" charset="-128"/>
              </a:defRPr>
            </a:lvl3pPr>
            <a:lvl4pPr marL="1600200" indent="-228600" eaLnBrk="0" hangingPunct="0">
              <a:lnSpc>
                <a:spcPct val="95000"/>
              </a:lnSpc>
              <a:spcBef>
                <a:spcPct val="20000"/>
              </a:spcBef>
              <a:buClr>
                <a:srgbClr val="005BC3"/>
              </a:buClr>
              <a:buFont typeface="Arial" pitchFamily="34" charset="0"/>
              <a:buChar char="»"/>
              <a:defRPr sz="1600">
                <a:solidFill>
                  <a:schemeClr val="tx2"/>
                </a:solidFill>
                <a:latin typeface="Arial" pitchFamily="34" charset="0"/>
                <a:ea typeface="MS PGothic" pitchFamily="34" charset="-128"/>
              </a:defRPr>
            </a:lvl4pPr>
            <a:lvl5pPr marL="2057400" indent="-228600" eaLnBrk="0" hangingPunct="0">
              <a:spcBef>
                <a:spcPct val="20000"/>
              </a:spcBef>
              <a:buClr>
                <a:srgbClr val="005BC3"/>
              </a:buClr>
              <a:buFont typeface="Arial" pitchFamily="34" charset="0"/>
              <a:buChar char="•"/>
              <a:defRPr sz="1400">
                <a:solidFill>
                  <a:schemeClr val="tx2"/>
                </a:solidFill>
                <a:latin typeface="Arial" pitchFamily="34" charset="0"/>
                <a:ea typeface="MS PGothic" pitchFamily="34" charset="-128"/>
              </a:defRPr>
            </a:lvl5pPr>
            <a:lvl6pPr marL="25146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6pPr>
            <a:lvl7pPr marL="29718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7pPr>
            <a:lvl8pPr marL="34290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8pPr>
            <a:lvl9pPr marL="38862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9pPr>
          </a:lstStyle>
          <a:p>
            <a:pPr algn="ctr" defTabSz="914377" eaLnBrk="1" hangingPunct="1">
              <a:lnSpc>
                <a:spcPct val="100000"/>
              </a:lnSpc>
              <a:spcBef>
                <a:spcPct val="0"/>
              </a:spcBef>
              <a:spcAft>
                <a:spcPct val="0"/>
              </a:spcAft>
              <a:buClrTx/>
              <a:buSzTx/>
              <a:buNone/>
            </a:pPr>
            <a:r>
              <a:rPr lang="en-GB" altLang="en-US" sz="1200" b="1" dirty="0">
                <a:solidFill>
                  <a:schemeClr val="accent2"/>
                </a:solidFill>
                <a:cs typeface="Arial" pitchFamily="34" charset="0"/>
              </a:rPr>
              <a:t>Reference product development:</a:t>
            </a:r>
            <a:r>
              <a:rPr lang="en-GB" altLang="en-US" sz="1200" b="1" baseline="30000" dirty="0">
                <a:solidFill>
                  <a:schemeClr val="accent2"/>
                </a:solidFill>
                <a:cs typeface="Arial" pitchFamily="34" charset="0"/>
              </a:rPr>
              <a:t>1</a:t>
            </a:r>
            <a:endParaRPr lang="en-GB" altLang="en-US" sz="1200" b="1" dirty="0">
              <a:solidFill>
                <a:schemeClr val="accent2"/>
              </a:solidFill>
              <a:cs typeface="Arial" pitchFamily="34" charset="0"/>
            </a:endParaRPr>
          </a:p>
          <a:p>
            <a:pPr algn="ctr" defTabSz="914377" eaLnBrk="1" hangingPunct="1">
              <a:lnSpc>
                <a:spcPct val="100000"/>
              </a:lnSpc>
              <a:spcBef>
                <a:spcPct val="0"/>
              </a:spcBef>
              <a:spcAft>
                <a:spcPct val="0"/>
              </a:spcAft>
              <a:buClrTx/>
              <a:buSzTx/>
              <a:buNone/>
            </a:pPr>
            <a:r>
              <a:rPr lang="en-GB" altLang="en-US" sz="1200" dirty="0">
                <a:solidFill>
                  <a:schemeClr val="accent2"/>
                </a:solidFill>
                <a:cs typeface="Arial" pitchFamily="34" charset="0"/>
              </a:rPr>
              <a:t>Prove that new molecule has significant clinical benefit</a:t>
            </a:r>
          </a:p>
        </p:txBody>
      </p:sp>
      <p:sp>
        <p:nvSpPr>
          <p:cNvPr id="11" name="TextBox 36">
            <a:extLst>
              <a:ext uri="{FF2B5EF4-FFF2-40B4-BE49-F238E27FC236}">
                <a16:creationId xmlns:a16="http://schemas.microsoft.com/office/drawing/2014/main" id="{1C0E04DC-22E4-9CD4-5963-53F58F10E45E}"/>
              </a:ext>
            </a:extLst>
          </p:cNvPr>
          <p:cNvSpPr txBox="1">
            <a:spLocks noChangeArrowheads="1"/>
          </p:cNvSpPr>
          <p:nvPr/>
        </p:nvSpPr>
        <p:spPr bwMode="auto">
          <a:xfrm>
            <a:off x="5198439" y="1162593"/>
            <a:ext cx="34321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pitchFamily="34" charset="0"/>
                <a:ea typeface="MS PGothic" pitchFamily="34" charset="-128"/>
              </a:defRPr>
            </a:lvl1pPr>
            <a:lvl2pPr marL="742950" indent="-28575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Arial" pitchFamily="34" charset="0"/>
                <a:ea typeface="MS PGothic" pitchFamily="34" charset="-128"/>
              </a:defRPr>
            </a:lvl2pPr>
            <a:lvl3pPr marL="1143000" indent="-228600" eaLnBrk="0" hangingPunct="0">
              <a:lnSpc>
                <a:spcPct val="95000"/>
              </a:lnSpc>
              <a:spcBef>
                <a:spcPct val="20000"/>
              </a:spcBef>
              <a:spcAft>
                <a:spcPct val="20000"/>
              </a:spcAft>
              <a:buClr>
                <a:srgbClr val="005BC3"/>
              </a:buClr>
              <a:buFont typeface="Arial" pitchFamily="34" charset="0"/>
              <a:buChar char="–"/>
              <a:defRPr>
                <a:solidFill>
                  <a:schemeClr val="tx2"/>
                </a:solidFill>
                <a:latin typeface="Arial" pitchFamily="34" charset="0"/>
                <a:ea typeface="MS PGothic" pitchFamily="34" charset="-128"/>
              </a:defRPr>
            </a:lvl3pPr>
            <a:lvl4pPr marL="1600200" indent="-228600" eaLnBrk="0" hangingPunct="0">
              <a:lnSpc>
                <a:spcPct val="95000"/>
              </a:lnSpc>
              <a:spcBef>
                <a:spcPct val="20000"/>
              </a:spcBef>
              <a:buClr>
                <a:srgbClr val="005BC3"/>
              </a:buClr>
              <a:buFont typeface="Arial" pitchFamily="34" charset="0"/>
              <a:buChar char="»"/>
              <a:defRPr sz="1600">
                <a:solidFill>
                  <a:schemeClr val="tx2"/>
                </a:solidFill>
                <a:latin typeface="Arial" pitchFamily="34" charset="0"/>
                <a:ea typeface="MS PGothic" pitchFamily="34" charset="-128"/>
              </a:defRPr>
            </a:lvl4pPr>
            <a:lvl5pPr marL="2057400" indent="-228600" eaLnBrk="0" hangingPunct="0">
              <a:spcBef>
                <a:spcPct val="20000"/>
              </a:spcBef>
              <a:buClr>
                <a:srgbClr val="005BC3"/>
              </a:buClr>
              <a:buFont typeface="Arial" pitchFamily="34" charset="0"/>
              <a:buChar char="•"/>
              <a:defRPr sz="1400">
                <a:solidFill>
                  <a:schemeClr val="tx2"/>
                </a:solidFill>
                <a:latin typeface="Arial" pitchFamily="34" charset="0"/>
                <a:ea typeface="MS PGothic" pitchFamily="34" charset="-128"/>
              </a:defRPr>
            </a:lvl5pPr>
            <a:lvl6pPr marL="25146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6pPr>
            <a:lvl7pPr marL="29718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7pPr>
            <a:lvl8pPr marL="34290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8pPr>
            <a:lvl9pPr marL="38862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9pPr>
          </a:lstStyle>
          <a:p>
            <a:pPr algn="ctr" defTabSz="914377" eaLnBrk="1" hangingPunct="1">
              <a:lnSpc>
                <a:spcPct val="100000"/>
              </a:lnSpc>
              <a:spcBef>
                <a:spcPct val="0"/>
              </a:spcBef>
              <a:spcAft>
                <a:spcPct val="0"/>
              </a:spcAft>
              <a:buClrTx/>
              <a:buSzTx/>
              <a:buNone/>
            </a:pPr>
            <a:r>
              <a:rPr lang="en-GB" altLang="en-US" sz="1200" b="1" dirty="0">
                <a:solidFill>
                  <a:schemeClr val="accent2"/>
                </a:solidFill>
                <a:cs typeface="Arial" pitchFamily="34" charset="0"/>
              </a:rPr>
              <a:t>Biosimilar development:</a:t>
            </a:r>
            <a:r>
              <a:rPr lang="en-GB" altLang="en-US" sz="1200" b="1" baseline="30000" dirty="0">
                <a:solidFill>
                  <a:schemeClr val="accent2"/>
                </a:solidFill>
                <a:cs typeface="Arial" pitchFamily="34" charset="0"/>
              </a:rPr>
              <a:t>2,3</a:t>
            </a:r>
            <a:endParaRPr lang="en-GB" altLang="en-US" sz="1200" b="1" dirty="0">
              <a:solidFill>
                <a:schemeClr val="accent2"/>
              </a:solidFill>
              <a:cs typeface="Arial" pitchFamily="34" charset="0"/>
            </a:endParaRPr>
          </a:p>
          <a:p>
            <a:pPr algn="ctr" defTabSz="914377" eaLnBrk="1" hangingPunct="1">
              <a:lnSpc>
                <a:spcPct val="100000"/>
              </a:lnSpc>
              <a:spcBef>
                <a:spcPct val="0"/>
              </a:spcBef>
              <a:spcAft>
                <a:spcPct val="0"/>
              </a:spcAft>
              <a:buClrTx/>
              <a:buSzTx/>
              <a:buNone/>
            </a:pPr>
            <a:r>
              <a:rPr lang="en-GB" altLang="en-US" sz="1200" dirty="0">
                <a:solidFill>
                  <a:schemeClr val="accent2"/>
                </a:solidFill>
                <a:cs typeface="Arial" pitchFamily="34" charset="0"/>
              </a:rPr>
              <a:t>Demonstrate that molecule is highly similar to reference product</a:t>
            </a:r>
          </a:p>
        </p:txBody>
      </p:sp>
      <p:sp>
        <p:nvSpPr>
          <p:cNvPr id="12" name="TextBox 11">
            <a:extLst>
              <a:ext uri="{FF2B5EF4-FFF2-40B4-BE49-F238E27FC236}">
                <a16:creationId xmlns:a16="http://schemas.microsoft.com/office/drawing/2014/main" id="{22D6BB9A-2124-3732-1743-BFC017546738}"/>
              </a:ext>
            </a:extLst>
          </p:cNvPr>
          <p:cNvSpPr txBox="1"/>
          <p:nvPr/>
        </p:nvSpPr>
        <p:spPr>
          <a:xfrm>
            <a:off x="243000" y="3896149"/>
            <a:ext cx="1276569" cy="461665"/>
          </a:xfrm>
          <a:prstGeom prst="roundRect">
            <a:avLst>
              <a:gd name="adj" fmla="val 0"/>
            </a:avLst>
          </a:prstGeom>
          <a:solidFill>
            <a:schemeClr val="accent1"/>
          </a:solidFill>
          <a:ln w="28575">
            <a:noFill/>
          </a:ln>
        </p:spPr>
        <p:txBody>
          <a:bodyPr wrap="square" rtlCol="0" anchor="ctr" anchorCtr="0">
            <a:spAutoFit/>
          </a:bodyPr>
          <a:lstStyle/>
          <a:p>
            <a:pPr algn="ctr" defTabSz="914377"/>
            <a:r>
              <a:rPr lang="en-US" sz="1200" dirty="0">
                <a:solidFill>
                  <a:schemeClr val="bg1"/>
                </a:solidFill>
                <a:latin typeface="Arial"/>
              </a:rPr>
              <a:t>Analytical </a:t>
            </a:r>
          </a:p>
          <a:p>
            <a:pPr algn="ctr" defTabSz="914377"/>
            <a:r>
              <a:rPr lang="en-US" sz="1200" dirty="0">
                <a:solidFill>
                  <a:schemeClr val="bg1"/>
                </a:solidFill>
                <a:latin typeface="Arial"/>
              </a:rPr>
              <a:t>characterization</a:t>
            </a:r>
          </a:p>
        </p:txBody>
      </p:sp>
      <p:sp>
        <p:nvSpPr>
          <p:cNvPr id="13" name="TextBox 54">
            <a:extLst>
              <a:ext uri="{FF2B5EF4-FFF2-40B4-BE49-F238E27FC236}">
                <a16:creationId xmlns:a16="http://schemas.microsoft.com/office/drawing/2014/main" id="{242A7844-63FD-EB7E-DB69-BA728B10AC53}"/>
              </a:ext>
            </a:extLst>
          </p:cNvPr>
          <p:cNvSpPr txBox="1">
            <a:spLocks noChangeArrowheads="1"/>
          </p:cNvSpPr>
          <p:nvPr/>
        </p:nvSpPr>
        <p:spPr bwMode="auto">
          <a:xfrm>
            <a:off x="3728036" y="2333191"/>
            <a:ext cx="1340633" cy="461665"/>
          </a:xfrm>
          <a:prstGeom prst="roundRect">
            <a:avLst>
              <a:gd name="adj" fmla="val 0"/>
            </a:avLst>
          </a:prstGeom>
          <a:solidFill>
            <a:schemeClr val="accent4"/>
          </a:solidFill>
          <a:ln w="28575">
            <a:noFill/>
            <a:miter lim="800000"/>
            <a:headEnd/>
            <a:tailEnd/>
          </a:ln>
        </p:spPr>
        <p:txBody>
          <a:bodyPr wrap="square" lIns="90000" anchor="ctr"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pitchFamily="34" charset="0"/>
                <a:ea typeface="MS PGothic" pitchFamily="34" charset="-128"/>
              </a:defRPr>
            </a:lvl1pPr>
            <a:lvl2pPr marL="742950" indent="-28575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Arial" pitchFamily="34" charset="0"/>
                <a:ea typeface="MS PGothic" pitchFamily="34" charset="-128"/>
              </a:defRPr>
            </a:lvl2pPr>
            <a:lvl3pPr marL="1143000" indent="-228600" eaLnBrk="0" hangingPunct="0">
              <a:lnSpc>
                <a:spcPct val="95000"/>
              </a:lnSpc>
              <a:spcBef>
                <a:spcPct val="20000"/>
              </a:spcBef>
              <a:spcAft>
                <a:spcPct val="20000"/>
              </a:spcAft>
              <a:buClr>
                <a:srgbClr val="005BC3"/>
              </a:buClr>
              <a:buFont typeface="Arial" pitchFamily="34" charset="0"/>
              <a:buChar char="–"/>
              <a:defRPr>
                <a:solidFill>
                  <a:schemeClr val="tx2"/>
                </a:solidFill>
                <a:latin typeface="Arial" pitchFamily="34" charset="0"/>
                <a:ea typeface="MS PGothic" pitchFamily="34" charset="-128"/>
              </a:defRPr>
            </a:lvl3pPr>
            <a:lvl4pPr marL="1600200" indent="-228600" eaLnBrk="0" hangingPunct="0">
              <a:lnSpc>
                <a:spcPct val="95000"/>
              </a:lnSpc>
              <a:spcBef>
                <a:spcPct val="20000"/>
              </a:spcBef>
              <a:buClr>
                <a:srgbClr val="005BC3"/>
              </a:buClr>
              <a:buFont typeface="Arial" pitchFamily="34" charset="0"/>
              <a:buChar char="»"/>
              <a:defRPr sz="1600">
                <a:solidFill>
                  <a:schemeClr val="tx2"/>
                </a:solidFill>
                <a:latin typeface="Arial" pitchFamily="34" charset="0"/>
                <a:ea typeface="MS PGothic" pitchFamily="34" charset="-128"/>
              </a:defRPr>
            </a:lvl4pPr>
            <a:lvl5pPr marL="2057400" indent="-228600" eaLnBrk="0" hangingPunct="0">
              <a:spcBef>
                <a:spcPct val="20000"/>
              </a:spcBef>
              <a:buClr>
                <a:srgbClr val="005BC3"/>
              </a:buClr>
              <a:buFont typeface="Arial" pitchFamily="34" charset="0"/>
              <a:buChar char="•"/>
              <a:defRPr sz="1400">
                <a:solidFill>
                  <a:schemeClr val="tx2"/>
                </a:solidFill>
                <a:latin typeface="Arial" pitchFamily="34" charset="0"/>
                <a:ea typeface="MS PGothic" pitchFamily="34" charset="-128"/>
              </a:defRPr>
            </a:lvl5pPr>
            <a:lvl6pPr marL="25146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6pPr>
            <a:lvl7pPr marL="29718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7pPr>
            <a:lvl8pPr marL="34290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8pPr>
            <a:lvl9pPr marL="38862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9pPr>
          </a:lstStyle>
          <a:p>
            <a:pPr algn="ctr" defTabSz="914377" eaLnBrk="1" hangingPunct="1">
              <a:lnSpc>
                <a:spcPct val="100000"/>
              </a:lnSpc>
              <a:spcBef>
                <a:spcPct val="0"/>
              </a:spcBef>
              <a:spcAft>
                <a:spcPct val="0"/>
              </a:spcAft>
              <a:buClrTx/>
              <a:buSzTx/>
              <a:buNone/>
            </a:pPr>
            <a:r>
              <a:rPr lang="en-GB" altLang="en-US" sz="1200" dirty="0">
                <a:solidFill>
                  <a:schemeClr val="accent1"/>
                </a:solidFill>
                <a:cs typeface="Arial" pitchFamily="34" charset="0"/>
              </a:rPr>
              <a:t>Substantial clinical program</a:t>
            </a:r>
          </a:p>
        </p:txBody>
      </p:sp>
      <p:sp>
        <p:nvSpPr>
          <p:cNvPr id="14" name="TextBox 54">
            <a:extLst>
              <a:ext uri="{FF2B5EF4-FFF2-40B4-BE49-F238E27FC236}">
                <a16:creationId xmlns:a16="http://schemas.microsoft.com/office/drawing/2014/main" id="{1D51FD0A-F6B8-A27A-E265-3A7C765FB41D}"/>
              </a:ext>
            </a:extLst>
          </p:cNvPr>
          <p:cNvSpPr txBox="1">
            <a:spLocks noChangeArrowheads="1"/>
          </p:cNvSpPr>
          <p:nvPr/>
        </p:nvSpPr>
        <p:spPr bwMode="auto">
          <a:xfrm>
            <a:off x="7449542" y="1909780"/>
            <a:ext cx="1476386" cy="461665"/>
          </a:xfrm>
          <a:prstGeom prst="roundRect">
            <a:avLst>
              <a:gd name="adj" fmla="val 0"/>
            </a:avLst>
          </a:prstGeom>
          <a:solidFill>
            <a:schemeClr val="accent4"/>
          </a:solidFill>
          <a:ln w="28575">
            <a:noFill/>
            <a:miter lim="800000"/>
            <a:headEnd/>
            <a:tailEnd/>
          </a:ln>
        </p:spPr>
        <p:txBody>
          <a:bodyPr wrap="square" lIns="90000" anchor="ctr"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pitchFamily="34" charset="0"/>
                <a:ea typeface="MS PGothic" pitchFamily="34" charset="-128"/>
              </a:defRPr>
            </a:lvl1pPr>
            <a:lvl2pPr marL="742950" indent="-285750" eaLnBrk="0" hangingPunct="0">
              <a:lnSpc>
                <a:spcPct val="95000"/>
              </a:lnSpc>
              <a:spcBef>
                <a:spcPct val="20000"/>
              </a:spcBef>
              <a:spcAft>
                <a:spcPct val="20000"/>
              </a:spcAft>
              <a:buClr>
                <a:srgbClr val="005BC3"/>
              </a:buClr>
              <a:buFont typeface="Arial" pitchFamily="34" charset="0"/>
              <a:buChar char="•"/>
              <a:defRPr sz="2000">
                <a:solidFill>
                  <a:schemeClr val="tx2"/>
                </a:solidFill>
                <a:latin typeface="Arial" pitchFamily="34" charset="0"/>
                <a:ea typeface="MS PGothic" pitchFamily="34" charset="-128"/>
              </a:defRPr>
            </a:lvl2pPr>
            <a:lvl3pPr marL="1143000" indent="-228600" eaLnBrk="0" hangingPunct="0">
              <a:lnSpc>
                <a:spcPct val="95000"/>
              </a:lnSpc>
              <a:spcBef>
                <a:spcPct val="20000"/>
              </a:spcBef>
              <a:spcAft>
                <a:spcPct val="20000"/>
              </a:spcAft>
              <a:buClr>
                <a:srgbClr val="005BC3"/>
              </a:buClr>
              <a:buFont typeface="Arial" pitchFamily="34" charset="0"/>
              <a:buChar char="–"/>
              <a:defRPr>
                <a:solidFill>
                  <a:schemeClr val="tx2"/>
                </a:solidFill>
                <a:latin typeface="Arial" pitchFamily="34" charset="0"/>
                <a:ea typeface="MS PGothic" pitchFamily="34" charset="-128"/>
              </a:defRPr>
            </a:lvl3pPr>
            <a:lvl4pPr marL="1600200" indent="-228600" eaLnBrk="0" hangingPunct="0">
              <a:lnSpc>
                <a:spcPct val="95000"/>
              </a:lnSpc>
              <a:spcBef>
                <a:spcPct val="20000"/>
              </a:spcBef>
              <a:buClr>
                <a:srgbClr val="005BC3"/>
              </a:buClr>
              <a:buFont typeface="Arial" pitchFamily="34" charset="0"/>
              <a:buChar char="»"/>
              <a:defRPr sz="1600">
                <a:solidFill>
                  <a:schemeClr val="tx2"/>
                </a:solidFill>
                <a:latin typeface="Arial" pitchFamily="34" charset="0"/>
                <a:ea typeface="MS PGothic" pitchFamily="34" charset="-128"/>
              </a:defRPr>
            </a:lvl4pPr>
            <a:lvl5pPr marL="2057400" indent="-228600" eaLnBrk="0" hangingPunct="0">
              <a:spcBef>
                <a:spcPct val="20000"/>
              </a:spcBef>
              <a:buClr>
                <a:srgbClr val="005BC3"/>
              </a:buClr>
              <a:buFont typeface="Arial" pitchFamily="34" charset="0"/>
              <a:buChar char="•"/>
              <a:defRPr sz="1400">
                <a:solidFill>
                  <a:schemeClr val="tx2"/>
                </a:solidFill>
                <a:latin typeface="Arial" pitchFamily="34" charset="0"/>
                <a:ea typeface="MS PGothic" pitchFamily="34" charset="-128"/>
              </a:defRPr>
            </a:lvl5pPr>
            <a:lvl6pPr marL="25146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6pPr>
            <a:lvl7pPr marL="29718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7pPr>
            <a:lvl8pPr marL="34290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8pPr>
            <a:lvl9pPr marL="3886200" indent="-228600" eaLnBrk="0" fontAlgn="base" hangingPunct="0">
              <a:spcBef>
                <a:spcPct val="20000"/>
              </a:spcBef>
              <a:spcAft>
                <a:spcPct val="0"/>
              </a:spcAft>
              <a:buClr>
                <a:srgbClr val="005BC3"/>
              </a:buClr>
              <a:buFont typeface="Arial" pitchFamily="34" charset="0"/>
              <a:buChar char="•"/>
              <a:defRPr sz="1400">
                <a:solidFill>
                  <a:schemeClr val="tx2"/>
                </a:solidFill>
                <a:latin typeface="Arial" pitchFamily="34" charset="0"/>
                <a:ea typeface="MS PGothic" pitchFamily="34" charset="-128"/>
              </a:defRPr>
            </a:lvl9pPr>
          </a:lstStyle>
          <a:p>
            <a:pPr algn="ctr" defTabSz="914377" eaLnBrk="1" hangingPunct="1">
              <a:lnSpc>
                <a:spcPct val="100000"/>
              </a:lnSpc>
              <a:spcBef>
                <a:spcPct val="0"/>
              </a:spcBef>
              <a:spcAft>
                <a:spcPct val="0"/>
              </a:spcAft>
              <a:buClrTx/>
              <a:buSzTx/>
              <a:buNone/>
            </a:pPr>
            <a:r>
              <a:rPr lang="en-GB" altLang="en-US" sz="1200" dirty="0">
                <a:solidFill>
                  <a:schemeClr val="accent1"/>
                </a:solidFill>
                <a:cs typeface="Arial" pitchFamily="34" charset="0"/>
              </a:rPr>
              <a:t>Tailored clinical studies program</a:t>
            </a:r>
          </a:p>
        </p:txBody>
      </p:sp>
      <p:sp>
        <p:nvSpPr>
          <p:cNvPr id="16" name="Freeform: Shape 15">
            <a:extLst>
              <a:ext uri="{FF2B5EF4-FFF2-40B4-BE49-F238E27FC236}">
                <a16:creationId xmlns:a16="http://schemas.microsoft.com/office/drawing/2014/main" id="{283E5A9E-141D-7F63-4060-1E3A92E45E16}"/>
              </a:ext>
            </a:extLst>
          </p:cNvPr>
          <p:cNvSpPr/>
          <p:nvPr/>
        </p:nvSpPr>
        <p:spPr>
          <a:xfrm>
            <a:off x="2926419" y="2571750"/>
            <a:ext cx="815168" cy="45719"/>
          </a:xfrm>
          <a:custGeom>
            <a:avLst/>
            <a:gdLst>
              <a:gd name="connsiteX0" fmla="*/ 673768 w 673768"/>
              <a:gd name="connsiteY0" fmla="*/ 0 h 0"/>
              <a:gd name="connsiteX1" fmla="*/ 0 w 673768"/>
              <a:gd name="connsiteY1" fmla="*/ 0 h 0"/>
            </a:gdLst>
            <a:ahLst/>
            <a:cxnLst>
              <a:cxn ang="0">
                <a:pos x="connsiteX0" y="connsiteY0"/>
              </a:cxn>
              <a:cxn ang="0">
                <a:pos x="connsiteX1" y="connsiteY1"/>
              </a:cxn>
            </a:cxnLst>
            <a:rect l="l" t="t" r="r" b="b"/>
            <a:pathLst>
              <a:path w="673768">
                <a:moveTo>
                  <a:pt x="673768" y="0"/>
                </a:moveTo>
                <a:lnTo>
                  <a:pt x="0" y="0"/>
                </a:lnTo>
              </a:path>
            </a:pathLst>
          </a:cu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7" name="Freeform: Shape 16">
            <a:extLst>
              <a:ext uri="{FF2B5EF4-FFF2-40B4-BE49-F238E27FC236}">
                <a16:creationId xmlns:a16="http://schemas.microsoft.com/office/drawing/2014/main" id="{3B2A8B46-F70B-03D7-A6E9-40F5FFAB7D65}"/>
              </a:ext>
            </a:extLst>
          </p:cNvPr>
          <p:cNvSpPr/>
          <p:nvPr/>
        </p:nvSpPr>
        <p:spPr>
          <a:xfrm>
            <a:off x="6989942" y="2140613"/>
            <a:ext cx="550701" cy="46906"/>
          </a:xfrm>
          <a:custGeom>
            <a:avLst/>
            <a:gdLst>
              <a:gd name="connsiteX0" fmla="*/ 673768 w 673768"/>
              <a:gd name="connsiteY0" fmla="*/ 0 h 0"/>
              <a:gd name="connsiteX1" fmla="*/ 0 w 673768"/>
              <a:gd name="connsiteY1" fmla="*/ 0 h 0"/>
            </a:gdLst>
            <a:ahLst/>
            <a:cxnLst>
              <a:cxn ang="0">
                <a:pos x="connsiteX0" y="connsiteY0"/>
              </a:cxn>
              <a:cxn ang="0">
                <a:pos x="connsiteX1" y="connsiteY1"/>
              </a:cxn>
            </a:cxnLst>
            <a:rect l="l" t="t" r="r" b="b"/>
            <a:pathLst>
              <a:path w="673768">
                <a:moveTo>
                  <a:pt x="673768" y="0"/>
                </a:moveTo>
                <a:lnTo>
                  <a:pt x="0" y="0"/>
                </a:lnTo>
              </a:path>
            </a:pathLst>
          </a:cu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19" name="Freeform: Shape 18">
            <a:extLst>
              <a:ext uri="{FF2B5EF4-FFF2-40B4-BE49-F238E27FC236}">
                <a16:creationId xmlns:a16="http://schemas.microsoft.com/office/drawing/2014/main" id="{FAF97152-FCAC-F7FB-DD30-3056F96C5241}"/>
              </a:ext>
            </a:extLst>
          </p:cNvPr>
          <p:cNvSpPr/>
          <p:nvPr/>
        </p:nvSpPr>
        <p:spPr>
          <a:xfrm flipV="1">
            <a:off x="1494543" y="4012773"/>
            <a:ext cx="530878" cy="201750"/>
          </a:xfrm>
          <a:custGeom>
            <a:avLst/>
            <a:gdLst>
              <a:gd name="connsiteX0" fmla="*/ 673768 w 673768"/>
              <a:gd name="connsiteY0" fmla="*/ 0 h 0"/>
              <a:gd name="connsiteX1" fmla="*/ 0 w 673768"/>
              <a:gd name="connsiteY1" fmla="*/ 0 h 0"/>
            </a:gdLst>
            <a:ahLst/>
            <a:cxnLst>
              <a:cxn ang="0">
                <a:pos x="connsiteX0" y="connsiteY0"/>
              </a:cxn>
              <a:cxn ang="0">
                <a:pos x="connsiteX1" y="connsiteY1"/>
              </a:cxn>
            </a:cxnLst>
            <a:rect l="l" t="t" r="r" b="b"/>
            <a:pathLst>
              <a:path w="673768">
                <a:moveTo>
                  <a:pt x="673768" y="0"/>
                </a:moveTo>
                <a:lnTo>
                  <a:pt x="0" y="0"/>
                </a:ln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3" name="TextBox 2">
            <a:extLst>
              <a:ext uri="{FF2B5EF4-FFF2-40B4-BE49-F238E27FC236}">
                <a16:creationId xmlns:a16="http://schemas.microsoft.com/office/drawing/2014/main" id="{4647F8C6-ABDE-6E0B-8AF3-F9036926B94E}"/>
              </a:ext>
            </a:extLst>
          </p:cNvPr>
          <p:cNvSpPr txBox="1"/>
          <p:nvPr/>
        </p:nvSpPr>
        <p:spPr>
          <a:xfrm>
            <a:off x="4060586" y="3454889"/>
            <a:ext cx="1276569" cy="646331"/>
          </a:xfrm>
          <a:prstGeom prst="roundRect">
            <a:avLst>
              <a:gd name="adj" fmla="val 0"/>
            </a:avLst>
          </a:prstGeom>
          <a:solidFill>
            <a:schemeClr val="accent1"/>
          </a:solidFill>
          <a:ln w="28575">
            <a:noFill/>
          </a:ln>
        </p:spPr>
        <p:txBody>
          <a:bodyPr wrap="square" rtlCol="0" anchor="ctr" anchorCtr="0">
            <a:spAutoFit/>
          </a:bodyPr>
          <a:lstStyle/>
          <a:p>
            <a:pPr algn="ctr" defTabSz="914377"/>
            <a:r>
              <a:rPr lang="en-US" sz="1200" dirty="0">
                <a:solidFill>
                  <a:schemeClr val="bg1"/>
                </a:solidFill>
                <a:latin typeface="Arial"/>
              </a:rPr>
              <a:t>Extensive analytical </a:t>
            </a:r>
          </a:p>
          <a:p>
            <a:pPr algn="ctr" defTabSz="914377"/>
            <a:r>
              <a:rPr lang="en-US" sz="1200" dirty="0">
                <a:solidFill>
                  <a:schemeClr val="bg1"/>
                </a:solidFill>
                <a:latin typeface="Arial"/>
              </a:rPr>
              <a:t>characterization</a:t>
            </a:r>
          </a:p>
        </p:txBody>
      </p:sp>
      <p:sp>
        <p:nvSpPr>
          <p:cNvPr id="5" name="Freeform: Shape 4">
            <a:extLst>
              <a:ext uri="{FF2B5EF4-FFF2-40B4-BE49-F238E27FC236}">
                <a16:creationId xmlns:a16="http://schemas.microsoft.com/office/drawing/2014/main" id="{7A9BBC61-AF89-7F6F-6BAC-5067F8519DC2}"/>
              </a:ext>
            </a:extLst>
          </p:cNvPr>
          <p:cNvSpPr/>
          <p:nvPr/>
        </p:nvSpPr>
        <p:spPr>
          <a:xfrm flipV="1">
            <a:off x="5337155" y="3580273"/>
            <a:ext cx="530878" cy="201750"/>
          </a:xfrm>
          <a:custGeom>
            <a:avLst/>
            <a:gdLst>
              <a:gd name="connsiteX0" fmla="*/ 673768 w 673768"/>
              <a:gd name="connsiteY0" fmla="*/ 0 h 0"/>
              <a:gd name="connsiteX1" fmla="*/ 0 w 673768"/>
              <a:gd name="connsiteY1" fmla="*/ 0 h 0"/>
            </a:gdLst>
            <a:ahLst/>
            <a:cxnLst>
              <a:cxn ang="0">
                <a:pos x="connsiteX0" y="connsiteY0"/>
              </a:cxn>
              <a:cxn ang="0">
                <a:pos x="connsiteX1" y="connsiteY1"/>
              </a:cxn>
            </a:cxnLst>
            <a:rect l="l" t="t" r="r" b="b"/>
            <a:pathLst>
              <a:path w="673768">
                <a:moveTo>
                  <a:pt x="673768" y="0"/>
                </a:moveTo>
                <a:lnTo>
                  <a:pt x="0" y="0"/>
                </a:ln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p>
        </p:txBody>
      </p:sp>
    </p:spTree>
    <p:extLst>
      <p:ext uri="{BB962C8B-B14F-4D97-AF65-F5344CB8AC3E}">
        <p14:creationId xmlns:p14="http://schemas.microsoft.com/office/powerpoint/2010/main" val="17237359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5E78FE-9A71-53B7-AFF2-7EF0C1A6F78F}"/>
              </a:ext>
            </a:extLst>
          </p:cNvPr>
          <p:cNvSpPr>
            <a:spLocks noGrp="1"/>
          </p:cNvSpPr>
          <p:nvPr>
            <p:ph type="title"/>
          </p:nvPr>
        </p:nvSpPr>
        <p:spPr/>
        <p:txBody>
          <a:bodyPr/>
          <a:lstStyle/>
          <a:p>
            <a:r>
              <a:rPr lang="en-GB" b="1" dirty="0"/>
              <a:t>Disclaimer</a:t>
            </a:r>
            <a:br>
              <a:rPr lang="en-GB" b="1" dirty="0">
                <a:solidFill>
                  <a:srgbClr val="FF0000"/>
                </a:solidFill>
              </a:rPr>
            </a:br>
            <a:endParaRPr lang="en-AR" dirty="0">
              <a:solidFill>
                <a:srgbClr val="FF0000"/>
              </a:solidFill>
            </a:endParaRPr>
          </a:p>
        </p:txBody>
      </p:sp>
      <p:sp>
        <p:nvSpPr>
          <p:cNvPr id="6" name="Content Placeholder 5">
            <a:extLst>
              <a:ext uri="{FF2B5EF4-FFF2-40B4-BE49-F238E27FC236}">
                <a16:creationId xmlns:a16="http://schemas.microsoft.com/office/drawing/2014/main" id="{6399EA1D-C2E6-D779-395A-D23AFB00E67F}"/>
              </a:ext>
            </a:extLst>
          </p:cNvPr>
          <p:cNvSpPr>
            <a:spLocks noGrp="1"/>
          </p:cNvSpPr>
          <p:nvPr>
            <p:ph idx="1"/>
          </p:nvPr>
        </p:nvSpPr>
        <p:spPr>
          <a:xfrm>
            <a:off x="243000" y="1135381"/>
            <a:ext cx="8660494" cy="3478292"/>
          </a:xfrm>
        </p:spPr>
        <p:txBody>
          <a:bodyPr>
            <a:normAutofit/>
          </a:bodyPr>
          <a:lstStyle/>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The contents of this training were co-created with and approved by an international advisory committee of experts in MS nursing and nurse education, sponsored by Sandoz</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Please note that as nurse roles, responsibilities and naming conventions differ between geographies, the general term of ‘nurse’ has been applied throughout</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This training has been localized and approved for use in the United States to provide biosimilar training to MS nurses and other relevant stakeholders specifically in the US, however, for completeness </a:t>
            </a:r>
            <a:r>
              <a:rPr lang="en-US" sz="1800"/>
              <a:t>and wider context</a:t>
            </a:r>
            <a:r>
              <a:rPr lang="en-US" sz="1800" dirty="0"/>
              <a:t>, some international references are used</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800" dirty="0"/>
              <a:t>For more detailed information on an individual product, please check and consider the locally approved prescribing information of the respective drug</a:t>
            </a:r>
          </a:p>
          <a:p>
            <a:pPr marL="0" indent="0">
              <a:spcBef>
                <a:spcPts val="4800"/>
              </a:spcBef>
              <a:spcAft>
                <a:spcPts val="2400"/>
              </a:spcAft>
              <a:buNone/>
            </a:pPr>
            <a:endParaRPr lang="en-US" sz="1800" dirty="0"/>
          </a:p>
          <a:p>
            <a:pPr marL="0" indent="0">
              <a:spcBef>
                <a:spcPts val="4800"/>
              </a:spcBef>
              <a:spcAft>
                <a:spcPts val="2400"/>
              </a:spcAft>
              <a:buNone/>
            </a:pPr>
            <a:endParaRPr lang="en-US" sz="1800" dirty="0"/>
          </a:p>
        </p:txBody>
      </p:sp>
      <p:sp>
        <p:nvSpPr>
          <p:cNvPr id="2" name="Slide Number Placeholder 1">
            <a:extLst>
              <a:ext uri="{FF2B5EF4-FFF2-40B4-BE49-F238E27FC236}">
                <a16:creationId xmlns:a16="http://schemas.microsoft.com/office/drawing/2014/main" id="{3A8C4D37-A0EA-3B8A-BA51-0279CD4BEA69}"/>
              </a:ext>
            </a:extLst>
          </p:cNvPr>
          <p:cNvSpPr>
            <a:spLocks noGrp="1"/>
          </p:cNvSpPr>
          <p:nvPr>
            <p:ph type="sldNum" sz="quarter" idx="12"/>
          </p:nvPr>
        </p:nvSpPr>
        <p:spPr/>
        <p:txBody>
          <a:bodyPr/>
          <a:lstStyle/>
          <a:p>
            <a:fld id="{47547CF9-5B10-D24F-A8D7-45A9778164F7}" type="slidenum">
              <a:rPr lang="uk-UA" smtClean="0"/>
              <a:pPr/>
              <a:t>2</a:t>
            </a:fld>
            <a:endParaRPr lang="uk-UA"/>
          </a:p>
        </p:txBody>
      </p:sp>
    </p:spTree>
    <p:extLst>
      <p:ext uri="{BB962C8B-B14F-4D97-AF65-F5344CB8AC3E}">
        <p14:creationId xmlns:p14="http://schemas.microsoft.com/office/powerpoint/2010/main" val="7940506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b="1" dirty="0"/>
              <a:t>Extrapolation: A biosimilar can be used for all approved reference medicine</a:t>
            </a:r>
            <a:r>
              <a:rPr lang="en-US" b="1" dirty="0"/>
              <a:t> indications</a:t>
            </a:r>
          </a:p>
        </p:txBody>
      </p:sp>
      <p:sp>
        <p:nvSpPr>
          <p:cNvPr id="5" name="Footer Placeholder 4">
            <a:extLst>
              <a:ext uri="{FF2B5EF4-FFF2-40B4-BE49-F238E27FC236}">
                <a16:creationId xmlns:a16="http://schemas.microsoft.com/office/drawing/2014/main" id="{FF5DB4FC-FBAA-39CD-CBD4-B6A6579AFD02}"/>
              </a:ext>
            </a:extLst>
          </p:cNvPr>
          <p:cNvSpPr>
            <a:spLocks noGrp="1"/>
          </p:cNvSpPr>
          <p:nvPr>
            <p:ph type="ftr" sz="quarter" idx="11"/>
          </p:nvPr>
        </p:nvSpPr>
        <p:spPr>
          <a:xfrm>
            <a:off x="420573" y="4568901"/>
            <a:ext cx="7406640" cy="393454"/>
          </a:xfrm>
        </p:spPr>
        <p:txBody>
          <a:bodyPr/>
          <a:lstStyle/>
          <a:p>
            <a:pPr algn="l"/>
            <a:r>
              <a:rPr lang="en-GB" sz="500" b="0" i="0" u="none" strike="noStrike" baseline="0" dirty="0"/>
              <a:t>1. </a:t>
            </a:r>
            <a:r>
              <a:rPr lang="en-US" sz="500" b="0" i="0" u="none" strike="noStrike" baseline="0" dirty="0"/>
              <a:t>US FDA. Biosimilar development review and approval. 2022. Available at: https://www.fda.gov/drugs/biosimilars/review-and-approval. Accessed June 2024;</a:t>
            </a:r>
            <a:r>
              <a:rPr lang="en-GB" sz="500" b="0" i="0" u="none" strike="noStrike" baseline="0" dirty="0"/>
              <a:t> </a:t>
            </a:r>
            <a:r>
              <a:rPr lang="en-GB" sz="500" dirty="0"/>
              <a:t>2</a:t>
            </a:r>
            <a:r>
              <a:rPr lang="en-GB" sz="500" b="0" i="0" u="none" strike="noStrike" baseline="0" dirty="0"/>
              <a:t>. Weise M, et al</a:t>
            </a:r>
            <a:r>
              <a:rPr lang="en-GB" sz="500" dirty="0"/>
              <a:t>.</a:t>
            </a:r>
            <a:r>
              <a:rPr lang="en-GB" sz="500" b="0" i="0" u="none" strike="noStrike" baseline="0" dirty="0"/>
              <a:t> </a:t>
            </a:r>
            <a:r>
              <a:rPr lang="en-GB" sz="500" b="0" i="1" u="none" strike="noStrike" baseline="0" dirty="0"/>
              <a:t>Blood</a:t>
            </a:r>
            <a:r>
              <a:rPr lang="en-GB" sz="500" b="0" i="0" u="none" strike="noStrike" baseline="0" dirty="0"/>
              <a:t> 2014;124(22):3191–3196 ;</a:t>
            </a:r>
            <a:r>
              <a:rPr lang="en-GB" sz="500" dirty="0"/>
              <a:t>3</a:t>
            </a:r>
            <a:r>
              <a:rPr lang="en-GB" sz="500" b="0" i="0" u="none" strike="noStrike" baseline="0" dirty="0"/>
              <a:t>. Rojas-</a:t>
            </a:r>
            <a:r>
              <a:rPr lang="en-GB" sz="500" b="0" i="0" u="none" strike="noStrike" baseline="0" dirty="0" err="1"/>
              <a:t>Chavarro</a:t>
            </a:r>
            <a:r>
              <a:rPr lang="en-GB" sz="500" b="0" i="0" u="none" strike="noStrike" baseline="0" dirty="0"/>
              <a:t> LF, de Mora F</a:t>
            </a:r>
            <a:r>
              <a:rPr lang="en-GB" sz="500" dirty="0"/>
              <a:t>, et al. </a:t>
            </a:r>
            <a:r>
              <a:rPr lang="en-GB" sz="500" i="1" dirty="0"/>
              <a:t>Drug </a:t>
            </a:r>
            <a:r>
              <a:rPr lang="en-GB" sz="500" i="1" dirty="0" err="1"/>
              <a:t>Discov</a:t>
            </a:r>
            <a:r>
              <a:rPr lang="en-GB" sz="500" i="1" dirty="0"/>
              <a:t> Today</a:t>
            </a:r>
            <a:r>
              <a:rPr lang="en-GB" sz="500" dirty="0"/>
              <a:t> 2021;26(8):2003-2013</a:t>
            </a:r>
            <a:endParaRPr lang="en-GB" sz="500" b="0" i="0" u="none" strike="noStrike" baseline="0" dirty="0"/>
          </a:p>
        </p:txBody>
      </p:sp>
      <p:sp>
        <p:nvSpPr>
          <p:cNvPr id="7" name="Slide Number Placeholder 6">
            <a:extLst>
              <a:ext uri="{FF2B5EF4-FFF2-40B4-BE49-F238E27FC236}">
                <a16:creationId xmlns:a16="http://schemas.microsoft.com/office/drawing/2014/main" id="{1833907F-2971-A0CD-6972-8BD86BEF1DF5}"/>
              </a:ext>
            </a:extLst>
          </p:cNvPr>
          <p:cNvSpPr>
            <a:spLocks noGrp="1"/>
          </p:cNvSpPr>
          <p:nvPr>
            <p:ph type="sldNum" sz="quarter" idx="12"/>
          </p:nvPr>
        </p:nvSpPr>
        <p:spPr/>
        <p:txBody>
          <a:bodyPr/>
          <a:lstStyle/>
          <a:p>
            <a:fld id="{A31C51CB-94C2-40E2-B070-08CEE3D6A386}" type="slidenum">
              <a:rPr lang="en-GB" smtClean="0"/>
              <a:t>20</a:t>
            </a:fld>
            <a:endParaRPr lang="en-GB"/>
          </a:p>
        </p:txBody>
      </p:sp>
      <p:grpSp>
        <p:nvGrpSpPr>
          <p:cNvPr id="6" name="Group 5">
            <a:extLst>
              <a:ext uri="{FF2B5EF4-FFF2-40B4-BE49-F238E27FC236}">
                <a16:creationId xmlns:a16="http://schemas.microsoft.com/office/drawing/2014/main" id="{F2968995-C473-3FE3-02BB-5A8558471583}"/>
              </a:ext>
            </a:extLst>
          </p:cNvPr>
          <p:cNvGrpSpPr/>
          <p:nvPr/>
        </p:nvGrpSpPr>
        <p:grpSpPr>
          <a:xfrm>
            <a:off x="252277" y="1331302"/>
            <a:ext cx="2284166" cy="3193182"/>
            <a:chOff x="243000" y="1204388"/>
            <a:chExt cx="2284166" cy="3558506"/>
          </a:xfrm>
        </p:grpSpPr>
        <p:sp>
          <p:nvSpPr>
            <p:cNvPr id="44" name="Freeform: Shape 8">
              <a:extLst>
                <a:ext uri="{FF2B5EF4-FFF2-40B4-BE49-F238E27FC236}">
                  <a16:creationId xmlns:a16="http://schemas.microsoft.com/office/drawing/2014/main" id="{D6ECF220-8F10-A0EE-18CE-761FC9B0DC42}"/>
                </a:ext>
              </a:extLst>
            </p:cNvPr>
            <p:cNvSpPr>
              <a:spLocks/>
            </p:cNvSpPr>
            <p:nvPr/>
          </p:nvSpPr>
          <p:spPr>
            <a:xfrm>
              <a:off x="243000" y="1243300"/>
              <a:ext cx="2284166" cy="3261552"/>
            </a:xfrm>
            <a:prstGeom prst="rect">
              <a:avLst/>
            </a:prstGeom>
            <a:solidFill>
              <a:schemeClr val="accent5">
                <a:lumMod val="20000"/>
                <a:lumOff val="80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91440" tIns="274320" rIns="91440" bIns="133984" numCol="1" spcCol="1270" anchor="t" anchorCtr="0">
              <a:noAutofit/>
            </a:bodyPr>
            <a:lstStyle/>
            <a:p>
              <a:pPr algn="ctr" defTabSz="1066800">
                <a:lnSpc>
                  <a:spcPct val="90000"/>
                </a:lnSpc>
                <a:spcBef>
                  <a:spcPts val="900"/>
                </a:spcBef>
                <a:spcAft>
                  <a:spcPct val="35000"/>
                </a:spcAft>
              </a:pPr>
              <a:endParaRPr lang="de-DE" sz="1100">
                <a:solidFill>
                  <a:schemeClr val="tx2"/>
                </a:solidFill>
              </a:endParaRPr>
            </a:p>
          </p:txBody>
        </p:sp>
        <p:sp>
          <p:nvSpPr>
            <p:cNvPr id="3" name="TextBox 2">
              <a:extLst>
                <a:ext uri="{FF2B5EF4-FFF2-40B4-BE49-F238E27FC236}">
                  <a16:creationId xmlns:a16="http://schemas.microsoft.com/office/drawing/2014/main" id="{95C466A8-18E9-45F0-A398-DE72C33C587B}"/>
                </a:ext>
              </a:extLst>
            </p:cNvPr>
            <p:cNvSpPr txBox="1"/>
            <p:nvPr/>
          </p:nvSpPr>
          <p:spPr>
            <a:xfrm>
              <a:off x="243000" y="1204388"/>
              <a:ext cx="2284166" cy="3558506"/>
            </a:xfrm>
            <a:prstGeom prst="rect">
              <a:avLst/>
            </a:prstGeom>
            <a:noFill/>
          </p:spPr>
          <p:txBody>
            <a:bodyPr wrap="square" lIns="91440" tIns="91440" bIns="91440" rtlCol="0">
              <a:spAutoFit/>
            </a:bodyPr>
            <a:lstStyle/>
            <a:p>
              <a:pPr>
                <a:spcAft>
                  <a:spcPts val="300"/>
                </a:spcAft>
              </a:pPr>
              <a:r>
                <a:rPr lang="en-GB" sz="1200" dirty="0">
                  <a:solidFill>
                    <a:schemeClr val="accent1"/>
                  </a:solidFill>
                </a:rPr>
                <a:t>Extrapolation is the </a:t>
              </a:r>
              <a:r>
                <a:rPr lang="en-GB" sz="1200" b="1" dirty="0">
                  <a:solidFill>
                    <a:schemeClr val="accent1"/>
                  </a:solidFill>
                </a:rPr>
                <a:t>scientific</a:t>
              </a:r>
              <a:r>
                <a:rPr lang="en-GB" sz="1200" dirty="0">
                  <a:solidFill>
                    <a:schemeClr val="accent1"/>
                  </a:solidFill>
                </a:rPr>
                <a:t> and </a:t>
              </a:r>
              <a:r>
                <a:rPr lang="en-GB" sz="1200" b="1" dirty="0">
                  <a:solidFill>
                    <a:schemeClr val="accent1"/>
                  </a:solidFill>
                </a:rPr>
                <a:t>regulatory</a:t>
              </a:r>
              <a:r>
                <a:rPr lang="en-GB" sz="1200" dirty="0">
                  <a:solidFill>
                    <a:schemeClr val="accent1"/>
                  </a:solidFill>
                </a:rPr>
                <a:t> process of granting a clinical indication to a medicine without conducting a </a:t>
              </a:r>
              <a:r>
                <a:rPr lang="en-GB" sz="1200" b="1" dirty="0">
                  <a:solidFill>
                    <a:schemeClr val="accent1"/>
                  </a:solidFill>
                </a:rPr>
                <a:t>clinical</a:t>
              </a:r>
              <a:r>
                <a:rPr lang="en-GB" sz="1200" dirty="0">
                  <a:solidFill>
                    <a:schemeClr val="accent1"/>
                  </a:solidFill>
                </a:rPr>
                <a:t> safety and efficacy study to support that indication</a:t>
              </a:r>
              <a:r>
                <a:rPr lang="en-GB" sz="1200" baseline="30000" dirty="0">
                  <a:solidFill>
                    <a:schemeClr val="accent1"/>
                  </a:solidFill>
                </a:rPr>
                <a:t>1,2,3 </a:t>
              </a:r>
              <a:endParaRPr lang="en-GB" sz="1200" dirty="0">
                <a:solidFill>
                  <a:schemeClr val="accent1"/>
                </a:solidFill>
              </a:endParaRPr>
            </a:p>
            <a:p>
              <a:pPr>
                <a:spcAft>
                  <a:spcPts val="300"/>
                </a:spcAft>
              </a:pPr>
              <a:endParaRPr lang="en-US" sz="1200" b="1" dirty="0">
                <a:solidFill>
                  <a:schemeClr val="accent1"/>
                </a:solidFill>
              </a:endParaRPr>
            </a:p>
            <a:p>
              <a:pPr>
                <a:spcAft>
                  <a:spcPts val="300"/>
                </a:spcAft>
              </a:pPr>
              <a:r>
                <a:rPr lang="en-US" sz="1200" dirty="0">
                  <a:solidFill>
                    <a:schemeClr val="accent1"/>
                  </a:solidFill>
                </a:rPr>
                <a:t>Extrapolation is </a:t>
              </a:r>
              <a:r>
                <a:rPr lang="en-US" sz="1200" b="1" dirty="0">
                  <a:solidFill>
                    <a:schemeClr val="accent1"/>
                  </a:solidFill>
                </a:rPr>
                <a:t>regularly applied for any biologic medicine to maintain approval </a:t>
              </a:r>
              <a:r>
                <a:rPr lang="en-US" sz="1200" dirty="0">
                  <a:solidFill>
                    <a:schemeClr val="accent1"/>
                  </a:solidFill>
                </a:rPr>
                <a:t>after major changes in the manufacturing process or to introduce and approve new formulations</a:t>
              </a:r>
              <a:r>
                <a:rPr lang="en-US" sz="1200" baseline="30000" dirty="0">
                  <a:solidFill>
                    <a:schemeClr val="accent1"/>
                  </a:solidFill>
                </a:rPr>
                <a:t>3 </a:t>
              </a:r>
            </a:p>
            <a:p>
              <a:pPr>
                <a:spcAft>
                  <a:spcPts val="300"/>
                </a:spcAft>
              </a:pPr>
              <a:endParaRPr lang="en-GB" sz="1200" b="1" baseline="30000" dirty="0">
                <a:solidFill>
                  <a:schemeClr val="accent1"/>
                </a:solidFill>
              </a:endParaRPr>
            </a:p>
          </p:txBody>
        </p:sp>
      </p:grpSp>
      <p:sp>
        <p:nvSpPr>
          <p:cNvPr id="17" name="Isosceles Triangle 16">
            <a:extLst>
              <a:ext uri="{FF2B5EF4-FFF2-40B4-BE49-F238E27FC236}">
                <a16:creationId xmlns:a16="http://schemas.microsoft.com/office/drawing/2014/main" id="{98B5549A-9737-A1BC-8928-6AC05BA715DC}"/>
              </a:ext>
            </a:extLst>
          </p:cNvPr>
          <p:cNvSpPr/>
          <p:nvPr/>
        </p:nvSpPr>
        <p:spPr>
          <a:xfrm rot="5400000">
            <a:off x="5635674" y="2698390"/>
            <a:ext cx="565767" cy="17507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grpSp>
        <p:nvGrpSpPr>
          <p:cNvPr id="65" name="Group 64">
            <a:extLst>
              <a:ext uri="{FF2B5EF4-FFF2-40B4-BE49-F238E27FC236}">
                <a16:creationId xmlns:a16="http://schemas.microsoft.com/office/drawing/2014/main" id="{2C4128A7-AAFE-88B7-348E-D126D8AB3E7F}"/>
              </a:ext>
            </a:extLst>
          </p:cNvPr>
          <p:cNvGrpSpPr/>
          <p:nvPr/>
        </p:nvGrpSpPr>
        <p:grpSpPr>
          <a:xfrm>
            <a:off x="3190474" y="2452094"/>
            <a:ext cx="5407868" cy="1113035"/>
            <a:chOff x="3095692" y="2792339"/>
            <a:chExt cx="5289153" cy="1113035"/>
          </a:xfrm>
        </p:grpSpPr>
        <p:sp>
          <p:nvSpPr>
            <p:cNvPr id="37" name="TextBox 36">
              <a:extLst>
                <a:ext uri="{FF2B5EF4-FFF2-40B4-BE49-F238E27FC236}">
                  <a16:creationId xmlns:a16="http://schemas.microsoft.com/office/drawing/2014/main" id="{B4C1AEDA-D3D0-DC24-BC8B-11B296EFC0DF}"/>
                </a:ext>
              </a:extLst>
            </p:cNvPr>
            <p:cNvSpPr txBox="1"/>
            <p:nvPr/>
          </p:nvSpPr>
          <p:spPr>
            <a:xfrm>
              <a:off x="3301014" y="3659153"/>
              <a:ext cx="1683740" cy="123111"/>
            </a:xfrm>
            <a:prstGeom prst="rect">
              <a:avLst/>
            </a:prstGeom>
            <a:noFill/>
          </p:spPr>
          <p:txBody>
            <a:bodyPr wrap="square" lIns="0" tIns="0" rIns="0" bIns="0">
              <a:spAutoFit/>
            </a:bodyPr>
            <a:lstStyle/>
            <a:p>
              <a:pPr algn="ctr"/>
              <a:r>
                <a:rPr lang="en-US" sz="800"/>
                <a:t>Studied and approved indications</a:t>
              </a:r>
            </a:p>
          </p:txBody>
        </p:sp>
        <p:grpSp>
          <p:nvGrpSpPr>
            <p:cNvPr id="58" name="Group 57">
              <a:extLst>
                <a:ext uri="{FF2B5EF4-FFF2-40B4-BE49-F238E27FC236}">
                  <a16:creationId xmlns:a16="http://schemas.microsoft.com/office/drawing/2014/main" id="{CB588688-1434-4F9D-BB80-29D811A3D8F2}"/>
                </a:ext>
              </a:extLst>
            </p:cNvPr>
            <p:cNvGrpSpPr/>
            <p:nvPr/>
          </p:nvGrpSpPr>
          <p:grpSpPr>
            <a:xfrm>
              <a:off x="3095692" y="2795777"/>
              <a:ext cx="2094385" cy="870458"/>
              <a:chOff x="3312359" y="6837977"/>
              <a:chExt cx="2094385" cy="870458"/>
            </a:xfrm>
          </p:grpSpPr>
          <p:sp>
            <p:nvSpPr>
              <p:cNvPr id="18" name="Oval 17">
                <a:extLst>
                  <a:ext uri="{FF2B5EF4-FFF2-40B4-BE49-F238E27FC236}">
                    <a16:creationId xmlns:a16="http://schemas.microsoft.com/office/drawing/2014/main" id="{12C29B6C-80FE-30BB-EB1A-E3ACF79722B9}"/>
                  </a:ext>
                </a:extLst>
              </p:cNvPr>
              <p:cNvSpPr/>
              <p:nvPr/>
            </p:nvSpPr>
            <p:spPr>
              <a:xfrm>
                <a:off x="3312359" y="6837977"/>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9" name="Oval 18">
                <a:extLst>
                  <a:ext uri="{FF2B5EF4-FFF2-40B4-BE49-F238E27FC236}">
                    <a16:creationId xmlns:a16="http://schemas.microsoft.com/office/drawing/2014/main" id="{6D41CD35-DAC4-8BEF-9ED3-60DA91E7801E}"/>
                  </a:ext>
                </a:extLst>
              </p:cNvPr>
              <p:cNvSpPr/>
              <p:nvPr/>
            </p:nvSpPr>
            <p:spPr>
              <a:xfrm>
                <a:off x="4019804" y="6837977"/>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0" name="Oval 19">
                <a:extLst>
                  <a:ext uri="{FF2B5EF4-FFF2-40B4-BE49-F238E27FC236}">
                    <a16:creationId xmlns:a16="http://schemas.microsoft.com/office/drawing/2014/main" id="{CEED1734-BA91-8A26-F350-766CF80CF154}"/>
                  </a:ext>
                </a:extLst>
              </p:cNvPr>
              <p:cNvSpPr/>
              <p:nvPr/>
            </p:nvSpPr>
            <p:spPr>
              <a:xfrm>
                <a:off x="4727254" y="6837977"/>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4" name="TextBox 23">
                <a:extLst>
                  <a:ext uri="{FF2B5EF4-FFF2-40B4-BE49-F238E27FC236}">
                    <a16:creationId xmlns:a16="http://schemas.microsoft.com/office/drawing/2014/main" id="{C03D98F7-92BD-D9F0-0603-9B6361D96395}"/>
                  </a:ext>
                </a:extLst>
              </p:cNvPr>
              <p:cNvSpPr txBox="1"/>
              <p:nvPr/>
            </p:nvSpPr>
            <p:spPr>
              <a:xfrm>
                <a:off x="3387609" y="7113081"/>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1</a:t>
                </a:r>
              </a:p>
            </p:txBody>
          </p:sp>
          <p:sp>
            <p:nvSpPr>
              <p:cNvPr id="25" name="TextBox 24">
                <a:extLst>
                  <a:ext uri="{FF2B5EF4-FFF2-40B4-BE49-F238E27FC236}">
                    <a16:creationId xmlns:a16="http://schemas.microsoft.com/office/drawing/2014/main" id="{8D5075CE-F070-E054-1773-40AAF295D423}"/>
                  </a:ext>
                </a:extLst>
              </p:cNvPr>
              <p:cNvSpPr txBox="1"/>
              <p:nvPr/>
            </p:nvSpPr>
            <p:spPr>
              <a:xfrm>
                <a:off x="4095054" y="7113081"/>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2</a:t>
                </a:r>
              </a:p>
            </p:txBody>
          </p:sp>
          <p:sp>
            <p:nvSpPr>
              <p:cNvPr id="26" name="TextBox 25">
                <a:extLst>
                  <a:ext uri="{FF2B5EF4-FFF2-40B4-BE49-F238E27FC236}">
                    <a16:creationId xmlns:a16="http://schemas.microsoft.com/office/drawing/2014/main" id="{76405D62-C151-D6FE-4660-1BAFD6278B7A}"/>
                  </a:ext>
                </a:extLst>
              </p:cNvPr>
              <p:cNvSpPr txBox="1"/>
              <p:nvPr/>
            </p:nvSpPr>
            <p:spPr>
              <a:xfrm>
                <a:off x="4802504" y="7113081"/>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3</a:t>
                </a:r>
              </a:p>
            </p:txBody>
          </p:sp>
          <p:sp>
            <p:nvSpPr>
              <p:cNvPr id="40" name="Left Brace 39">
                <a:extLst>
                  <a:ext uri="{FF2B5EF4-FFF2-40B4-BE49-F238E27FC236}">
                    <a16:creationId xmlns:a16="http://schemas.microsoft.com/office/drawing/2014/main" id="{8D5BF692-D278-BF04-F26A-7DFE4F5D2E6C}"/>
                  </a:ext>
                </a:extLst>
              </p:cNvPr>
              <p:cNvSpPr/>
              <p:nvPr/>
            </p:nvSpPr>
            <p:spPr>
              <a:xfrm rot="16200000">
                <a:off x="4242419" y="6633605"/>
                <a:ext cx="224439" cy="1925221"/>
              </a:xfrm>
              <a:prstGeom prst="leftBrace">
                <a:avLst>
                  <a:gd name="adj1" fmla="val 11805"/>
                  <a:gd name="adj2" fmla="val 492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3" name="Group 62">
              <a:extLst>
                <a:ext uri="{FF2B5EF4-FFF2-40B4-BE49-F238E27FC236}">
                  <a16:creationId xmlns:a16="http://schemas.microsoft.com/office/drawing/2014/main" id="{087E1548-8E83-E9B1-6559-2D0B692A9B3B}"/>
                </a:ext>
              </a:extLst>
            </p:cNvPr>
            <p:cNvGrpSpPr/>
            <p:nvPr/>
          </p:nvGrpSpPr>
          <p:grpSpPr>
            <a:xfrm>
              <a:off x="6064146" y="2792339"/>
              <a:ext cx="2320699" cy="1113035"/>
              <a:chOff x="6302231" y="2888591"/>
              <a:chExt cx="2320699" cy="1113035"/>
            </a:xfrm>
          </p:grpSpPr>
          <p:grpSp>
            <p:nvGrpSpPr>
              <p:cNvPr id="59" name="Group 58">
                <a:extLst>
                  <a:ext uri="{FF2B5EF4-FFF2-40B4-BE49-F238E27FC236}">
                    <a16:creationId xmlns:a16="http://schemas.microsoft.com/office/drawing/2014/main" id="{311ABDB3-EB5D-26C0-716D-BD22464CA30D}"/>
                  </a:ext>
                </a:extLst>
              </p:cNvPr>
              <p:cNvGrpSpPr/>
              <p:nvPr/>
            </p:nvGrpSpPr>
            <p:grpSpPr>
              <a:xfrm>
                <a:off x="6517038" y="2888591"/>
                <a:ext cx="679490" cy="673318"/>
                <a:chOff x="6517038" y="6834539"/>
                <a:chExt cx="679490" cy="673318"/>
              </a:xfrm>
            </p:grpSpPr>
            <p:sp>
              <p:nvSpPr>
                <p:cNvPr id="27" name="Oval 26">
                  <a:extLst>
                    <a:ext uri="{FF2B5EF4-FFF2-40B4-BE49-F238E27FC236}">
                      <a16:creationId xmlns:a16="http://schemas.microsoft.com/office/drawing/2014/main" id="{13B97090-80DA-B7B5-8728-6893FFED6BAB}"/>
                    </a:ext>
                  </a:extLst>
                </p:cNvPr>
                <p:cNvSpPr/>
                <p:nvPr/>
              </p:nvSpPr>
              <p:spPr>
                <a:xfrm>
                  <a:off x="6517038" y="6834539"/>
                  <a:ext cx="679490" cy="6733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0" name="TextBox 29">
                  <a:extLst>
                    <a:ext uri="{FF2B5EF4-FFF2-40B4-BE49-F238E27FC236}">
                      <a16:creationId xmlns:a16="http://schemas.microsoft.com/office/drawing/2014/main" id="{483B9621-680F-9F06-252B-4AD1DB9B0798}"/>
                    </a:ext>
                  </a:extLst>
                </p:cNvPr>
                <p:cNvSpPr txBox="1"/>
                <p:nvPr/>
              </p:nvSpPr>
              <p:spPr>
                <a:xfrm>
                  <a:off x="6592288" y="7109643"/>
                  <a:ext cx="528991" cy="123111"/>
                </a:xfrm>
                <a:prstGeom prst="rect">
                  <a:avLst/>
                </a:prstGeom>
                <a:noFill/>
              </p:spPr>
              <p:txBody>
                <a:bodyPr wrap="none" lIns="0" tIns="0" rIns="0" bIns="0" rtlCol="0" anchor="ctr" anchorCtr="0">
                  <a:spAutoFit/>
                </a:bodyPr>
                <a:lstStyle/>
                <a:p>
                  <a:pPr algn="ctr"/>
                  <a:r>
                    <a:rPr lang="en-US" sz="800">
                      <a:solidFill>
                        <a:schemeClr val="bg1"/>
                      </a:solidFill>
                    </a:rPr>
                    <a:t>Indication 1</a:t>
                  </a:r>
                </a:p>
              </p:txBody>
            </p:sp>
          </p:grpSp>
          <p:grpSp>
            <p:nvGrpSpPr>
              <p:cNvPr id="60" name="Group 59">
                <a:extLst>
                  <a:ext uri="{FF2B5EF4-FFF2-40B4-BE49-F238E27FC236}">
                    <a16:creationId xmlns:a16="http://schemas.microsoft.com/office/drawing/2014/main" id="{99977E61-A640-E402-4693-8EBA5AD98F94}"/>
                  </a:ext>
                </a:extLst>
              </p:cNvPr>
              <p:cNvGrpSpPr/>
              <p:nvPr/>
            </p:nvGrpSpPr>
            <p:grpSpPr>
              <a:xfrm>
                <a:off x="7224495" y="2888591"/>
                <a:ext cx="679490" cy="673318"/>
                <a:chOff x="7224495" y="6834539"/>
                <a:chExt cx="679490" cy="673318"/>
              </a:xfrm>
            </p:grpSpPr>
            <p:sp>
              <p:nvSpPr>
                <p:cNvPr id="28" name="Oval 27">
                  <a:extLst>
                    <a:ext uri="{FF2B5EF4-FFF2-40B4-BE49-F238E27FC236}">
                      <a16:creationId xmlns:a16="http://schemas.microsoft.com/office/drawing/2014/main" id="{C99AD533-3786-A58C-15BB-06B9901DA071}"/>
                    </a:ext>
                  </a:extLst>
                </p:cNvPr>
                <p:cNvSpPr/>
                <p:nvPr/>
              </p:nvSpPr>
              <p:spPr>
                <a:xfrm>
                  <a:off x="7224495" y="6834539"/>
                  <a:ext cx="679490" cy="67331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1" name="TextBox 30">
                  <a:extLst>
                    <a:ext uri="{FF2B5EF4-FFF2-40B4-BE49-F238E27FC236}">
                      <a16:creationId xmlns:a16="http://schemas.microsoft.com/office/drawing/2014/main" id="{5EB79E23-0D19-DD8C-A07D-BBEA79EF64BA}"/>
                    </a:ext>
                  </a:extLst>
                </p:cNvPr>
                <p:cNvSpPr txBox="1"/>
                <p:nvPr/>
              </p:nvSpPr>
              <p:spPr>
                <a:xfrm>
                  <a:off x="7299745" y="7109643"/>
                  <a:ext cx="528991" cy="123111"/>
                </a:xfrm>
                <a:prstGeom prst="rect">
                  <a:avLst/>
                </a:prstGeom>
                <a:noFill/>
              </p:spPr>
              <p:txBody>
                <a:bodyPr wrap="none" lIns="0" tIns="0" rIns="0" bIns="0" rtlCol="0" anchor="ctr" anchorCtr="0">
                  <a:spAutoFit/>
                </a:bodyPr>
                <a:lstStyle/>
                <a:p>
                  <a:pPr algn="ctr"/>
                  <a:r>
                    <a:rPr lang="en-US" sz="800">
                      <a:solidFill>
                        <a:schemeClr val="bg1"/>
                      </a:solidFill>
                    </a:rPr>
                    <a:t>Indication 2</a:t>
                  </a:r>
                </a:p>
              </p:txBody>
            </p:sp>
          </p:grpSp>
          <p:grpSp>
            <p:nvGrpSpPr>
              <p:cNvPr id="61" name="Group 60">
                <a:extLst>
                  <a:ext uri="{FF2B5EF4-FFF2-40B4-BE49-F238E27FC236}">
                    <a16:creationId xmlns:a16="http://schemas.microsoft.com/office/drawing/2014/main" id="{FCD31A88-ACC3-F530-9D48-E6FD98647D52}"/>
                  </a:ext>
                </a:extLst>
              </p:cNvPr>
              <p:cNvGrpSpPr/>
              <p:nvPr/>
            </p:nvGrpSpPr>
            <p:grpSpPr>
              <a:xfrm>
                <a:off x="7931943" y="2888592"/>
                <a:ext cx="679490" cy="673318"/>
                <a:chOff x="7931943" y="6834540"/>
                <a:chExt cx="679490" cy="673318"/>
              </a:xfrm>
            </p:grpSpPr>
            <p:sp>
              <p:nvSpPr>
                <p:cNvPr id="29" name="Oval 28">
                  <a:extLst>
                    <a:ext uri="{FF2B5EF4-FFF2-40B4-BE49-F238E27FC236}">
                      <a16:creationId xmlns:a16="http://schemas.microsoft.com/office/drawing/2014/main" id="{F370F01B-41B6-8261-914B-7A58D156A45E}"/>
                    </a:ext>
                  </a:extLst>
                </p:cNvPr>
                <p:cNvSpPr/>
                <p:nvPr/>
              </p:nvSpPr>
              <p:spPr>
                <a:xfrm>
                  <a:off x="7931943" y="6834540"/>
                  <a:ext cx="679490" cy="67331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2" name="TextBox 31">
                  <a:extLst>
                    <a:ext uri="{FF2B5EF4-FFF2-40B4-BE49-F238E27FC236}">
                      <a16:creationId xmlns:a16="http://schemas.microsoft.com/office/drawing/2014/main" id="{D89FAC5C-61EB-4850-45E9-3796317521C9}"/>
                    </a:ext>
                  </a:extLst>
                </p:cNvPr>
                <p:cNvSpPr txBox="1"/>
                <p:nvPr/>
              </p:nvSpPr>
              <p:spPr>
                <a:xfrm>
                  <a:off x="8007193" y="7109644"/>
                  <a:ext cx="528991" cy="123111"/>
                </a:xfrm>
                <a:prstGeom prst="rect">
                  <a:avLst/>
                </a:prstGeom>
                <a:noFill/>
              </p:spPr>
              <p:txBody>
                <a:bodyPr wrap="none" lIns="0" tIns="0" rIns="0" bIns="0" rtlCol="0" anchor="ctr" anchorCtr="0">
                  <a:spAutoFit/>
                </a:bodyPr>
                <a:lstStyle/>
                <a:p>
                  <a:pPr algn="ctr"/>
                  <a:r>
                    <a:rPr lang="en-US" sz="800" dirty="0">
                      <a:solidFill>
                        <a:schemeClr val="bg1"/>
                      </a:solidFill>
                    </a:rPr>
                    <a:t>Indication 3</a:t>
                  </a:r>
                </a:p>
              </p:txBody>
            </p:sp>
          </p:grpSp>
          <p:sp>
            <p:nvSpPr>
              <p:cNvPr id="38" name="TextBox 37">
                <a:extLst>
                  <a:ext uri="{FF2B5EF4-FFF2-40B4-BE49-F238E27FC236}">
                    <a16:creationId xmlns:a16="http://schemas.microsoft.com/office/drawing/2014/main" id="{6684ED3B-2BDE-493D-609A-36A08FD793AC}"/>
                  </a:ext>
                </a:extLst>
              </p:cNvPr>
              <p:cNvSpPr txBox="1"/>
              <p:nvPr/>
            </p:nvSpPr>
            <p:spPr>
              <a:xfrm>
                <a:off x="6302231" y="3755405"/>
                <a:ext cx="1067712" cy="246221"/>
              </a:xfrm>
              <a:prstGeom prst="rect">
                <a:avLst/>
              </a:prstGeom>
              <a:noFill/>
            </p:spPr>
            <p:txBody>
              <a:bodyPr wrap="square" lIns="0" tIns="0" rIns="0" bIns="0">
                <a:spAutoFit/>
              </a:bodyPr>
              <a:lstStyle/>
              <a:p>
                <a:pPr algn="ctr"/>
                <a:r>
                  <a:rPr lang="en-US" sz="800"/>
                  <a:t>Studied and</a:t>
                </a:r>
              </a:p>
              <a:p>
                <a:pPr algn="ctr"/>
                <a:r>
                  <a:rPr lang="en-US" sz="800"/>
                  <a:t>approved indication</a:t>
                </a:r>
              </a:p>
            </p:txBody>
          </p:sp>
          <p:sp>
            <p:nvSpPr>
              <p:cNvPr id="39" name="TextBox 38">
                <a:extLst>
                  <a:ext uri="{FF2B5EF4-FFF2-40B4-BE49-F238E27FC236}">
                    <a16:creationId xmlns:a16="http://schemas.microsoft.com/office/drawing/2014/main" id="{77761409-6EBB-032D-82DD-2113B41F3EA2}"/>
                  </a:ext>
                </a:extLst>
              </p:cNvPr>
              <p:cNvSpPr txBox="1"/>
              <p:nvPr/>
            </p:nvSpPr>
            <p:spPr>
              <a:xfrm>
                <a:off x="7408355" y="3755405"/>
                <a:ext cx="1214575" cy="246221"/>
              </a:xfrm>
              <a:prstGeom prst="rect">
                <a:avLst/>
              </a:prstGeom>
              <a:noFill/>
            </p:spPr>
            <p:txBody>
              <a:bodyPr wrap="square" lIns="0" tIns="0" rIns="0" bIns="0">
                <a:spAutoFit/>
              </a:bodyPr>
              <a:lstStyle/>
              <a:p>
                <a:pPr algn="ctr"/>
                <a:r>
                  <a:rPr lang="en-US" sz="800"/>
                  <a:t>Extrapolated and</a:t>
                </a:r>
              </a:p>
              <a:p>
                <a:pPr algn="ctr"/>
                <a:r>
                  <a:rPr lang="en-US" sz="800"/>
                  <a:t>approved indications</a:t>
                </a:r>
              </a:p>
            </p:txBody>
          </p:sp>
          <p:sp>
            <p:nvSpPr>
              <p:cNvPr id="41" name="Left Brace 40">
                <a:extLst>
                  <a:ext uri="{FF2B5EF4-FFF2-40B4-BE49-F238E27FC236}">
                    <a16:creationId xmlns:a16="http://schemas.microsoft.com/office/drawing/2014/main" id="{C3BA4786-2975-0879-1834-59B87B7DD0E2}"/>
                  </a:ext>
                </a:extLst>
              </p:cNvPr>
              <p:cNvSpPr/>
              <p:nvPr/>
            </p:nvSpPr>
            <p:spPr>
              <a:xfrm rot="16200000">
                <a:off x="7797106" y="2999837"/>
                <a:ext cx="224439" cy="1245731"/>
              </a:xfrm>
              <a:prstGeom prst="leftBrace">
                <a:avLst>
                  <a:gd name="adj1" fmla="val 11805"/>
                  <a:gd name="adj2" fmla="val 492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Left Brace 41">
                <a:extLst>
                  <a:ext uri="{FF2B5EF4-FFF2-40B4-BE49-F238E27FC236}">
                    <a16:creationId xmlns:a16="http://schemas.microsoft.com/office/drawing/2014/main" id="{A014A421-FB91-89FB-142F-12070F5B92FA}"/>
                  </a:ext>
                </a:extLst>
              </p:cNvPr>
              <p:cNvSpPr/>
              <p:nvPr/>
            </p:nvSpPr>
            <p:spPr>
              <a:xfrm rot="16200000">
                <a:off x="6744563" y="3313649"/>
                <a:ext cx="224439" cy="566241"/>
              </a:xfrm>
              <a:prstGeom prst="leftBrace">
                <a:avLst>
                  <a:gd name="adj1" fmla="val 11805"/>
                  <a:gd name="adj2" fmla="val 492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14" name="TextBox 13">
            <a:extLst>
              <a:ext uri="{FF2B5EF4-FFF2-40B4-BE49-F238E27FC236}">
                <a16:creationId xmlns:a16="http://schemas.microsoft.com/office/drawing/2014/main" id="{D7A49E8B-567A-387D-0BB8-9F8E91AD4FB2}"/>
              </a:ext>
            </a:extLst>
          </p:cNvPr>
          <p:cNvSpPr txBox="1"/>
          <p:nvPr/>
        </p:nvSpPr>
        <p:spPr>
          <a:xfrm>
            <a:off x="3234976" y="1201699"/>
            <a:ext cx="1576499" cy="184666"/>
          </a:xfrm>
          <a:prstGeom prst="rect">
            <a:avLst/>
          </a:prstGeom>
          <a:noFill/>
        </p:spPr>
        <p:txBody>
          <a:bodyPr wrap="square" lIns="0" tIns="0" rIns="0" bIns="0">
            <a:spAutoFit/>
          </a:bodyPr>
          <a:lstStyle/>
          <a:p>
            <a:pPr algn="ctr"/>
            <a:r>
              <a:rPr lang="en-US" sz="1200" b="1" dirty="0">
                <a:solidFill>
                  <a:schemeClr val="accent6">
                    <a:lumMod val="75000"/>
                  </a:schemeClr>
                </a:solidFill>
              </a:rPr>
              <a:t>Reference medicine</a:t>
            </a:r>
          </a:p>
        </p:txBody>
      </p:sp>
      <p:sp>
        <p:nvSpPr>
          <p:cNvPr id="9" name="TextBox 8">
            <a:extLst>
              <a:ext uri="{FF2B5EF4-FFF2-40B4-BE49-F238E27FC236}">
                <a16:creationId xmlns:a16="http://schemas.microsoft.com/office/drawing/2014/main" id="{FF094CB7-1488-5731-06AE-AE7F528BF72C}"/>
              </a:ext>
            </a:extLst>
          </p:cNvPr>
          <p:cNvSpPr txBox="1"/>
          <p:nvPr/>
        </p:nvSpPr>
        <p:spPr>
          <a:xfrm>
            <a:off x="2844479" y="3706141"/>
            <a:ext cx="2687992" cy="707886"/>
          </a:xfrm>
          <a:prstGeom prst="rect">
            <a:avLst/>
          </a:prstGeom>
          <a:noFill/>
        </p:spPr>
        <p:txBody>
          <a:bodyPr wrap="square" lIns="0" rIns="0">
            <a:spAutoFit/>
          </a:bodyPr>
          <a:lstStyle/>
          <a:p>
            <a:pPr algn="ctr"/>
            <a:r>
              <a:rPr lang="en-US" sz="1000" dirty="0">
                <a:solidFill>
                  <a:srgbClr val="7E7164"/>
                </a:solidFill>
              </a:rPr>
              <a:t>Extrapolation can be applied to </a:t>
            </a:r>
            <a:r>
              <a:rPr lang="en-US" sz="1000" b="1" dirty="0">
                <a:solidFill>
                  <a:srgbClr val="7E7164"/>
                </a:solidFill>
              </a:rPr>
              <a:t>obtain approval after major changes in the manufacturing process </a:t>
            </a:r>
            <a:r>
              <a:rPr lang="en-US" sz="1000" dirty="0">
                <a:solidFill>
                  <a:srgbClr val="7E7164"/>
                </a:solidFill>
              </a:rPr>
              <a:t>(e.g. changes to the mode of administration of a biologic medicine)</a:t>
            </a:r>
            <a:r>
              <a:rPr lang="en-US" sz="1000" baseline="30000" dirty="0">
                <a:solidFill>
                  <a:srgbClr val="7E7164"/>
                </a:solidFill>
              </a:rPr>
              <a:t>3</a:t>
            </a:r>
          </a:p>
        </p:txBody>
      </p:sp>
      <p:sp>
        <p:nvSpPr>
          <p:cNvPr id="46" name="TextBox 45">
            <a:extLst>
              <a:ext uri="{FF2B5EF4-FFF2-40B4-BE49-F238E27FC236}">
                <a16:creationId xmlns:a16="http://schemas.microsoft.com/office/drawing/2014/main" id="{9043D33D-D62D-CD93-3AAD-5591D76E991B}"/>
              </a:ext>
            </a:extLst>
          </p:cNvPr>
          <p:cNvSpPr txBox="1">
            <a:spLocks/>
          </p:cNvSpPr>
          <p:nvPr/>
        </p:nvSpPr>
        <p:spPr>
          <a:xfrm>
            <a:off x="6129306" y="3717047"/>
            <a:ext cx="2729843" cy="707886"/>
          </a:xfrm>
          <a:prstGeom prst="rect">
            <a:avLst/>
          </a:prstGeom>
          <a:noFill/>
        </p:spPr>
        <p:txBody>
          <a:bodyPr wrap="square">
            <a:spAutoFit/>
          </a:bodyPr>
          <a:lstStyle/>
          <a:p>
            <a:pPr algn="ctr"/>
            <a:r>
              <a:rPr lang="en-US" sz="1000" dirty="0">
                <a:solidFill>
                  <a:schemeClr val="accent2"/>
                </a:solidFill>
              </a:rPr>
              <a:t>Extrapolation is applied </a:t>
            </a:r>
            <a:r>
              <a:rPr lang="en-US" sz="1000" b="1" dirty="0">
                <a:solidFill>
                  <a:schemeClr val="accent2"/>
                </a:solidFill>
              </a:rPr>
              <a:t>to obtain approval in all the indications that the reference medicine is approved in </a:t>
            </a:r>
            <a:r>
              <a:rPr lang="en-US" sz="1000" dirty="0">
                <a:solidFill>
                  <a:schemeClr val="accent2"/>
                </a:solidFill>
              </a:rPr>
              <a:t>without conducting clinical trials in each of those indications</a:t>
            </a:r>
            <a:r>
              <a:rPr lang="en-US" sz="1000" baseline="30000" dirty="0">
                <a:solidFill>
                  <a:schemeClr val="accent2"/>
                </a:solidFill>
              </a:rPr>
              <a:t>1,2,3</a:t>
            </a:r>
          </a:p>
        </p:txBody>
      </p:sp>
      <p:sp>
        <p:nvSpPr>
          <p:cNvPr id="36" name="TextBox 35">
            <a:extLst>
              <a:ext uri="{FF2B5EF4-FFF2-40B4-BE49-F238E27FC236}">
                <a16:creationId xmlns:a16="http://schemas.microsoft.com/office/drawing/2014/main" id="{8D0E9BBE-EBA8-98DC-4891-BD835548077E}"/>
              </a:ext>
            </a:extLst>
          </p:cNvPr>
          <p:cNvSpPr txBox="1">
            <a:spLocks/>
          </p:cNvSpPr>
          <p:nvPr/>
        </p:nvSpPr>
        <p:spPr>
          <a:xfrm>
            <a:off x="2844479" y="1607252"/>
            <a:ext cx="2687991" cy="584775"/>
          </a:xfrm>
          <a:prstGeom prst="rect">
            <a:avLst/>
          </a:prstGeom>
          <a:solidFill>
            <a:schemeClr val="bg2">
              <a:lumMod val="90000"/>
            </a:schemeClr>
          </a:solidFill>
        </p:spPr>
        <p:txBody>
          <a:bodyPr wrap="square" anchor="ctr" anchorCtr="0">
            <a:noAutofit/>
          </a:bodyPr>
          <a:lstStyle/>
          <a:p>
            <a:pPr algn="ctr"/>
            <a:r>
              <a:rPr lang="en-US" sz="850" dirty="0">
                <a:solidFill>
                  <a:schemeClr val="accent6">
                    <a:lumMod val="75000"/>
                  </a:schemeClr>
                </a:solidFill>
              </a:rPr>
              <a:t>A reference medicine manufacturer must show that its product is safe and effective for each indication for which approval is sought</a:t>
            </a:r>
            <a:r>
              <a:rPr lang="en-US" sz="850" baseline="30000" dirty="0">
                <a:solidFill>
                  <a:schemeClr val="accent6">
                    <a:lumMod val="75000"/>
                  </a:schemeClr>
                </a:solidFill>
              </a:rPr>
              <a:t>1</a:t>
            </a:r>
          </a:p>
        </p:txBody>
      </p:sp>
      <p:sp>
        <p:nvSpPr>
          <p:cNvPr id="4" name="TextBox 3">
            <a:extLst>
              <a:ext uri="{FF2B5EF4-FFF2-40B4-BE49-F238E27FC236}">
                <a16:creationId xmlns:a16="http://schemas.microsoft.com/office/drawing/2014/main" id="{402BA9C5-9DA0-EC7B-4563-F3997B576064}"/>
              </a:ext>
            </a:extLst>
          </p:cNvPr>
          <p:cNvSpPr txBox="1">
            <a:spLocks/>
          </p:cNvSpPr>
          <p:nvPr/>
        </p:nvSpPr>
        <p:spPr>
          <a:xfrm>
            <a:off x="6171158" y="1607252"/>
            <a:ext cx="2775992" cy="584775"/>
          </a:xfrm>
          <a:prstGeom prst="rect">
            <a:avLst/>
          </a:prstGeom>
          <a:solidFill>
            <a:schemeClr val="bg2">
              <a:lumMod val="90000"/>
            </a:schemeClr>
          </a:solidFill>
        </p:spPr>
        <p:txBody>
          <a:bodyPr wrap="square">
            <a:noAutofit/>
          </a:bodyPr>
          <a:lstStyle/>
          <a:p>
            <a:pPr algn="ctr"/>
            <a:r>
              <a:rPr lang="en-US" sz="850" dirty="0">
                <a:solidFill>
                  <a:schemeClr val="accent2"/>
                </a:solidFill>
              </a:rPr>
              <a:t>If </a:t>
            </a:r>
            <a:r>
              <a:rPr lang="en-US" sz="850" dirty="0" err="1">
                <a:solidFill>
                  <a:schemeClr val="accent2"/>
                </a:solidFill>
              </a:rPr>
              <a:t>biosimilarity</a:t>
            </a:r>
            <a:r>
              <a:rPr lang="en-US" sz="850" dirty="0">
                <a:solidFill>
                  <a:schemeClr val="accent2"/>
                </a:solidFill>
              </a:rPr>
              <a:t> is demonstrated for at least one of the reference medicine’s indications, it is possible to use data and information to scientifically justify approval for other indications</a:t>
            </a:r>
            <a:r>
              <a:rPr lang="en-US" sz="850" baseline="30000" dirty="0">
                <a:solidFill>
                  <a:schemeClr val="accent2"/>
                </a:solidFill>
              </a:rPr>
              <a:t>1</a:t>
            </a:r>
          </a:p>
        </p:txBody>
      </p:sp>
      <p:sp>
        <p:nvSpPr>
          <p:cNvPr id="51" name="TextBox 50">
            <a:extLst>
              <a:ext uri="{FF2B5EF4-FFF2-40B4-BE49-F238E27FC236}">
                <a16:creationId xmlns:a16="http://schemas.microsoft.com/office/drawing/2014/main" id="{14B35E51-C8F9-DF07-4368-9D9A9EC26B62}"/>
              </a:ext>
            </a:extLst>
          </p:cNvPr>
          <p:cNvSpPr txBox="1"/>
          <p:nvPr/>
        </p:nvSpPr>
        <p:spPr>
          <a:xfrm>
            <a:off x="6474738" y="1205045"/>
            <a:ext cx="1576499" cy="184666"/>
          </a:xfrm>
          <a:prstGeom prst="rect">
            <a:avLst/>
          </a:prstGeom>
          <a:noFill/>
        </p:spPr>
        <p:txBody>
          <a:bodyPr wrap="square" lIns="0" tIns="0" rIns="0" bIns="0">
            <a:spAutoFit/>
          </a:bodyPr>
          <a:lstStyle/>
          <a:p>
            <a:pPr algn="ctr"/>
            <a:r>
              <a:rPr lang="en-US" sz="1200" b="1" dirty="0">
                <a:solidFill>
                  <a:schemeClr val="accent2"/>
                </a:solidFill>
              </a:rPr>
              <a:t>Biosimilar medicine</a:t>
            </a:r>
          </a:p>
        </p:txBody>
      </p:sp>
      <p:grpSp>
        <p:nvGrpSpPr>
          <p:cNvPr id="35" name="Group 34">
            <a:extLst>
              <a:ext uri="{FF2B5EF4-FFF2-40B4-BE49-F238E27FC236}">
                <a16:creationId xmlns:a16="http://schemas.microsoft.com/office/drawing/2014/main" id="{1ACFEF74-8E6B-63B0-11BC-74475F629290}"/>
              </a:ext>
            </a:extLst>
          </p:cNvPr>
          <p:cNvGrpSpPr/>
          <p:nvPr/>
        </p:nvGrpSpPr>
        <p:grpSpPr>
          <a:xfrm>
            <a:off x="4831184" y="1122023"/>
            <a:ext cx="350460" cy="313574"/>
            <a:chOff x="4417218" y="2410682"/>
            <a:chExt cx="345662" cy="332041"/>
          </a:xfrm>
          <a:noFill/>
        </p:grpSpPr>
        <p:sp>
          <p:nvSpPr>
            <p:cNvPr id="43" name="Freeform 2">
              <a:extLst>
                <a:ext uri="{FF2B5EF4-FFF2-40B4-BE49-F238E27FC236}">
                  <a16:creationId xmlns:a16="http://schemas.microsoft.com/office/drawing/2014/main" id="{0C5BCB69-8831-156B-F397-AF29863D2CC2}"/>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6"/>
              </a:solidFill>
              <a:prstDash val="solid"/>
              <a:miter/>
            </a:ln>
          </p:spPr>
          <p:txBody>
            <a:bodyPr rtlCol="0" anchor="ctr"/>
            <a:lstStyle/>
            <a:p>
              <a:endParaRPr lang="en-AR"/>
            </a:p>
          </p:txBody>
        </p:sp>
        <p:sp>
          <p:nvSpPr>
            <p:cNvPr id="47" name="Freeform 8">
              <a:extLst>
                <a:ext uri="{FF2B5EF4-FFF2-40B4-BE49-F238E27FC236}">
                  <a16:creationId xmlns:a16="http://schemas.microsoft.com/office/drawing/2014/main" id="{C57644B8-7DAE-DAA0-6BF2-6CD6565354D7}"/>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6"/>
              </a:solidFill>
              <a:prstDash val="solid"/>
              <a:miter/>
            </a:ln>
          </p:spPr>
          <p:txBody>
            <a:bodyPr rtlCol="0" anchor="ctr"/>
            <a:lstStyle/>
            <a:p>
              <a:endParaRPr lang="en-AR"/>
            </a:p>
          </p:txBody>
        </p:sp>
        <p:sp>
          <p:nvSpPr>
            <p:cNvPr id="62" name="Freeform 10">
              <a:extLst>
                <a:ext uri="{FF2B5EF4-FFF2-40B4-BE49-F238E27FC236}">
                  <a16:creationId xmlns:a16="http://schemas.microsoft.com/office/drawing/2014/main" id="{235F172D-AD2D-3884-0DD0-22FC947C9F88}"/>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6"/>
              </a:solidFill>
              <a:prstDash val="solid"/>
              <a:miter/>
            </a:ln>
          </p:spPr>
          <p:txBody>
            <a:bodyPr rtlCol="0" anchor="ctr"/>
            <a:lstStyle/>
            <a:p>
              <a:endParaRPr lang="en-AR"/>
            </a:p>
          </p:txBody>
        </p:sp>
      </p:grpSp>
      <p:grpSp>
        <p:nvGrpSpPr>
          <p:cNvPr id="64" name="Group 63">
            <a:extLst>
              <a:ext uri="{FF2B5EF4-FFF2-40B4-BE49-F238E27FC236}">
                <a16:creationId xmlns:a16="http://schemas.microsoft.com/office/drawing/2014/main" id="{45D6AF5B-B827-3C89-E8B1-58F130A05B31}"/>
              </a:ext>
            </a:extLst>
          </p:cNvPr>
          <p:cNvGrpSpPr/>
          <p:nvPr/>
        </p:nvGrpSpPr>
        <p:grpSpPr>
          <a:xfrm>
            <a:off x="8051237" y="1115675"/>
            <a:ext cx="350460" cy="313574"/>
            <a:chOff x="4417218" y="2410682"/>
            <a:chExt cx="345662" cy="332041"/>
          </a:xfrm>
          <a:noFill/>
        </p:grpSpPr>
        <p:sp>
          <p:nvSpPr>
            <p:cNvPr id="66" name="Freeform 2">
              <a:extLst>
                <a:ext uri="{FF2B5EF4-FFF2-40B4-BE49-F238E27FC236}">
                  <a16:creationId xmlns:a16="http://schemas.microsoft.com/office/drawing/2014/main" id="{DA96033B-EE70-36F6-6F17-1EEDC83B511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2"/>
              </a:solidFill>
              <a:prstDash val="solid"/>
              <a:miter/>
            </a:ln>
          </p:spPr>
          <p:txBody>
            <a:bodyPr rtlCol="0" anchor="ctr"/>
            <a:lstStyle/>
            <a:p>
              <a:endParaRPr lang="en-AR"/>
            </a:p>
          </p:txBody>
        </p:sp>
        <p:sp>
          <p:nvSpPr>
            <p:cNvPr id="68" name="Freeform 8">
              <a:extLst>
                <a:ext uri="{FF2B5EF4-FFF2-40B4-BE49-F238E27FC236}">
                  <a16:creationId xmlns:a16="http://schemas.microsoft.com/office/drawing/2014/main" id="{B726F63D-563E-E6EF-484A-B1519C26162E}"/>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2"/>
              </a:solidFill>
              <a:prstDash val="solid"/>
              <a:miter/>
            </a:ln>
          </p:spPr>
          <p:txBody>
            <a:bodyPr rtlCol="0" anchor="ctr"/>
            <a:lstStyle/>
            <a:p>
              <a:endParaRPr lang="en-AR"/>
            </a:p>
          </p:txBody>
        </p:sp>
        <p:sp>
          <p:nvSpPr>
            <p:cNvPr id="69" name="Freeform 10">
              <a:extLst>
                <a:ext uri="{FF2B5EF4-FFF2-40B4-BE49-F238E27FC236}">
                  <a16:creationId xmlns:a16="http://schemas.microsoft.com/office/drawing/2014/main" id="{2C33BE76-97DD-771B-D103-545617CE770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2"/>
              </a:solidFill>
              <a:prstDash val="solid"/>
              <a:miter/>
            </a:ln>
          </p:spPr>
          <p:txBody>
            <a:bodyPr rtlCol="0" anchor="ctr"/>
            <a:lstStyle/>
            <a:p>
              <a:endParaRPr lang="en-AR"/>
            </a:p>
          </p:txBody>
        </p:sp>
      </p:grpSp>
    </p:spTree>
    <p:extLst>
      <p:ext uri="{BB962C8B-B14F-4D97-AF65-F5344CB8AC3E}">
        <p14:creationId xmlns:p14="http://schemas.microsoft.com/office/powerpoint/2010/main" val="10979171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6B318-7E1B-2691-E734-DE742E16B50D}"/>
              </a:ext>
            </a:extLst>
          </p:cNvPr>
          <p:cNvSpPr>
            <a:spLocks noGrp="1"/>
          </p:cNvSpPr>
          <p:nvPr>
            <p:ph type="title"/>
          </p:nvPr>
        </p:nvSpPr>
        <p:spPr>
          <a:xfrm>
            <a:off x="243000" y="181146"/>
            <a:ext cx="7316279" cy="577081"/>
          </a:xfrm>
        </p:spPr>
        <p:txBody>
          <a:bodyPr>
            <a:noAutofit/>
          </a:bodyPr>
          <a:lstStyle/>
          <a:p>
            <a:r>
              <a:rPr lang="en-US" dirty="0"/>
              <a:t>Treatment switching </a:t>
            </a:r>
            <a:endParaRPr lang="en-GB" strike="sngStrike" dirty="0"/>
          </a:p>
        </p:txBody>
      </p:sp>
      <p:sp>
        <p:nvSpPr>
          <p:cNvPr id="13" name="TextBox 12">
            <a:extLst>
              <a:ext uri="{FF2B5EF4-FFF2-40B4-BE49-F238E27FC236}">
                <a16:creationId xmlns:a16="http://schemas.microsoft.com/office/drawing/2014/main" id="{EB59964B-64DC-6D49-B8AF-802AFDDF6143}"/>
              </a:ext>
            </a:extLst>
          </p:cNvPr>
          <p:cNvSpPr txBox="1"/>
          <p:nvPr/>
        </p:nvSpPr>
        <p:spPr>
          <a:xfrm>
            <a:off x="265254" y="937694"/>
            <a:ext cx="7865707" cy="461665"/>
          </a:xfrm>
          <a:prstGeom prst="rect">
            <a:avLst/>
          </a:prstGeom>
          <a:noFill/>
        </p:spPr>
        <p:txBody>
          <a:bodyPr wrap="square" lIns="0" anchor="ctr">
            <a:spAutoFit/>
          </a:bodyPr>
          <a:lstStyle/>
          <a:p>
            <a:pPr>
              <a:spcAft>
                <a:spcPts val="600"/>
              </a:spcAft>
            </a:pPr>
            <a:r>
              <a:rPr lang="en-US" sz="1200" b="1" dirty="0">
                <a:solidFill>
                  <a:schemeClr val="tx2"/>
                </a:solidFill>
              </a:rPr>
              <a:t>The term ‘switching’ can be used to describe the process by which a prescriber decides to exchange one medicine for another medicine with the same therapeutic intent</a:t>
            </a:r>
            <a:r>
              <a:rPr lang="en-US" sz="1200" b="1" baseline="30000" dirty="0">
                <a:solidFill>
                  <a:schemeClr val="tx2"/>
                </a:solidFill>
              </a:rPr>
              <a:t>1 </a:t>
            </a:r>
          </a:p>
        </p:txBody>
      </p:sp>
      <p:sp>
        <p:nvSpPr>
          <p:cNvPr id="14" name="Footer Placeholder 13">
            <a:extLst>
              <a:ext uri="{FF2B5EF4-FFF2-40B4-BE49-F238E27FC236}">
                <a16:creationId xmlns:a16="http://schemas.microsoft.com/office/drawing/2014/main" id="{72077B9A-C01B-1993-49E6-60CD39353B17}"/>
              </a:ext>
            </a:extLst>
          </p:cNvPr>
          <p:cNvSpPr>
            <a:spLocks noGrp="1"/>
          </p:cNvSpPr>
          <p:nvPr>
            <p:ph type="ftr" sz="quarter" idx="11"/>
          </p:nvPr>
        </p:nvSpPr>
        <p:spPr>
          <a:xfrm>
            <a:off x="420573" y="4471251"/>
            <a:ext cx="7562447" cy="491103"/>
          </a:xfrm>
        </p:spPr>
        <p:txBody>
          <a:bodyPr/>
          <a:lstStyle/>
          <a:p>
            <a:br>
              <a:rPr kumimoji="0" lang="en-US" sz="500" b="0" i="0" u="none" strike="noStrike" kern="1200" cap="none" spc="0" normalizeH="0" baseline="0" noProof="0" dirty="0">
                <a:ln>
                  <a:noFill/>
                </a:ln>
                <a:effectLst/>
                <a:uLnTx/>
                <a:uFillTx/>
                <a:ea typeface="+mn-ea"/>
                <a:cs typeface="+mn-cs"/>
              </a:rPr>
            </a:br>
            <a:r>
              <a:rPr kumimoji="0" lang="en-US" sz="500" b="0" i="0" u="none" strike="noStrike" kern="1200" cap="none" spc="0" normalizeH="0" baseline="0" noProof="0" dirty="0">
                <a:ln>
                  <a:noFill/>
                </a:ln>
                <a:effectLst/>
                <a:uLnTx/>
                <a:uFillTx/>
                <a:ea typeface="+mn-ea"/>
                <a:cs typeface="+mn-cs"/>
              </a:rPr>
              <a:t>1. EMA and EC. Biosimilars in the EU</a:t>
            </a:r>
            <a:r>
              <a:rPr kumimoji="0" lang="en-GB" sz="500" b="0" i="0" u="none" strike="noStrike" kern="1200" cap="none" spc="0" normalizeH="0" baseline="0" noProof="0" dirty="0">
                <a:ln>
                  <a:noFill/>
                </a:ln>
                <a:effectLst/>
                <a:uLnTx/>
                <a:uFillTx/>
                <a:ea typeface="+mn-ea"/>
                <a:cs typeface="+mn-cs"/>
              </a:rPr>
              <a:t>. 2019. Available at: </a:t>
            </a:r>
            <a:r>
              <a:rPr lang="en-GB" sz="500" dirty="0"/>
              <a:t>https://www.ema.europa.eu/en/documents/leaflet/biosimilars-eu-information-guide-healthcare-professionals_en.pdf</a:t>
            </a:r>
            <a:r>
              <a:rPr kumimoji="0" lang="en-GB" sz="500" b="0" i="0" u="none" strike="noStrike" kern="1200" cap="none" spc="0" normalizeH="0" baseline="0" noProof="0" dirty="0">
                <a:ln>
                  <a:noFill/>
                </a:ln>
                <a:effectLst/>
                <a:uLnTx/>
                <a:uFillTx/>
                <a:ea typeface="+mn-ea"/>
                <a:cs typeface="+mn-cs"/>
              </a:rPr>
              <a:t>. Accessed </a:t>
            </a:r>
            <a:r>
              <a:rPr lang="en-GB" sz="500" dirty="0"/>
              <a:t>August</a:t>
            </a:r>
            <a:r>
              <a:rPr kumimoji="0" lang="en-GB" sz="500" b="0" i="0" u="none" strike="noStrike" kern="1200" cap="none" spc="0" normalizeH="0" baseline="0" noProof="0" dirty="0">
                <a:ln>
                  <a:noFill/>
                </a:ln>
                <a:effectLst/>
                <a:uLnTx/>
                <a:uFillTx/>
                <a:ea typeface="+mn-ea"/>
                <a:cs typeface="+mn-cs"/>
              </a:rPr>
              <a:t> 2023; </a:t>
            </a:r>
            <a:br>
              <a:rPr kumimoji="0" lang="en-GB" sz="500" b="0" i="0" u="none" strike="noStrike" kern="1200" cap="none" spc="0" normalizeH="0" baseline="0" noProof="0" dirty="0">
                <a:ln>
                  <a:noFill/>
                </a:ln>
                <a:effectLst/>
                <a:uLnTx/>
                <a:uFillTx/>
                <a:ea typeface="+mn-ea"/>
                <a:cs typeface="+mn-cs"/>
              </a:rPr>
            </a:br>
            <a:r>
              <a:rPr kumimoji="0" lang="en-GB" sz="500" b="0" i="0" u="none" strike="noStrike" kern="1200" cap="none" spc="0" normalizeH="0" baseline="0" noProof="0" dirty="0">
                <a:ln>
                  <a:noFill/>
                </a:ln>
                <a:effectLst/>
                <a:uLnTx/>
                <a:uFillTx/>
                <a:ea typeface="+mn-ea"/>
                <a:cs typeface="+mn-cs"/>
              </a:rPr>
              <a:t>2. Biosimilars Forum. Partnership for Biosimilars Education and Access. Biosimilars FAQ. 2017. Available at </a:t>
            </a:r>
            <a:r>
              <a:rPr lang="en-GB" sz="500" dirty="0"/>
              <a:t>https://biosimilarsforum.org/wpcontent/uploads/2019/07/biosimilars_faqs_02_28_17_v1_0.pdf</a:t>
            </a:r>
            <a:r>
              <a:rPr kumimoji="0" lang="en-GB" sz="500" b="0" i="0" u="none" strike="noStrike" kern="1200" cap="none" spc="0" normalizeH="0" baseline="0" noProof="0" dirty="0">
                <a:ln>
                  <a:noFill/>
                </a:ln>
                <a:effectLst/>
                <a:uLnTx/>
                <a:uFillTx/>
                <a:ea typeface="+mn-ea"/>
                <a:cs typeface="+mn-cs"/>
              </a:rPr>
              <a:t>. </a:t>
            </a:r>
            <a:br>
              <a:rPr kumimoji="0" lang="en-GB" sz="500" b="0" i="0" u="none" strike="noStrike" kern="1200" cap="none" spc="0" normalizeH="0" baseline="0" noProof="0" dirty="0">
                <a:ln>
                  <a:noFill/>
                </a:ln>
                <a:effectLst/>
                <a:uLnTx/>
                <a:uFillTx/>
                <a:ea typeface="+mn-ea"/>
                <a:cs typeface="+mn-cs"/>
              </a:rPr>
            </a:br>
            <a:r>
              <a:rPr kumimoji="0" lang="en-GB" sz="500" b="0" i="0" u="none" strike="noStrike" kern="1200" cap="none" spc="0" normalizeH="0" baseline="0" noProof="0" dirty="0">
                <a:ln>
                  <a:noFill/>
                </a:ln>
                <a:effectLst/>
                <a:uLnTx/>
                <a:uFillTx/>
                <a:ea typeface="+mn-ea"/>
                <a:cs typeface="+mn-cs"/>
              </a:rPr>
              <a:t>Accessed December 2023; 3. </a:t>
            </a:r>
            <a:r>
              <a:rPr kumimoji="0" lang="en-GB" sz="500" b="0" i="0" u="none" strike="noStrike" kern="1200" cap="none" spc="0" normalizeH="0" baseline="0" noProof="0" dirty="0" err="1">
                <a:ln>
                  <a:noFill/>
                </a:ln>
                <a:effectLst/>
                <a:uLnTx/>
                <a:uFillTx/>
                <a:ea typeface="+mn-ea"/>
                <a:cs typeface="+mn-cs"/>
              </a:rPr>
              <a:t>Mysler</a:t>
            </a:r>
            <a:r>
              <a:rPr kumimoji="0" lang="en-GB" sz="500" b="0" i="0" u="none" strike="noStrike" kern="1200" cap="none" spc="0" normalizeH="0" baseline="0" noProof="0" dirty="0">
                <a:ln>
                  <a:noFill/>
                </a:ln>
                <a:effectLst/>
                <a:uLnTx/>
                <a:uFillTx/>
                <a:ea typeface="+mn-ea"/>
                <a:cs typeface="+mn-cs"/>
              </a:rPr>
              <a:t> E, et al. Drugs 2021;81:1859–1879; 4. Smolen JS, et al. </a:t>
            </a:r>
            <a:r>
              <a:rPr kumimoji="0" lang="en-GB" sz="500" b="0" i="1" u="none" strike="noStrike" kern="1200" cap="none" spc="0" normalizeH="0" baseline="0" noProof="0" dirty="0">
                <a:ln>
                  <a:noFill/>
                </a:ln>
                <a:effectLst/>
                <a:uLnTx/>
                <a:uFillTx/>
                <a:ea typeface="+mn-ea"/>
                <a:cs typeface="+mn-cs"/>
              </a:rPr>
              <a:t>Ann Rheum Dis </a:t>
            </a:r>
            <a:r>
              <a:rPr kumimoji="0" lang="en-GB" sz="500" b="0" i="0" u="none" strike="noStrike" kern="1200" cap="none" spc="0" normalizeH="0" baseline="0" noProof="0" dirty="0">
                <a:ln>
                  <a:noFill/>
                </a:ln>
                <a:effectLst/>
                <a:uLnTx/>
                <a:uFillTx/>
                <a:ea typeface="+mn-ea"/>
                <a:cs typeface="+mn-cs"/>
              </a:rPr>
              <a:t>2020;79:685–699; 5. </a:t>
            </a:r>
            <a:r>
              <a:rPr lang="en-US" sz="500" dirty="0"/>
              <a:t>US FDA. Biosimilar development review and approval. 2022. Available at: </a:t>
            </a:r>
            <a:r>
              <a:rPr lang="en-US" sz="500" dirty="0">
                <a:hlinkClick r:id="rId3"/>
              </a:rPr>
              <a:t>https://www.fda.gov/drugs/biosimilars/review-and-approval. Accessed June 2024</a:t>
            </a:r>
            <a:r>
              <a:rPr lang="en-US" sz="500" dirty="0"/>
              <a:t>; 6. </a:t>
            </a:r>
            <a:r>
              <a:rPr lang="en-US" sz="500" dirty="0" err="1"/>
              <a:t>Sacca</a:t>
            </a:r>
            <a:r>
              <a:rPr lang="en-US" sz="500" dirty="0"/>
              <a:t> F, et al. </a:t>
            </a:r>
            <a:r>
              <a:rPr lang="en-US" sz="500" i="1" dirty="0"/>
              <a:t>Mult </a:t>
            </a:r>
            <a:r>
              <a:rPr lang="en-US" sz="500" i="1" dirty="0" err="1"/>
              <a:t>Scler</a:t>
            </a:r>
            <a:r>
              <a:rPr lang="en-US" sz="500" dirty="0"/>
              <a:t> 2019;25: 1263-1272.; 7. </a:t>
            </a:r>
            <a:r>
              <a:rPr lang="en-US" sz="500" dirty="0" err="1"/>
              <a:t>Montalban</a:t>
            </a:r>
            <a:r>
              <a:rPr lang="en-US" sz="500" dirty="0"/>
              <a:t> X, et al </a:t>
            </a:r>
            <a:r>
              <a:rPr lang="en-US" sz="500" i="1" dirty="0"/>
              <a:t>Mult </a:t>
            </a:r>
            <a:r>
              <a:rPr lang="en-US" sz="500" i="1" dirty="0" err="1"/>
              <a:t>Scler</a:t>
            </a:r>
            <a:r>
              <a:rPr lang="en-US" sz="500" i="1" dirty="0"/>
              <a:t> </a:t>
            </a:r>
            <a:r>
              <a:rPr lang="en-US" sz="500" dirty="0"/>
              <a:t>2018;24:96-120.</a:t>
            </a:r>
          </a:p>
          <a:p>
            <a:endParaRPr lang="en-US" sz="500" dirty="0"/>
          </a:p>
        </p:txBody>
      </p:sp>
      <p:sp>
        <p:nvSpPr>
          <p:cNvPr id="15" name="Slide Number Placeholder 14">
            <a:extLst>
              <a:ext uri="{FF2B5EF4-FFF2-40B4-BE49-F238E27FC236}">
                <a16:creationId xmlns:a16="http://schemas.microsoft.com/office/drawing/2014/main" id="{4F28F40A-6390-EA0A-F8C6-E659F4E9CC77}"/>
              </a:ext>
            </a:extLst>
          </p:cNvPr>
          <p:cNvSpPr>
            <a:spLocks noGrp="1"/>
          </p:cNvSpPr>
          <p:nvPr>
            <p:ph type="sldNum" sz="quarter" idx="12"/>
          </p:nvPr>
        </p:nvSpPr>
        <p:spPr/>
        <p:txBody>
          <a:bodyPr/>
          <a:lstStyle/>
          <a:p>
            <a:fld id="{A31C51CB-94C2-40E2-B070-08CEE3D6A386}" type="slidenum">
              <a:rPr lang="en-GB" smtClean="0"/>
              <a:t>21</a:t>
            </a:fld>
            <a:endParaRPr lang="en-GB"/>
          </a:p>
        </p:txBody>
      </p:sp>
      <p:sp>
        <p:nvSpPr>
          <p:cNvPr id="26" name="TextBox 25">
            <a:extLst>
              <a:ext uri="{FF2B5EF4-FFF2-40B4-BE49-F238E27FC236}">
                <a16:creationId xmlns:a16="http://schemas.microsoft.com/office/drawing/2014/main" id="{899F3330-EDA0-F02E-286C-7565AD753BFD}"/>
              </a:ext>
            </a:extLst>
          </p:cNvPr>
          <p:cNvSpPr txBox="1"/>
          <p:nvPr/>
        </p:nvSpPr>
        <p:spPr>
          <a:xfrm>
            <a:off x="265254" y="1578826"/>
            <a:ext cx="4572000" cy="276999"/>
          </a:xfrm>
          <a:prstGeom prst="rect">
            <a:avLst/>
          </a:prstGeom>
          <a:noFill/>
        </p:spPr>
        <p:txBody>
          <a:bodyPr wrap="square">
            <a:spAutoFit/>
          </a:bodyPr>
          <a:lstStyle/>
          <a:p>
            <a:r>
              <a:rPr lang="en-US" sz="1200"/>
              <a:t>Switching can occur from:</a:t>
            </a:r>
            <a:r>
              <a:rPr lang="en-US" sz="1200" baseline="30000"/>
              <a:t>2–4</a:t>
            </a:r>
          </a:p>
        </p:txBody>
      </p:sp>
      <p:sp>
        <p:nvSpPr>
          <p:cNvPr id="28" name="TextBox 27">
            <a:extLst>
              <a:ext uri="{FF2B5EF4-FFF2-40B4-BE49-F238E27FC236}">
                <a16:creationId xmlns:a16="http://schemas.microsoft.com/office/drawing/2014/main" id="{FC60507C-3593-8363-6B38-D840F33E14B0}"/>
              </a:ext>
            </a:extLst>
          </p:cNvPr>
          <p:cNvSpPr txBox="1"/>
          <p:nvPr/>
        </p:nvSpPr>
        <p:spPr>
          <a:xfrm>
            <a:off x="593610" y="1922647"/>
            <a:ext cx="4243631" cy="430887"/>
          </a:xfrm>
          <a:prstGeom prst="rect">
            <a:avLst/>
          </a:prstGeom>
          <a:solidFill>
            <a:schemeClr val="bg2">
              <a:lumMod val="90000"/>
            </a:schemeClr>
          </a:solidFill>
        </p:spPr>
        <p:txBody>
          <a:bodyPr wrap="square">
            <a:noAutofit/>
          </a:bodyPr>
          <a:lstStyle/>
          <a:p>
            <a:r>
              <a:rPr lang="en-US" sz="1100"/>
              <a:t>One medicine to another with a different active substance and/or mode of action</a:t>
            </a:r>
          </a:p>
        </p:txBody>
      </p:sp>
      <p:sp>
        <p:nvSpPr>
          <p:cNvPr id="37" name="TextBox 36">
            <a:extLst>
              <a:ext uri="{FF2B5EF4-FFF2-40B4-BE49-F238E27FC236}">
                <a16:creationId xmlns:a16="http://schemas.microsoft.com/office/drawing/2014/main" id="{7D69AC39-4731-483F-9147-11D8508A049D}"/>
              </a:ext>
            </a:extLst>
          </p:cNvPr>
          <p:cNvSpPr txBox="1"/>
          <p:nvPr/>
        </p:nvSpPr>
        <p:spPr>
          <a:xfrm>
            <a:off x="593610" y="3330968"/>
            <a:ext cx="4243631" cy="430887"/>
          </a:xfrm>
          <a:prstGeom prst="rect">
            <a:avLst/>
          </a:prstGeom>
          <a:solidFill>
            <a:schemeClr val="bg2">
              <a:lumMod val="90000"/>
            </a:schemeClr>
          </a:solidFill>
        </p:spPr>
        <p:txBody>
          <a:bodyPr wrap="square">
            <a:noAutofit/>
          </a:bodyPr>
          <a:lstStyle>
            <a:defPPr>
              <a:defRPr lang="en-US"/>
            </a:defPPr>
            <a:lvl1pPr>
              <a:defRPr sz="1200"/>
            </a:lvl1pPr>
          </a:lstStyle>
          <a:p>
            <a:r>
              <a:rPr lang="en-US" sz="1100"/>
              <a:t>One biosimilar to another biosimilar of the same reference biologic medicine</a:t>
            </a:r>
          </a:p>
        </p:txBody>
      </p:sp>
      <p:sp>
        <p:nvSpPr>
          <p:cNvPr id="41" name="TextBox 40">
            <a:extLst>
              <a:ext uri="{FF2B5EF4-FFF2-40B4-BE49-F238E27FC236}">
                <a16:creationId xmlns:a16="http://schemas.microsoft.com/office/drawing/2014/main" id="{E5DB1956-DBCE-DB9E-6D63-D3A4CF9107AE}"/>
              </a:ext>
            </a:extLst>
          </p:cNvPr>
          <p:cNvSpPr txBox="1"/>
          <p:nvPr/>
        </p:nvSpPr>
        <p:spPr>
          <a:xfrm>
            <a:off x="593612" y="3802029"/>
            <a:ext cx="4243631" cy="429768"/>
          </a:xfrm>
          <a:prstGeom prst="rect">
            <a:avLst/>
          </a:prstGeom>
          <a:solidFill>
            <a:schemeClr val="bg2">
              <a:lumMod val="90000"/>
            </a:schemeClr>
          </a:solidFill>
        </p:spPr>
        <p:txBody>
          <a:bodyPr wrap="square" anchor="ctr" anchorCtr="0">
            <a:noAutofit/>
          </a:bodyPr>
          <a:lstStyle>
            <a:defPPr>
              <a:defRPr lang="en-US"/>
            </a:defPPr>
            <a:lvl1pPr>
              <a:defRPr sz="1200"/>
            </a:lvl1pPr>
          </a:lstStyle>
          <a:p>
            <a:r>
              <a:rPr lang="en-US" sz="1100"/>
              <a:t>One generic to another generic version of the same medicine</a:t>
            </a:r>
          </a:p>
        </p:txBody>
      </p:sp>
      <p:sp>
        <p:nvSpPr>
          <p:cNvPr id="7" name="Rectangle 6">
            <a:extLst>
              <a:ext uri="{FF2B5EF4-FFF2-40B4-BE49-F238E27FC236}">
                <a16:creationId xmlns:a16="http://schemas.microsoft.com/office/drawing/2014/main" id="{32A9755D-A347-3190-3289-B0D2177587DB}"/>
              </a:ext>
            </a:extLst>
          </p:cNvPr>
          <p:cNvSpPr/>
          <p:nvPr/>
        </p:nvSpPr>
        <p:spPr>
          <a:xfrm>
            <a:off x="341695" y="1922647"/>
            <a:ext cx="251922" cy="244913"/>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sz="1400" b="1"/>
              <a:t>1</a:t>
            </a:r>
          </a:p>
        </p:txBody>
      </p:sp>
      <p:sp>
        <p:nvSpPr>
          <p:cNvPr id="42" name="Rectangle 41">
            <a:extLst>
              <a:ext uri="{FF2B5EF4-FFF2-40B4-BE49-F238E27FC236}">
                <a16:creationId xmlns:a16="http://schemas.microsoft.com/office/drawing/2014/main" id="{07EEB099-F72D-5AE9-9021-23F9FB802861}"/>
              </a:ext>
            </a:extLst>
          </p:cNvPr>
          <p:cNvSpPr/>
          <p:nvPr/>
        </p:nvSpPr>
        <p:spPr>
          <a:xfrm>
            <a:off x="341689" y="2393708"/>
            <a:ext cx="251927" cy="244913"/>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2</a:t>
            </a:r>
            <a:endParaRPr lang="en-AR" sz="1400" b="1"/>
          </a:p>
        </p:txBody>
      </p:sp>
      <p:sp>
        <p:nvSpPr>
          <p:cNvPr id="43" name="Rectangle 42">
            <a:extLst>
              <a:ext uri="{FF2B5EF4-FFF2-40B4-BE49-F238E27FC236}">
                <a16:creationId xmlns:a16="http://schemas.microsoft.com/office/drawing/2014/main" id="{AFCC4ADA-20AF-22F5-B941-9A2B54873BE6}"/>
              </a:ext>
            </a:extLst>
          </p:cNvPr>
          <p:cNvSpPr/>
          <p:nvPr/>
        </p:nvSpPr>
        <p:spPr>
          <a:xfrm>
            <a:off x="345949" y="2864769"/>
            <a:ext cx="251922" cy="244914"/>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3</a:t>
            </a:r>
            <a:endParaRPr lang="en-AR" sz="1400" b="1"/>
          </a:p>
        </p:txBody>
      </p:sp>
      <p:sp>
        <p:nvSpPr>
          <p:cNvPr id="44" name="Rectangle 43">
            <a:extLst>
              <a:ext uri="{FF2B5EF4-FFF2-40B4-BE49-F238E27FC236}">
                <a16:creationId xmlns:a16="http://schemas.microsoft.com/office/drawing/2014/main" id="{1414C7A9-4DCE-F05D-F39F-B84AA850E057}"/>
              </a:ext>
            </a:extLst>
          </p:cNvPr>
          <p:cNvSpPr/>
          <p:nvPr/>
        </p:nvSpPr>
        <p:spPr>
          <a:xfrm>
            <a:off x="345948" y="3804655"/>
            <a:ext cx="251923" cy="244489"/>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5</a:t>
            </a:r>
            <a:endParaRPr lang="en-AR" sz="1400" b="1"/>
          </a:p>
        </p:txBody>
      </p:sp>
      <p:sp>
        <p:nvSpPr>
          <p:cNvPr id="49" name="Rectangle 48">
            <a:extLst>
              <a:ext uri="{FF2B5EF4-FFF2-40B4-BE49-F238E27FC236}">
                <a16:creationId xmlns:a16="http://schemas.microsoft.com/office/drawing/2014/main" id="{A771BFF9-4A20-8C6F-04D2-065141092598}"/>
              </a:ext>
            </a:extLst>
          </p:cNvPr>
          <p:cNvSpPr/>
          <p:nvPr/>
        </p:nvSpPr>
        <p:spPr>
          <a:xfrm>
            <a:off x="345948" y="3334711"/>
            <a:ext cx="251923" cy="244914"/>
          </a:xfrm>
          <a:prstGeom prst="rect">
            <a:avLst/>
          </a:prstGeom>
          <a:solidFill>
            <a:schemeClr val="accent1">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t>4</a:t>
            </a:r>
            <a:endParaRPr lang="en-AR" sz="1400" b="1"/>
          </a:p>
        </p:txBody>
      </p:sp>
      <p:sp>
        <p:nvSpPr>
          <p:cNvPr id="51" name="TextBox 1">
            <a:extLst>
              <a:ext uri="{FF2B5EF4-FFF2-40B4-BE49-F238E27FC236}">
                <a16:creationId xmlns:a16="http://schemas.microsoft.com/office/drawing/2014/main" id="{B92AF98A-7A16-9BD1-A240-90363ACF8EC3}"/>
              </a:ext>
            </a:extLst>
          </p:cNvPr>
          <p:cNvSpPr txBox="1"/>
          <p:nvPr/>
        </p:nvSpPr>
        <p:spPr>
          <a:xfrm>
            <a:off x="5226201" y="1580487"/>
            <a:ext cx="3510421"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Rationale behind treatment switch:</a:t>
            </a:r>
            <a:r>
              <a:rPr lang="en-US" sz="1200" baseline="30000" dirty="0"/>
              <a:t>1-7</a:t>
            </a:r>
            <a:endParaRPr lang="en-GB" sz="1200" baseline="30000" dirty="0"/>
          </a:p>
        </p:txBody>
      </p:sp>
      <p:sp>
        <p:nvSpPr>
          <p:cNvPr id="53" name="TextBox 3">
            <a:extLst>
              <a:ext uri="{FF2B5EF4-FFF2-40B4-BE49-F238E27FC236}">
                <a16:creationId xmlns:a16="http://schemas.microsoft.com/office/drawing/2014/main" id="{B3DE3327-C9DC-8A7C-B594-6B51F134748B}"/>
              </a:ext>
            </a:extLst>
          </p:cNvPr>
          <p:cNvSpPr txBox="1"/>
          <p:nvPr/>
        </p:nvSpPr>
        <p:spPr>
          <a:xfrm>
            <a:off x="5274524" y="1993095"/>
            <a:ext cx="3413773" cy="246221"/>
          </a:xfrm>
          <a:prstGeom prst="rect">
            <a:avLst/>
          </a:prstGeom>
          <a:solidFill>
            <a:schemeClr val="tx1">
              <a:lumMod val="10000"/>
              <a:lumOff val="90000"/>
            </a:schemeClr>
          </a:solidFill>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en-US" sz="1000" dirty="0"/>
              <a:t>Switching </a:t>
            </a:r>
            <a:r>
              <a:rPr lang="en-US" sz="1000" b="1" dirty="0"/>
              <a:t>to improve patient outcomes</a:t>
            </a:r>
            <a:endParaRPr lang="en-US" sz="1000" b="1" baseline="30000" dirty="0"/>
          </a:p>
        </p:txBody>
      </p:sp>
      <p:sp>
        <p:nvSpPr>
          <p:cNvPr id="88" name="TextBox 87">
            <a:extLst>
              <a:ext uri="{FF2B5EF4-FFF2-40B4-BE49-F238E27FC236}">
                <a16:creationId xmlns:a16="http://schemas.microsoft.com/office/drawing/2014/main" id="{453482DB-87CA-DF2F-6463-DB1DD3B6EB3F}"/>
              </a:ext>
            </a:extLst>
          </p:cNvPr>
          <p:cNvSpPr txBox="1"/>
          <p:nvPr/>
        </p:nvSpPr>
        <p:spPr>
          <a:xfrm>
            <a:off x="593610" y="2866278"/>
            <a:ext cx="4243631" cy="429768"/>
          </a:xfrm>
          <a:prstGeom prst="rect">
            <a:avLst/>
          </a:prstGeom>
          <a:solidFill>
            <a:schemeClr val="bg2">
              <a:lumMod val="90000"/>
            </a:schemeClr>
          </a:solidFill>
        </p:spPr>
        <p:txBody>
          <a:bodyPr wrap="square" anchor="ctr" anchorCtr="0">
            <a:noAutofit/>
          </a:bodyPr>
          <a:lstStyle>
            <a:defPPr>
              <a:defRPr lang="en-US"/>
            </a:defPPr>
            <a:lvl1pPr>
              <a:defRPr sz="1200"/>
            </a:lvl1pPr>
          </a:lstStyle>
          <a:p>
            <a:r>
              <a:rPr lang="en-US" sz="1100"/>
              <a:t>A small molecule medicine to its generic medicine</a:t>
            </a:r>
          </a:p>
        </p:txBody>
      </p:sp>
      <p:sp>
        <p:nvSpPr>
          <p:cNvPr id="89" name="TextBox 88">
            <a:extLst>
              <a:ext uri="{FF2B5EF4-FFF2-40B4-BE49-F238E27FC236}">
                <a16:creationId xmlns:a16="http://schemas.microsoft.com/office/drawing/2014/main" id="{8A8DC240-72FA-805F-87FE-10694E38227A}"/>
              </a:ext>
            </a:extLst>
          </p:cNvPr>
          <p:cNvSpPr txBox="1"/>
          <p:nvPr/>
        </p:nvSpPr>
        <p:spPr>
          <a:xfrm>
            <a:off x="593610" y="2396334"/>
            <a:ext cx="4243631" cy="429768"/>
          </a:xfrm>
          <a:prstGeom prst="rect">
            <a:avLst/>
          </a:prstGeom>
          <a:solidFill>
            <a:schemeClr val="bg2">
              <a:lumMod val="90000"/>
            </a:schemeClr>
          </a:solidFill>
        </p:spPr>
        <p:txBody>
          <a:bodyPr wrap="square" anchor="ctr" anchorCtr="0">
            <a:noAutofit/>
          </a:bodyPr>
          <a:lstStyle>
            <a:defPPr>
              <a:defRPr lang="en-US"/>
            </a:defPPr>
            <a:lvl1pPr>
              <a:defRPr sz="1200"/>
            </a:lvl1pPr>
          </a:lstStyle>
          <a:p>
            <a:r>
              <a:rPr lang="en-US" sz="1100"/>
              <a:t>A biologic reference medicine to its biosimilar medicine </a:t>
            </a:r>
          </a:p>
        </p:txBody>
      </p:sp>
      <p:sp>
        <p:nvSpPr>
          <p:cNvPr id="91" name="Right Brace 90">
            <a:extLst>
              <a:ext uri="{FF2B5EF4-FFF2-40B4-BE49-F238E27FC236}">
                <a16:creationId xmlns:a16="http://schemas.microsoft.com/office/drawing/2014/main" id="{6038FE24-FF19-3C69-0911-6DFC7DA9DAE1}"/>
              </a:ext>
            </a:extLst>
          </p:cNvPr>
          <p:cNvSpPr/>
          <p:nvPr/>
        </p:nvSpPr>
        <p:spPr>
          <a:xfrm>
            <a:off x="4991752" y="2403376"/>
            <a:ext cx="251921" cy="1802430"/>
          </a:xfrm>
          <a:prstGeom prst="rightBrace">
            <a:avLst>
              <a:gd name="adj1" fmla="val 8333"/>
              <a:gd name="adj2" fmla="val 5053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5" name="Right Brace 94">
            <a:extLst>
              <a:ext uri="{FF2B5EF4-FFF2-40B4-BE49-F238E27FC236}">
                <a16:creationId xmlns:a16="http://schemas.microsoft.com/office/drawing/2014/main" id="{C5BCD1DA-2416-41D6-97F1-1626A37AD1E7}"/>
              </a:ext>
            </a:extLst>
          </p:cNvPr>
          <p:cNvSpPr/>
          <p:nvPr/>
        </p:nvSpPr>
        <p:spPr>
          <a:xfrm>
            <a:off x="4991753" y="1945288"/>
            <a:ext cx="234447" cy="37097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Rectangle 2">
            <a:extLst>
              <a:ext uri="{FF2B5EF4-FFF2-40B4-BE49-F238E27FC236}">
                <a16:creationId xmlns:a16="http://schemas.microsoft.com/office/drawing/2014/main" id="{DD5C99C0-DA91-368D-FAC5-6B1637CE5C24}"/>
              </a:ext>
            </a:extLst>
          </p:cNvPr>
          <p:cNvSpPr/>
          <p:nvPr/>
        </p:nvSpPr>
        <p:spPr>
          <a:xfrm>
            <a:off x="5322849" y="2413318"/>
            <a:ext cx="3413773" cy="1818479"/>
          </a:xfrm>
          <a:prstGeom prst="rect">
            <a:avLst/>
          </a:prstGeom>
          <a:solidFill>
            <a:schemeClr val="tx1">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accent1"/>
              </a:solidFill>
            </a:endParaRPr>
          </a:p>
          <a:p>
            <a:pPr algn="ctr"/>
            <a:r>
              <a:rPr lang="en-US" sz="1050" dirty="0">
                <a:solidFill>
                  <a:schemeClr val="accent1"/>
                </a:solidFill>
              </a:rPr>
              <a:t>Switching can occur </a:t>
            </a:r>
            <a:r>
              <a:rPr lang="en-US" sz="1050" b="1" dirty="0">
                <a:solidFill>
                  <a:schemeClr val="accent1"/>
                </a:solidFill>
              </a:rPr>
              <a:t>to decrease treatment costs and improve patient access</a:t>
            </a:r>
            <a:r>
              <a:rPr lang="en-US" sz="1050" dirty="0">
                <a:solidFill>
                  <a:schemeClr val="accent1"/>
                </a:solidFill>
              </a:rPr>
              <a:t> while maintaining treatment efficacy</a:t>
            </a:r>
          </a:p>
          <a:p>
            <a:pPr algn="ctr"/>
            <a:endParaRPr lang="en-GB" dirty="0"/>
          </a:p>
        </p:txBody>
      </p:sp>
    </p:spTree>
    <p:extLst>
      <p:ext uri="{BB962C8B-B14F-4D97-AF65-F5344CB8AC3E}">
        <p14:creationId xmlns:p14="http://schemas.microsoft.com/office/powerpoint/2010/main" val="38850991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7B2AF1A0-2BBA-CDF6-C5A1-46F13C74C3A8}"/>
              </a:ext>
            </a:extLst>
          </p:cNvPr>
          <p:cNvSpPr txBox="1"/>
          <p:nvPr/>
        </p:nvSpPr>
        <p:spPr>
          <a:xfrm>
            <a:off x="6110343" y="1147177"/>
            <a:ext cx="2613086" cy="2191432"/>
          </a:xfrm>
          <a:prstGeom prst="roundRect">
            <a:avLst/>
          </a:prstGeom>
          <a:solidFill>
            <a:schemeClr val="accent1">
              <a:lumMod val="10000"/>
              <a:lumOff val="90000"/>
            </a:schemeClr>
          </a:solidFill>
        </p:spPr>
        <p:txBody>
          <a:bodyPr wrap="square" lIns="0" anchor="ctr">
            <a:noAutofit/>
          </a:bodyPr>
          <a:lstStyle/>
          <a:p>
            <a:pPr>
              <a:spcAft>
                <a:spcPts val="600"/>
              </a:spcAft>
            </a:pPr>
            <a:endParaRPr lang="en-GB" sz="1300" dirty="0">
              <a:solidFill>
                <a:schemeClr val="bg1"/>
              </a:solidFill>
            </a:endParaRPr>
          </a:p>
        </p:txBody>
      </p:sp>
      <p:sp>
        <p:nvSpPr>
          <p:cNvPr id="19" name="TextBox 18">
            <a:extLst>
              <a:ext uri="{FF2B5EF4-FFF2-40B4-BE49-F238E27FC236}">
                <a16:creationId xmlns:a16="http://schemas.microsoft.com/office/drawing/2014/main" id="{ACB17F2F-FCE0-AD5E-CF19-6EF3ABE06320}"/>
              </a:ext>
            </a:extLst>
          </p:cNvPr>
          <p:cNvSpPr txBox="1"/>
          <p:nvPr/>
        </p:nvSpPr>
        <p:spPr>
          <a:xfrm>
            <a:off x="3265458" y="1147508"/>
            <a:ext cx="2613086" cy="2191432"/>
          </a:xfrm>
          <a:prstGeom prst="roundRect">
            <a:avLst/>
          </a:prstGeom>
          <a:solidFill>
            <a:schemeClr val="accent1">
              <a:lumMod val="10000"/>
              <a:lumOff val="90000"/>
            </a:schemeClr>
          </a:solidFill>
        </p:spPr>
        <p:txBody>
          <a:bodyPr wrap="square" lIns="0" anchor="ctr">
            <a:noAutofit/>
          </a:bodyPr>
          <a:lstStyle/>
          <a:p>
            <a:pPr>
              <a:spcAft>
                <a:spcPts val="600"/>
              </a:spcAft>
            </a:pPr>
            <a:endParaRPr lang="en-GB" sz="1300" dirty="0">
              <a:solidFill>
                <a:schemeClr val="bg1"/>
              </a:solidFill>
            </a:endParaRPr>
          </a:p>
        </p:txBody>
      </p:sp>
      <p:sp>
        <p:nvSpPr>
          <p:cNvPr id="6" name="TextBox 5">
            <a:extLst>
              <a:ext uri="{FF2B5EF4-FFF2-40B4-BE49-F238E27FC236}">
                <a16:creationId xmlns:a16="http://schemas.microsoft.com/office/drawing/2014/main" id="{984BDD0E-B342-EEC2-C4E0-0E6732E48E41}"/>
              </a:ext>
            </a:extLst>
          </p:cNvPr>
          <p:cNvSpPr txBox="1"/>
          <p:nvPr/>
        </p:nvSpPr>
        <p:spPr>
          <a:xfrm>
            <a:off x="0" y="3505807"/>
            <a:ext cx="9144000" cy="699959"/>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defPPr>
              <a:defRPr lang="en-US"/>
            </a:defPPr>
            <a:lvl1pPr algn="ctr" defTabSz="1066800">
              <a:lnSpc>
                <a:spcPct val="90000"/>
              </a:lnSpc>
              <a:spcBef>
                <a:spcPts val="900"/>
              </a:spcBef>
              <a:spcAft>
                <a:spcPct val="35000"/>
              </a:spcAft>
              <a:defRPr sz="11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aseline="30000" dirty="0"/>
          </a:p>
        </p:txBody>
      </p:sp>
      <p:sp>
        <p:nvSpPr>
          <p:cNvPr id="2" name="Title 1">
            <a:extLst>
              <a:ext uri="{FF2B5EF4-FFF2-40B4-BE49-F238E27FC236}">
                <a16:creationId xmlns:a16="http://schemas.microsoft.com/office/drawing/2014/main" id="{FB56B318-7E1B-2691-E734-DE742E16B50D}"/>
              </a:ext>
            </a:extLst>
          </p:cNvPr>
          <p:cNvSpPr>
            <a:spLocks noGrp="1"/>
          </p:cNvSpPr>
          <p:nvPr>
            <p:ph type="title"/>
          </p:nvPr>
        </p:nvSpPr>
        <p:spPr>
          <a:xfrm>
            <a:off x="243000" y="181146"/>
            <a:ext cx="7481078" cy="577081"/>
          </a:xfrm>
        </p:spPr>
        <p:txBody>
          <a:bodyPr>
            <a:noAutofit/>
          </a:bodyPr>
          <a:lstStyle/>
          <a:p>
            <a:r>
              <a:rPr lang="en-US" dirty="0"/>
              <a:t>Switching between reference and biosimilar medicines is safe and effective</a:t>
            </a:r>
            <a:endParaRPr lang="en-GB" strike="sngStrike" dirty="0"/>
          </a:p>
        </p:txBody>
      </p:sp>
      <p:sp>
        <p:nvSpPr>
          <p:cNvPr id="24" name="TextBox 23">
            <a:extLst>
              <a:ext uri="{FF2B5EF4-FFF2-40B4-BE49-F238E27FC236}">
                <a16:creationId xmlns:a16="http://schemas.microsoft.com/office/drawing/2014/main" id="{78EB8793-AF2F-ABE3-10C6-841ED06B1515}"/>
              </a:ext>
            </a:extLst>
          </p:cNvPr>
          <p:cNvSpPr txBox="1"/>
          <p:nvPr/>
        </p:nvSpPr>
        <p:spPr>
          <a:xfrm>
            <a:off x="3235888" y="2092355"/>
            <a:ext cx="2654924" cy="1042593"/>
          </a:xfrm>
          <a:prstGeom prst="rect">
            <a:avLst/>
          </a:prstGeom>
          <a:noFill/>
        </p:spPr>
        <p:txBody>
          <a:bodyPr wrap="square" anchor="ctr">
            <a:spAutoFit/>
          </a:bodyPr>
          <a:lstStyle/>
          <a:p>
            <a:pPr algn="ctr" defTabSz="685800">
              <a:lnSpc>
                <a:spcPct val="95000"/>
              </a:lnSpc>
              <a:spcBef>
                <a:spcPts val="600"/>
              </a:spcBef>
            </a:pPr>
            <a:r>
              <a:rPr lang="en-US" sz="1250" dirty="0">
                <a:solidFill>
                  <a:schemeClr val="accent2"/>
                </a:solidFill>
              </a:rPr>
              <a:t>…biosimilar medicines approved by the EMA or US FDA can be considered safe and effective treatment options, similar to any other approved medicine</a:t>
            </a:r>
            <a:r>
              <a:rPr lang="en-US" sz="1250" baseline="30000" dirty="0">
                <a:solidFill>
                  <a:schemeClr val="accent2"/>
                </a:solidFill>
              </a:rPr>
              <a:t>1,2,3</a:t>
            </a:r>
            <a:endParaRPr lang="en-GB" sz="1250" baseline="30000" dirty="0">
              <a:solidFill>
                <a:schemeClr val="accent2"/>
              </a:solidFill>
            </a:endParaRPr>
          </a:p>
        </p:txBody>
      </p:sp>
      <p:sp>
        <p:nvSpPr>
          <p:cNvPr id="32" name="TextBox 31">
            <a:extLst>
              <a:ext uri="{FF2B5EF4-FFF2-40B4-BE49-F238E27FC236}">
                <a16:creationId xmlns:a16="http://schemas.microsoft.com/office/drawing/2014/main" id="{DB32D465-0499-1320-B404-6BB6D7D0388B}"/>
              </a:ext>
            </a:extLst>
          </p:cNvPr>
          <p:cNvSpPr txBox="1"/>
          <p:nvPr/>
        </p:nvSpPr>
        <p:spPr>
          <a:xfrm>
            <a:off x="6183594" y="2086769"/>
            <a:ext cx="2539834" cy="1188787"/>
          </a:xfrm>
          <a:prstGeom prst="rect">
            <a:avLst/>
          </a:prstGeom>
          <a:noFill/>
        </p:spPr>
        <p:txBody>
          <a:bodyPr wrap="square" anchor="ctr">
            <a:spAutoFit/>
          </a:bodyPr>
          <a:lstStyle/>
          <a:p>
            <a:pPr indent="0" algn="ctr" defTabSz="685800">
              <a:lnSpc>
                <a:spcPct val="95000"/>
              </a:lnSpc>
              <a:spcBef>
                <a:spcPts val="600"/>
              </a:spcBef>
              <a:buNone/>
            </a:pPr>
            <a:r>
              <a:rPr lang="en-US" sz="1250" dirty="0">
                <a:solidFill>
                  <a:schemeClr val="accent2"/>
                </a:solidFill>
              </a:rPr>
              <a:t>The decision to replace a patient’s medicine with another with the same therapeutic intent is at the discretion of the treating physician or nurse practitioner (geography dependent)</a:t>
            </a:r>
            <a:r>
              <a:rPr lang="en-US" sz="1250" baseline="30000" dirty="0">
                <a:solidFill>
                  <a:schemeClr val="accent2"/>
                </a:solidFill>
              </a:rPr>
              <a:t>1,2</a:t>
            </a:r>
          </a:p>
        </p:txBody>
      </p:sp>
      <p:sp>
        <p:nvSpPr>
          <p:cNvPr id="5" name="TextBox 4">
            <a:extLst>
              <a:ext uri="{FF2B5EF4-FFF2-40B4-BE49-F238E27FC236}">
                <a16:creationId xmlns:a16="http://schemas.microsoft.com/office/drawing/2014/main" id="{245176C4-F529-51A8-062A-65AE6D8D409A}"/>
              </a:ext>
            </a:extLst>
          </p:cNvPr>
          <p:cNvSpPr txBox="1"/>
          <p:nvPr/>
        </p:nvSpPr>
        <p:spPr>
          <a:xfrm>
            <a:off x="-8650" y="3536352"/>
            <a:ext cx="9143999" cy="669414"/>
          </a:xfrm>
          <a:prstGeom prst="rect">
            <a:avLst/>
          </a:prstGeom>
          <a:noFill/>
        </p:spPr>
        <p:txBody>
          <a:bodyPr wrap="square">
            <a:spAutoFit/>
          </a:bodyPr>
          <a:lstStyle/>
          <a:p>
            <a:pPr algn="ctr"/>
            <a:r>
              <a:rPr lang="en-US" sz="1250" dirty="0">
                <a:solidFill>
                  <a:schemeClr val="accent2"/>
                </a:solidFill>
              </a:rPr>
              <a:t>An extensive systematic review and meta-analysis of 31 unique studies for 21 biosimilars (N=5,252) by the FDA found </a:t>
            </a:r>
            <a:br>
              <a:rPr lang="en-US" sz="1250" dirty="0">
                <a:solidFill>
                  <a:schemeClr val="accent2"/>
                </a:solidFill>
              </a:rPr>
            </a:br>
            <a:r>
              <a:rPr lang="en-US" sz="1250" b="1" dirty="0">
                <a:solidFill>
                  <a:schemeClr val="accent2"/>
                </a:solidFill>
              </a:rPr>
              <a:t>similar safety and immunogenicity rates in patients who were switched to or from a biosimilar medicine, compared to those who remained on a reference medicine or biosimilar </a:t>
            </a:r>
            <a:r>
              <a:rPr lang="en-US" sz="1250" dirty="0">
                <a:solidFill>
                  <a:schemeClr val="accent2"/>
                </a:solidFill>
              </a:rPr>
              <a:t>across various biosimilars and therapeutic areas</a:t>
            </a:r>
            <a:r>
              <a:rPr lang="en-US" sz="1250" baseline="30000" dirty="0">
                <a:solidFill>
                  <a:schemeClr val="accent2"/>
                </a:solidFill>
              </a:rPr>
              <a:t>4*</a:t>
            </a:r>
          </a:p>
        </p:txBody>
      </p:sp>
      <p:sp>
        <p:nvSpPr>
          <p:cNvPr id="14" name="Footer Placeholder 13">
            <a:extLst>
              <a:ext uri="{FF2B5EF4-FFF2-40B4-BE49-F238E27FC236}">
                <a16:creationId xmlns:a16="http://schemas.microsoft.com/office/drawing/2014/main" id="{72077B9A-C01B-1993-49E6-60CD39353B17}"/>
              </a:ext>
            </a:extLst>
          </p:cNvPr>
          <p:cNvSpPr>
            <a:spLocks noGrp="1"/>
          </p:cNvSpPr>
          <p:nvPr>
            <p:ph type="ftr" sz="quarter" idx="11"/>
          </p:nvPr>
        </p:nvSpPr>
        <p:spPr>
          <a:xfrm>
            <a:off x="420573" y="4471251"/>
            <a:ext cx="7562447" cy="491103"/>
          </a:xfrm>
        </p:spPr>
        <p:txBody>
          <a:bodyPr/>
          <a:lstStyle/>
          <a:p>
            <a:r>
              <a:rPr kumimoji="0" lang="en-US" sz="500" b="0" i="0" u="none" strike="noStrike" kern="1200" cap="none" spc="0" normalizeH="0" baseline="0" noProof="0" dirty="0">
                <a:ln>
                  <a:noFill/>
                </a:ln>
                <a:effectLst/>
                <a:uLnTx/>
                <a:uFillTx/>
                <a:ea typeface="+mn-ea"/>
                <a:cs typeface="+mn-cs"/>
              </a:rPr>
              <a:t>ADA, anti-drug antibodies; EMA, European Medicines Agency; </a:t>
            </a:r>
            <a:r>
              <a:rPr lang="en-US" sz="500" dirty="0"/>
              <a:t>FDA, Food and Drug Administration; </a:t>
            </a:r>
            <a:r>
              <a:rPr kumimoji="0" lang="en-US" sz="500" b="0" i="0" u="none" strike="noStrike" kern="1200" cap="none" spc="0" normalizeH="0" baseline="0" noProof="0" dirty="0">
                <a:ln>
                  <a:noFill/>
                </a:ln>
                <a:effectLst/>
                <a:uLnTx/>
                <a:uFillTx/>
                <a:ea typeface="+mn-ea"/>
                <a:cs typeface="+mn-cs"/>
              </a:rPr>
              <a:t>IBD, inflammatory bowel disease; </a:t>
            </a:r>
            <a:r>
              <a:rPr kumimoji="0" lang="en-US" sz="500" b="0" i="0" u="none" strike="noStrike" kern="1200" cap="none" spc="0" normalizeH="0" baseline="0" noProof="0" dirty="0" err="1">
                <a:ln>
                  <a:noFill/>
                </a:ln>
                <a:effectLst/>
                <a:uLnTx/>
                <a:uFillTx/>
                <a:ea typeface="+mn-ea"/>
                <a:cs typeface="+mn-cs"/>
              </a:rPr>
              <a:t>NAb</a:t>
            </a:r>
            <a:r>
              <a:rPr kumimoji="0" lang="en-US" sz="500" b="0" i="0" u="none" strike="noStrike" kern="1200" cap="none" spc="0" normalizeH="0" baseline="0" noProof="0" dirty="0">
                <a:ln>
                  <a:noFill/>
                </a:ln>
                <a:effectLst/>
                <a:uLnTx/>
                <a:uFillTx/>
                <a:ea typeface="+mn-ea"/>
                <a:cs typeface="+mn-cs"/>
              </a:rPr>
              <a:t>, neutralizing antibodies.</a:t>
            </a:r>
          </a:p>
          <a:p>
            <a:r>
              <a:rPr kumimoji="0" lang="en-US" sz="500" b="0" i="0" u="none" strike="noStrike" kern="1200" cap="none" spc="0" normalizeH="0" baseline="0" noProof="0" dirty="0">
                <a:ln>
                  <a:noFill/>
                </a:ln>
                <a:effectLst/>
                <a:uLnTx/>
                <a:uFillTx/>
                <a:ea typeface="+mn-ea"/>
                <a:cs typeface="+mn-cs"/>
              </a:rPr>
              <a:t>*Please refer to the full publication for further details on study limitations of this meta-analysis including patients not being stratified by presence/absence of ADA prior to switch, ADA not being standardized across different studies, patients not evaluated prior switch for positive ADA/</a:t>
            </a:r>
            <a:r>
              <a:rPr kumimoji="0" lang="en-US" sz="500" b="0" i="0" u="none" strike="noStrike" kern="1200" cap="none" spc="0" normalizeH="0" baseline="0" noProof="0" dirty="0" err="1">
                <a:ln>
                  <a:noFill/>
                </a:ln>
                <a:effectLst/>
                <a:uLnTx/>
                <a:uFillTx/>
                <a:ea typeface="+mn-ea"/>
                <a:cs typeface="+mn-cs"/>
              </a:rPr>
              <a:t>NAb</a:t>
            </a:r>
            <a:r>
              <a:rPr kumimoji="0" lang="en-US" sz="500" b="0" i="0" u="none" strike="noStrike" kern="1200" cap="none" spc="0" normalizeH="0" baseline="0" noProof="0" dirty="0">
                <a:ln>
                  <a:noFill/>
                </a:ln>
                <a:effectLst/>
                <a:uLnTx/>
                <a:uFillTx/>
                <a:ea typeface="+mn-ea"/>
                <a:cs typeface="+mn-cs"/>
              </a:rPr>
              <a:t> formation, small patient number for safety assessments including in switch </a:t>
            </a:r>
            <a:r>
              <a:rPr lang="en-US" sz="500" dirty="0"/>
              <a:t>period</a:t>
            </a:r>
            <a:r>
              <a:rPr kumimoji="0" lang="en-US" sz="500" b="0" i="0" u="none" strike="noStrike" kern="1200" cap="none" spc="0" normalizeH="0" baseline="0" noProof="0" dirty="0">
                <a:ln>
                  <a:noFill/>
                </a:ln>
                <a:effectLst/>
                <a:uLnTx/>
                <a:uFillTx/>
                <a:ea typeface="+mn-ea"/>
                <a:cs typeface="+mn-cs"/>
              </a:rPr>
              <a:t> for some studies that were subsequently adjusted for in the meta-analysis.</a:t>
            </a:r>
          </a:p>
          <a:p>
            <a:r>
              <a:rPr kumimoji="0" lang="en-GB" sz="500" b="0" i="0" u="none" strike="noStrike" kern="1200" cap="none" spc="0" normalizeH="0" baseline="0" noProof="0" dirty="0">
                <a:ln>
                  <a:noFill/>
                </a:ln>
                <a:effectLst/>
                <a:uLnTx/>
                <a:uFillTx/>
                <a:ea typeface="+mn-ea"/>
                <a:cs typeface="+mn-cs"/>
              </a:rPr>
              <a:t>1. </a:t>
            </a:r>
            <a:r>
              <a:rPr kumimoji="0" lang="en-US" sz="500" b="0" i="0" u="none" strike="noStrike" kern="1200" cap="none" spc="0" normalizeH="0" baseline="0" noProof="0" dirty="0">
                <a:ln>
                  <a:noFill/>
                </a:ln>
                <a:effectLst/>
                <a:uLnTx/>
                <a:uFillTx/>
                <a:ea typeface="+mn-ea"/>
                <a:cs typeface="+mn-cs"/>
              </a:rPr>
              <a:t>European Commission. Consensus information paper. 2016. Available at: https://ec.europa.eu/docsroom/documents/26643. Accessed March 2023;</a:t>
            </a:r>
            <a:r>
              <a:rPr lang="en-US" sz="500" dirty="0"/>
              <a:t> 2.US FDA. 9 Things to Know About Biosimilars and Interchangeable Biosimilars. 2024 Available at: https://www.fda.gov/drugs/things-know-about/9-things-know-about-biosimilars-and-interchangeable-biosimilars. Accessed June 2024; 3.ESN. Switch management between similar biological medicines. 2018. Available at: https://www.medicinesforeurope.com/wp-content/uploads/2018/06/biosimilar-nurses-guideline-final.pdf. Accessed March 2023; 4</a:t>
            </a:r>
            <a:r>
              <a:rPr kumimoji="0" lang="en-US" sz="500" b="0" i="0" u="none" kern="1200" cap="none" spc="0" normalizeH="0" baseline="0" noProof="0" dirty="0">
                <a:ln>
                  <a:noFill/>
                </a:ln>
                <a:effectLst/>
                <a:uLnTx/>
                <a:uFillTx/>
                <a:ea typeface="+mn-ea"/>
                <a:cs typeface="+mn-cs"/>
              </a:rPr>
              <a:t>. Herndon TM, et al. </a:t>
            </a:r>
            <a:r>
              <a:rPr kumimoji="0" lang="en-US" sz="500" b="0" i="1" u="none" kern="1200" cap="none" spc="0" normalizeH="0" baseline="0" noProof="0" dirty="0" err="1">
                <a:ln>
                  <a:noFill/>
                </a:ln>
                <a:effectLst/>
                <a:uLnTx/>
                <a:uFillTx/>
                <a:ea typeface="+mn-ea"/>
                <a:cs typeface="+mn-cs"/>
              </a:rPr>
              <a:t>PloS</a:t>
            </a:r>
            <a:r>
              <a:rPr kumimoji="0" lang="en-US" sz="500" b="0" i="1" u="none" kern="1200" cap="none" spc="0" normalizeH="0" baseline="0" noProof="0" dirty="0">
                <a:ln>
                  <a:noFill/>
                </a:ln>
                <a:effectLst/>
                <a:uLnTx/>
                <a:uFillTx/>
                <a:ea typeface="+mn-ea"/>
                <a:cs typeface="+mn-cs"/>
              </a:rPr>
              <a:t> One </a:t>
            </a:r>
            <a:r>
              <a:rPr kumimoji="0" lang="en-US" sz="500" b="0" i="0" u="none" kern="1200" cap="none" spc="0" normalizeH="0" baseline="0" noProof="0" dirty="0">
                <a:ln>
                  <a:noFill/>
                </a:ln>
                <a:effectLst/>
                <a:uLnTx/>
                <a:uFillTx/>
                <a:ea typeface="+mn-ea"/>
                <a:cs typeface="+mn-cs"/>
              </a:rPr>
              <a:t>2023; 3;18(10):e0292231.</a:t>
            </a:r>
            <a:endParaRPr lang="en-US" sz="500" dirty="0"/>
          </a:p>
        </p:txBody>
      </p:sp>
      <p:sp>
        <p:nvSpPr>
          <p:cNvPr id="15" name="Slide Number Placeholder 14">
            <a:extLst>
              <a:ext uri="{FF2B5EF4-FFF2-40B4-BE49-F238E27FC236}">
                <a16:creationId xmlns:a16="http://schemas.microsoft.com/office/drawing/2014/main" id="{4F28F40A-6390-EA0A-F8C6-E659F4E9CC77}"/>
              </a:ext>
            </a:extLst>
          </p:cNvPr>
          <p:cNvSpPr>
            <a:spLocks noGrp="1"/>
          </p:cNvSpPr>
          <p:nvPr>
            <p:ph type="sldNum" sz="quarter" idx="12"/>
          </p:nvPr>
        </p:nvSpPr>
        <p:spPr/>
        <p:txBody>
          <a:bodyPr/>
          <a:lstStyle/>
          <a:p>
            <a:fld id="{A31C51CB-94C2-40E2-B070-08CEE3D6A386}" type="slidenum">
              <a:rPr lang="en-GB" smtClean="0"/>
              <a:t>22</a:t>
            </a:fld>
            <a:endParaRPr lang="en-GB"/>
          </a:p>
        </p:txBody>
      </p:sp>
      <p:pic>
        <p:nvPicPr>
          <p:cNvPr id="36" name="Graphic 35">
            <a:extLst>
              <a:ext uri="{FF2B5EF4-FFF2-40B4-BE49-F238E27FC236}">
                <a16:creationId xmlns:a16="http://schemas.microsoft.com/office/drawing/2014/main" id="{3618EF31-D6F7-7583-203C-9E7A2CF6BF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92562" y="1538693"/>
            <a:ext cx="421174" cy="421174"/>
          </a:xfrm>
          <a:prstGeom prst="rect">
            <a:avLst/>
          </a:prstGeom>
        </p:spPr>
      </p:pic>
      <p:pic>
        <p:nvPicPr>
          <p:cNvPr id="38" name="Graphic 37">
            <a:extLst>
              <a:ext uri="{FF2B5EF4-FFF2-40B4-BE49-F238E27FC236}">
                <a16:creationId xmlns:a16="http://schemas.microsoft.com/office/drawing/2014/main" id="{6F619BED-6386-66C3-16B9-89436ECCD7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03982" y="1508568"/>
            <a:ext cx="421174" cy="421174"/>
          </a:xfrm>
          <a:prstGeom prst="rect">
            <a:avLst/>
          </a:prstGeom>
        </p:spPr>
      </p:pic>
      <p:sp>
        <p:nvSpPr>
          <p:cNvPr id="12" name="TextBox 11">
            <a:extLst>
              <a:ext uri="{FF2B5EF4-FFF2-40B4-BE49-F238E27FC236}">
                <a16:creationId xmlns:a16="http://schemas.microsoft.com/office/drawing/2014/main" id="{F4D5FCBB-6C04-EA1C-B59C-E7C2E7BD1C09}"/>
              </a:ext>
            </a:extLst>
          </p:cNvPr>
          <p:cNvSpPr txBox="1"/>
          <p:nvPr/>
        </p:nvSpPr>
        <p:spPr>
          <a:xfrm>
            <a:off x="420572" y="1145604"/>
            <a:ext cx="2613086" cy="2191432"/>
          </a:xfrm>
          <a:prstGeom prst="roundRect">
            <a:avLst/>
          </a:prstGeom>
          <a:solidFill>
            <a:schemeClr val="accent1">
              <a:lumMod val="10000"/>
              <a:lumOff val="90000"/>
            </a:schemeClr>
          </a:solidFill>
        </p:spPr>
        <p:txBody>
          <a:bodyPr wrap="square" lIns="0" anchor="ctr">
            <a:noAutofit/>
          </a:bodyPr>
          <a:lstStyle/>
          <a:p>
            <a:pPr>
              <a:spcAft>
                <a:spcPts val="600"/>
              </a:spcAft>
            </a:pPr>
            <a:endParaRPr lang="en-GB" sz="1300" dirty="0">
              <a:solidFill>
                <a:schemeClr val="bg1"/>
              </a:solidFill>
            </a:endParaRPr>
          </a:p>
        </p:txBody>
      </p:sp>
      <p:grpSp>
        <p:nvGrpSpPr>
          <p:cNvPr id="3" name="Group 2">
            <a:extLst>
              <a:ext uri="{FF2B5EF4-FFF2-40B4-BE49-F238E27FC236}">
                <a16:creationId xmlns:a16="http://schemas.microsoft.com/office/drawing/2014/main" id="{FCD3745C-8841-4CF0-71BC-1952F86CBCD9}"/>
              </a:ext>
            </a:extLst>
          </p:cNvPr>
          <p:cNvGrpSpPr/>
          <p:nvPr/>
        </p:nvGrpSpPr>
        <p:grpSpPr>
          <a:xfrm>
            <a:off x="1017332" y="1538931"/>
            <a:ext cx="1419566" cy="327644"/>
            <a:chOff x="1093537" y="1792394"/>
            <a:chExt cx="1419566" cy="327644"/>
          </a:xfrm>
        </p:grpSpPr>
        <p:cxnSp>
          <p:nvCxnSpPr>
            <p:cNvPr id="34" name="Straight Arrow Connector 33">
              <a:extLst>
                <a:ext uri="{FF2B5EF4-FFF2-40B4-BE49-F238E27FC236}">
                  <a16:creationId xmlns:a16="http://schemas.microsoft.com/office/drawing/2014/main" id="{5EAF7F6B-2290-67E8-A708-E7A216035468}"/>
                </a:ext>
              </a:extLst>
            </p:cNvPr>
            <p:cNvCxnSpPr/>
            <p:nvPr/>
          </p:nvCxnSpPr>
          <p:spPr>
            <a:xfrm>
              <a:off x="1633887" y="1956365"/>
              <a:ext cx="338866" cy="0"/>
            </a:xfrm>
            <a:prstGeom prst="straightConnector1">
              <a:avLst/>
            </a:prstGeom>
            <a:ln>
              <a:solidFill>
                <a:schemeClr val="accent6"/>
              </a:solidFill>
              <a:prstDash val="lgDash"/>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D34D0F44-0777-4216-0701-C2BA7CAC9569}"/>
                </a:ext>
              </a:extLst>
            </p:cNvPr>
            <p:cNvGrpSpPr/>
            <p:nvPr/>
          </p:nvGrpSpPr>
          <p:grpSpPr>
            <a:xfrm>
              <a:off x="1093537" y="1806464"/>
              <a:ext cx="350460" cy="313574"/>
              <a:chOff x="4417218" y="2410682"/>
              <a:chExt cx="345662" cy="332041"/>
            </a:xfrm>
            <a:noFill/>
          </p:grpSpPr>
          <p:sp>
            <p:nvSpPr>
              <p:cNvPr id="13" name="Freeform 2">
                <a:extLst>
                  <a:ext uri="{FF2B5EF4-FFF2-40B4-BE49-F238E27FC236}">
                    <a16:creationId xmlns:a16="http://schemas.microsoft.com/office/drawing/2014/main" id="{9E65D611-C548-B31B-8F22-30312D78B5FA}"/>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6"/>
                </a:solidFill>
                <a:prstDash val="solid"/>
                <a:miter/>
              </a:ln>
            </p:spPr>
            <p:txBody>
              <a:bodyPr rtlCol="0" anchor="ctr"/>
              <a:lstStyle/>
              <a:p>
                <a:endParaRPr lang="en-AR"/>
              </a:p>
            </p:txBody>
          </p:sp>
          <p:sp>
            <p:nvSpPr>
              <p:cNvPr id="17" name="Freeform 8">
                <a:extLst>
                  <a:ext uri="{FF2B5EF4-FFF2-40B4-BE49-F238E27FC236}">
                    <a16:creationId xmlns:a16="http://schemas.microsoft.com/office/drawing/2014/main" id="{8A83C65B-A7CB-BDDD-8945-8ADA28549512}"/>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6"/>
                </a:solidFill>
                <a:prstDash val="solid"/>
                <a:miter/>
              </a:ln>
            </p:spPr>
            <p:txBody>
              <a:bodyPr rtlCol="0" anchor="ctr"/>
              <a:lstStyle/>
              <a:p>
                <a:endParaRPr lang="en-AR"/>
              </a:p>
            </p:txBody>
          </p:sp>
          <p:sp>
            <p:nvSpPr>
              <p:cNvPr id="18" name="Freeform 10">
                <a:extLst>
                  <a:ext uri="{FF2B5EF4-FFF2-40B4-BE49-F238E27FC236}">
                    <a16:creationId xmlns:a16="http://schemas.microsoft.com/office/drawing/2014/main" id="{1EEA68D5-A797-797A-DDB1-D28087DE8C2E}"/>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6"/>
                </a:solidFill>
                <a:prstDash val="solid"/>
                <a:miter/>
              </a:ln>
            </p:spPr>
            <p:txBody>
              <a:bodyPr rtlCol="0" anchor="ctr"/>
              <a:lstStyle/>
              <a:p>
                <a:endParaRPr lang="en-AR"/>
              </a:p>
            </p:txBody>
          </p:sp>
        </p:grpSp>
        <p:grpSp>
          <p:nvGrpSpPr>
            <p:cNvPr id="21" name="Group 20">
              <a:extLst>
                <a:ext uri="{FF2B5EF4-FFF2-40B4-BE49-F238E27FC236}">
                  <a16:creationId xmlns:a16="http://schemas.microsoft.com/office/drawing/2014/main" id="{0A914E70-DF87-3213-D6AA-B11C2C71778E}"/>
                </a:ext>
              </a:extLst>
            </p:cNvPr>
            <p:cNvGrpSpPr/>
            <p:nvPr/>
          </p:nvGrpSpPr>
          <p:grpSpPr>
            <a:xfrm>
              <a:off x="2162643" y="1792394"/>
              <a:ext cx="350460" cy="313574"/>
              <a:chOff x="4417218" y="2410682"/>
              <a:chExt cx="345662" cy="332041"/>
            </a:xfrm>
            <a:noFill/>
          </p:grpSpPr>
          <p:sp>
            <p:nvSpPr>
              <p:cNvPr id="26" name="Freeform 2">
                <a:extLst>
                  <a:ext uri="{FF2B5EF4-FFF2-40B4-BE49-F238E27FC236}">
                    <a16:creationId xmlns:a16="http://schemas.microsoft.com/office/drawing/2014/main" id="{89039B5D-7224-11A5-51CC-4ADBCAB9540F}"/>
                  </a:ext>
                </a:extLst>
              </p:cNvPr>
              <p:cNvSpPr/>
              <p:nvPr/>
            </p:nvSpPr>
            <p:spPr>
              <a:xfrm>
                <a:off x="4431982" y="2410682"/>
                <a:ext cx="316134" cy="332041"/>
              </a:xfrm>
              <a:custGeom>
                <a:avLst/>
                <a:gdLst>
                  <a:gd name="connsiteX0" fmla="*/ 316135 w 316134"/>
                  <a:gd name="connsiteY0" fmla="*/ 45434 h 332041"/>
                  <a:gd name="connsiteX1" fmla="*/ 271558 w 316134"/>
                  <a:gd name="connsiteY1" fmla="*/ 0 h 332041"/>
                  <a:gd name="connsiteX2" fmla="*/ 158020 w 316134"/>
                  <a:gd name="connsiteY2" fmla="*/ 115633 h 332041"/>
                  <a:gd name="connsiteX3" fmla="*/ 44577 w 316134"/>
                  <a:gd name="connsiteY3" fmla="*/ 0 h 332041"/>
                  <a:gd name="connsiteX4" fmla="*/ 0 w 316134"/>
                  <a:gd name="connsiteY4" fmla="*/ 45434 h 332041"/>
                  <a:gd name="connsiteX5" fmla="*/ 126492 w 316134"/>
                  <a:gd name="connsiteY5" fmla="*/ 174403 h 332041"/>
                  <a:gd name="connsiteX6" fmla="*/ 126492 w 316134"/>
                  <a:gd name="connsiteY6" fmla="*/ 332042 h 332041"/>
                  <a:gd name="connsiteX7" fmla="*/ 189547 w 316134"/>
                  <a:gd name="connsiteY7" fmla="*/ 332042 h 332041"/>
                  <a:gd name="connsiteX8" fmla="*/ 189547 w 316134"/>
                  <a:gd name="connsiteY8" fmla="*/ 174403 h 332041"/>
                  <a:gd name="connsiteX9" fmla="*/ 316135 w 316134"/>
                  <a:gd name="connsiteY9" fmla="*/ 45434 h 33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6134" h="332041">
                    <a:moveTo>
                      <a:pt x="316135" y="45434"/>
                    </a:moveTo>
                    <a:lnTo>
                      <a:pt x="271558" y="0"/>
                    </a:lnTo>
                    <a:lnTo>
                      <a:pt x="158020" y="115633"/>
                    </a:lnTo>
                    <a:lnTo>
                      <a:pt x="44577" y="0"/>
                    </a:lnTo>
                    <a:lnTo>
                      <a:pt x="0" y="45434"/>
                    </a:lnTo>
                    <a:lnTo>
                      <a:pt x="126492" y="174403"/>
                    </a:lnTo>
                    <a:lnTo>
                      <a:pt x="126492" y="332042"/>
                    </a:lnTo>
                    <a:lnTo>
                      <a:pt x="189547" y="332042"/>
                    </a:lnTo>
                    <a:lnTo>
                      <a:pt x="189547" y="174403"/>
                    </a:lnTo>
                    <a:lnTo>
                      <a:pt x="316135" y="45434"/>
                    </a:lnTo>
                    <a:close/>
                  </a:path>
                </a:pathLst>
              </a:custGeom>
              <a:grpFill/>
              <a:ln w="19050" cap="flat">
                <a:solidFill>
                  <a:schemeClr val="accent2"/>
                </a:solidFill>
                <a:prstDash val="solid"/>
                <a:miter/>
              </a:ln>
            </p:spPr>
            <p:txBody>
              <a:bodyPr rtlCol="0" anchor="ctr"/>
              <a:lstStyle/>
              <a:p>
                <a:endParaRPr lang="en-AR"/>
              </a:p>
            </p:txBody>
          </p:sp>
          <p:sp>
            <p:nvSpPr>
              <p:cNvPr id="27" name="Freeform 8">
                <a:extLst>
                  <a:ext uri="{FF2B5EF4-FFF2-40B4-BE49-F238E27FC236}">
                    <a16:creationId xmlns:a16="http://schemas.microsoft.com/office/drawing/2014/main" id="{2C7EE003-5358-4302-FAFB-1D4562A19198}"/>
                  </a:ext>
                </a:extLst>
              </p:cNvPr>
              <p:cNvSpPr/>
              <p:nvPr/>
            </p:nvSpPr>
            <p:spPr>
              <a:xfrm>
                <a:off x="4417218" y="2495454"/>
                <a:ext cx="93821" cy="95535"/>
              </a:xfrm>
              <a:custGeom>
                <a:avLst/>
                <a:gdLst>
                  <a:gd name="connsiteX0" fmla="*/ 0 w 93821"/>
                  <a:gd name="connsiteY0" fmla="*/ 0 h 95535"/>
                  <a:gd name="connsiteX1" fmla="*/ 93821 w 93821"/>
                  <a:gd name="connsiteY1" fmla="*/ 95536 h 95535"/>
                </a:gdLst>
                <a:ahLst/>
                <a:cxnLst>
                  <a:cxn ang="0">
                    <a:pos x="connsiteX0" y="connsiteY0"/>
                  </a:cxn>
                  <a:cxn ang="0">
                    <a:pos x="connsiteX1" y="connsiteY1"/>
                  </a:cxn>
                </a:cxnLst>
                <a:rect l="l" t="t" r="r" b="b"/>
                <a:pathLst>
                  <a:path w="93821" h="95535">
                    <a:moveTo>
                      <a:pt x="0" y="0"/>
                    </a:moveTo>
                    <a:lnTo>
                      <a:pt x="93821" y="95536"/>
                    </a:lnTo>
                  </a:path>
                </a:pathLst>
              </a:custGeom>
              <a:grpFill/>
              <a:ln w="19050" cap="flat">
                <a:solidFill>
                  <a:schemeClr val="accent2"/>
                </a:solidFill>
                <a:prstDash val="solid"/>
                <a:miter/>
              </a:ln>
            </p:spPr>
            <p:txBody>
              <a:bodyPr rtlCol="0" anchor="ctr"/>
              <a:lstStyle/>
              <a:p>
                <a:endParaRPr lang="en-AR"/>
              </a:p>
            </p:txBody>
          </p:sp>
          <p:sp>
            <p:nvSpPr>
              <p:cNvPr id="28" name="Freeform 10">
                <a:extLst>
                  <a:ext uri="{FF2B5EF4-FFF2-40B4-BE49-F238E27FC236}">
                    <a16:creationId xmlns:a16="http://schemas.microsoft.com/office/drawing/2014/main" id="{EF36C092-B7AD-80B6-9682-AFBB39BA5A14}"/>
                  </a:ext>
                </a:extLst>
              </p:cNvPr>
              <p:cNvSpPr/>
              <p:nvPr/>
            </p:nvSpPr>
            <p:spPr>
              <a:xfrm>
                <a:off x="4669059" y="2495454"/>
                <a:ext cx="93821" cy="95535"/>
              </a:xfrm>
              <a:custGeom>
                <a:avLst/>
                <a:gdLst>
                  <a:gd name="connsiteX0" fmla="*/ 0 w 93821"/>
                  <a:gd name="connsiteY0" fmla="*/ 95536 h 95535"/>
                  <a:gd name="connsiteX1" fmla="*/ 93821 w 93821"/>
                  <a:gd name="connsiteY1" fmla="*/ 0 h 95535"/>
                </a:gdLst>
                <a:ahLst/>
                <a:cxnLst>
                  <a:cxn ang="0">
                    <a:pos x="connsiteX0" y="connsiteY0"/>
                  </a:cxn>
                  <a:cxn ang="0">
                    <a:pos x="connsiteX1" y="connsiteY1"/>
                  </a:cxn>
                </a:cxnLst>
                <a:rect l="l" t="t" r="r" b="b"/>
                <a:pathLst>
                  <a:path w="93821" h="95535">
                    <a:moveTo>
                      <a:pt x="0" y="95536"/>
                    </a:moveTo>
                    <a:lnTo>
                      <a:pt x="93821" y="0"/>
                    </a:lnTo>
                  </a:path>
                </a:pathLst>
              </a:custGeom>
              <a:grpFill/>
              <a:ln w="19050" cap="flat">
                <a:solidFill>
                  <a:schemeClr val="accent2"/>
                </a:solidFill>
                <a:prstDash val="solid"/>
                <a:miter/>
              </a:ln>
            </p:spPr>
            <p:txBody>
              <a:bodyPr rtlCol="0" anchor="ctr"/>
              <a:lstStyle/>
              <a:p>
                <a:endParaRPr lang="en-AR"/>
              </a:p>
            </p:txBody>
          </p:sp>
        </p:grpSp>
      </p:grpSp>
      <p:sp>
        <p:nvSpPr>
          <p:cNvPr id="23" name="Content Placeholder 2">
            <a:extLst>
              <a:ext uri="{FF2B5EF4-FFF2-40B4-BE49-F238E27FC236}">
                <a16:creationId xmlns:a16="http://schemas.microsoft.com/office/drawing/2014/main" id="{9B9B4D9E-77E5-1CB6-89EE-931F04CAB0C0}"/>
              </a:ext>
            </a:extLst>
          </p:cNvPr>
          <p:cNvSpPr>
            <a:spLocks noGrp="1"/>
          </p:cNvSpPr>
          <p:nvPr>
            <p:ph idx="1"/>
          </p:nvPr>
        </p:nvSpPr>
        <p:spPr>
          <a:xfrm>
            <a:off x="683783" y="2182594"/>
            <a:ext cx="2159763" cy="553963"/>
          </a:xfrm>
        </p:spPr>
        <p:txBody>
          <a:bodyPr anchor="t">
            <a:noAutofit/>
          </a:bodyPr>
          <a:lstStyle/>
          <a:p>
            <a:pPr marL="0" indent="0" algn="ctr">
              <a:buNone/>
            </a:pPr>
            <a:r>
              <a:rPr lang="en-US" sz="1250" b="0" i="0" dirty="0">
                <a:effectLst/>
              </a:rPr>
              <a:t>If a patient is already being treated with a biologic medicine, they can be switched to its biosimilar medicine as…</a:t>
            </a:r>
            <a:r>
              <a:rPr lang="en-US" sz="1250" baseline="30000" dirty="0"/>
              <a:t>1</a:t>
            </a:r>
            <a:r>
              <a:rPr lang="en-US" sz="1250" b="0" i="0" baseline="30000" dirty="0">
                <a:effectLst/>
              </a:rPr>
              <a:t>,2</a:t>
            </a:r>
            <a:endParaRPr lang="en-US" sz="1250" b="0" i="0" dirty="0">
              <a:effectLst/>
            </a:endParaRPr>
          </a:p>
        </p:txBody>
      </p:sp>
      <p:grpSp>
        <p:nvGrpSpPr>
          <p:cNvPr id="4" name="Group 3">
            <a:extLst>
              <a:ext uri="{FF2B5EF4-FFF2-40B4-BE49-F238E27FC236}">
                <a16:creationId xmlns:a16="http://schemas.microsoft.com/office/drawing/2014/main" id="{FD6A5664-6D97-E0BA-FBA4-78E6AEEBF9B1}"/>
              </a:ext>
            </a:extLst>
          </p:cNvPr>
          <p:cNvGrpSpPr/>
          <p:nvPr/>
        </p:nvGrpSpPr>
        <p:grpSpPr>
          <a:xfrm>
            <a:off x="2806259" y="1141394"/>
            <a:ext cx="521496" cy="496301"/>
            <a:chOff x="3055889" y="1147349"/>
            <a:chExt cx="350583" cy="350583"/>
          </a:xfrm>
        </p:grpSpPr>
        <p:sp>
          <p:nvSpPr>
            <p:cNvPr id="46" name="Oval 45">
              <a:extLst>
                <a:ext uri="{FF2B5EF4-FFF2-40B4-BE49-F238E27FC236}">
                  <a16:creationId xmlns:a16="http://schemas.microsoft.com/office/drawing/2014/main" id="{E8D66ACB-09B5-CA7D-CC8E-D25ECC15D8BD}"/>
                </a:ext>
              </a:extLst>
            </p:cNvPr>
            <p:cNvSpPr/>
            <p:nvPr/>
          </p:nvSpPr>
          <p:spPr>
            <a:xfrm>
              <a:off x="3055889" y="1147349"/>
              <a:ext cx="350583" cy="3505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45" name="Graphic 44">
              <a:extLst>
                <a:ext uri="{FF2B5EF4-FFF2-40B4-BE49-F238E27FC236}">
                  <a16:creationId xmlns:a16="http://schemas.microsoft.com/office/drawing/2014/main" id="{0CA521C5-0662-A90F-E08B-2919F2FB85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97830" y="1189290"/>
              <a:ext cx="266700" cy="266700"/>
            </a:xfrm>
            <a:prstGeom prst="rect">
              <a:avLst/>
            </a:prstGeom>
          </p:spPr>
        </p:pic>
      </p:grpSp>
      <p:grpSp>
        <p:nvGrpSpPr>
          <p:cNvPr id="22" name="Group 21">
            <a:extLst>
              <a:ext uri="{FF2B5EF4-FFF2-40B4-BE49-F238E27FC236}">
                <a16:creationId xmlns:a16="http://schemas.microsoft.com/office/drawing/2014/main" id="{507AC95F-9417-19DF-292A-3D6EEAACD348}"/>
              </a:ext>
            </a:extLst>
          </p:cNvPr>
          <p:cNvGrpSpPr/>
          <p:nvPr/>
        </p:nvGrpSpPr>
        <p:grpSpPr>
          <a:xfrm>
            <a:off x="5718001" y="1141393"/>
            <a:ext cx="521496" cy="496301"/>
            <a:chOff x="3055889" y="1147349"/>
            <a:chExt cx="350583" cy="350583"/>
          </a:xfrm>
        </p:grpSpPr>
        <p:sp>
          <p:nvSpPr>
            <p:cNvPr id="25" name="Oval 24">
              <a:extLst>
                <a:ext uri="{FF2B5EF4-FFF2-40B4-BE49-F238E27FC236}">
                  <a16:creationId xmlns:a16="http://schemas.microsoft.com/office/drawing/2014/main" id="{625D3DCD-6A8D-1130-0D39-3E1810241CDA}"/>
                </a:ext>
              </a:extLst>
            </p:cNvPr>
            <p:cNvSpPr/>
            <p:nvPr/>
          </p:nvSpPr>
          <p:spPr>
            <a:xfrm>
              <a:off x="3055889" y="1147349"/>
              <a:ext cx="350583" cy="35058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29" name="Graphic 28">
              <a:extLst>
                <a:ext uri="{FF2B5EF4-FFF2-40B4-BE49-F238E27FC236}">
                  <a16:creationId xmlns:a16="http://schemas.microsoft.com/office/drawing/2014/main" id="{C347446B-728B-033B-3A7C-4FA4F753B9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97830" y="1189290"/>
              <a:ext cx="266700" cy="266700"/>
            </a:xfrm>
            <a:prstGeom prst="rect">
              <a:avLst/>
            </a:prstGeom>
          </p:spPr>
        </p:pic>
      </p:grpSp>
    </p:spTree>
    <p:extLst>
      <p:ext uri="{BB962C8B-B14F-4D97-AF65-F5344CB8AC3E}">
        <p14:creationId xmlns:p14="http://schemas.microsoft.com/office/powerpoint/2010/main" val="11220285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EA48AF0B-E515-BC28-DA5C-D0D9431DFD2B}"/>
              </a:ext>
            </a:extLst>
          </p:cNvPr>
          <p:cNvSpPr/>
          <p:nvPr/>
        </p:nvSpPr>
        <p:spPr>
          <a:xfrm>
            <a:off x="304994" y="1137475"/>
            <a:ext cx="1202747" cy="1202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cxnSp>
        <p:nvCxnSpPr>
          <p:cNvPr id="17" name="Straight Connector 16">
            <a:extLst>
              <a:ext uri="{FF2B5EF4-FFF2-40B4-BE49-F238E27FC236}">
                <a16:creationId xmlns:a16="http://schemas.microsoft.com/office/drawing/2014/main" id="{D440D7D4-E3F5-25B9-6EA6-0BB664430E3D}"/>
              </a:ext>
            </a:extLst>
          </p:cNvPr>
          <p:cNvCxnSpPr>
            <a:cxnSpLocks/>
            <a:stCxn id="16" idx="6"/>
          </p:cNvCxnSpPr>
          <p:nvPr/>
        </p:nvCxnSpPr>
        <p:spPr>
          <a:xfrm flipV="1">
            <a:off x="1507741" y="1731786"/>
            <a:ext cx="27931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D3B6FDF-30F6-0534-81A8-E5107F7B5F0A}"/>
              </a:ext>
            </a:extLst>
          </p:cNvPr>
          <p:cNvCxnSpPr>
            <a:cxnSpLocks/>
          </p:cNvCxnSpPr>
          <p:nvPr/>
        </p:nvCxnSpPr>
        <p:spPr>
          <a:xfrm>
            <a:off x="1787053" y="821412"/>
            <a:ext cx="0" cy="190111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E325D78-F222-3133-D3C0-EEA4BADD4B32}"/>
              </a:ext>
            </a:extLst>
          </p:cNvPr>
          <p:cNvSpPr txBox="1"/>
          <p:nvPr/>
        </p:nvSpPr>
        <p:spPr>
          <a:xfrm>
            <a:off x="391501" y="3051798"/>
            <a:ext cx="8334041" cy="1396213"/>
          </a:xfrm>
          <a:prstGeom prst="rect">
            <a:avLst/>
          </a:prstGeom>
          <a:solidFill>
            <a:schemeClr val="bg2">
              <a:lumMod val="90000"/>
              <a:alpha val="5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274320" rIns="182880" bIns="133984" numCol="1" spcCol="1270" anchor="ctr" anchorCtr="0">
            <a:noAutofit/>
          </a:bodyPr>
          <a:lstStyle>
            <a:defPPr>
              <a:defRPr lang="en-US"/>
            </a:defPPr>
            <a:lvl1pPr algn="ctr" defTabSz="1066800">
              <a:lnSpc>
                <a:spcPct val="90000"/>
              </a:lnSpc>
              <a:spcBef>
                <a:spcPts val="900"/>
              </a:spcBef>
              <a:spcAft>
                <a:spcPct val="35000"/>
              </a:spcAft>
              <a:defRPr sz="110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baseline="30000"/>
          </a:p>
        </p:txBody>
      </p:sp>
      <p:sp>
        <p:nvSpPr>
          <p:cNvPr id="2" name="Title 1"/>
          <p:cNvSpPr>
            <a:spLocks noGrp="1"/>
          </p:cNvSpPr>
          <p:nvPr>
            <p:ph type="title"/>
          </p:nvPr>
        </p:nvSpPr>
        <p:spPr>
          <a:xfrm>
            <a:off x="243000" y="181147"/>
            <a:ext cx="7316279" cy="637196"/>
          </a:xfrm>
        </p:spPr>
        <p:txBody>
          <a:bodyPr>
            <a:normAutofit/>
          </a:bodyPr>
          <a:lstStyle/>
          <a:p>
            <a:r>
              <a:rPr lang="en-GB" b="1"/>
              <a:t>The </a:t>
            </a:r>
            <a:r>
              <a:rPr lang="en-US" b="1"/>
              <a:t>nocebo effect can impact treatment outcomes</a:t>
            </a:r>
          </a:p>
        </p:txBody>
      </p:sp>
      <p:sp>
        <p:nvSpPr>
          <p:cNvPr id="3" name="TextBox 2">
            <a:extLst>
              <a:ext uri="{FF2B5EF4-FFF2-40B4-BE49-F238E27FC236}">
                <a16:creationId xmlns:a16="http://schemas.microsoft.com/office/drawing/2014/main" id="{95C466A8-18E9-45F0-A398-DE72C33C587B}"/>
              </a:ext>
            </a:extLst>
          </p:cNvPr>
          <p:cNvSpPr txBox="1"/>
          <p:nvPr/>
        </p:nvSpPr>
        <p:spPr>
          <a:xfrm>
            <a:off x="1817020" y="848638"/>
            <a:ext cx="6765703" cy="1846659"/>
          </a:xfrm>
          <a:prstGeom prst="rect">
            <a:avLst/>
          </a:prstGeom>
          <a:noFill/>
        </p:spPr>
        <p:txBody>
          <a:bodyPr wrap="square" rtlCol="0" anchor="ctr">
            <a:spAutoFit/>
          </a:bodyPr>
          <a:lstStyle/>
          <a:p>
            <a:pPr marL="137160" indent="-137160">
              <a:spcBef>
                <a:spcPts val="600"/>
              </a:spcBef>
              <a:buClr>
                <a:schemeClr val="accent2"/>
              </a:buClr>
              <a:buFont typeface="Arial" panose="020B0604020202020204" pitchFamily="34" charset="0"/>
              <a:buChar char="•"/>
            </a:pPr>
            <a:r>
              <a:rPr lang="en-US" sz="1300" dirty="0"/>
              <a:t>The nocebo effect can be defined as the </a:t>
            </a:r>
            <a:r>
              <a:rPr lang="en-US" sz="1300" b="1" dirty="0"/>
              <a:t>opposite of the placebo effect</a:t>
            </a:r>
            <a:r>
              <a:rPr lang="en-US" sz="1300" dirty="0"/>
              <a:t>, involving </a:t>
            </a:r>
            <a:r>
              <a:rPr lang="en-US" sz="1300" b="1" dirty="0"/>
              <a:t>unpleasant or adverse outcomes caused by the treatment setting</a:t>
            </a:r>
            <a:r>
              <a:rPr lang="en-US" sz="1300" dirty="0"/>
              <a:t>, independent of any actual pharmacologic impact of the treatment</a:t>
            </a:r>
            <a:r>
              <a:rPr lang="en-US" sz="1300" baseline="30000" dirty="0"/>
              <a:t>1,2</a:t>
            </a:r>
            <a:endParaRPr lang="en-US" sz="1300" dirty="0"/>
          </a:p>
          <a:p>
            <a:pPr marL="137160" indent="-137160">
              <a:spcBef>
                <a:spcPts val="600"/>
              </a:spcBef>
              <a:buClr>
                <a:schemeClr val="accent2"/>
              </a:buClr>
              <a:buFont typeface="Arial" panose="020B0604020202020204" pitchFamily="34" charset="0"/>
              <a:buChar char="•"/>
            </a:pPr>
            <a:r>
              <a:rPr lang="en-US" sz="1300" dirty="0"/>
              <a:t>It occurs when a person’s </a:t>
            </a:r>
            <a:r>
              <a:rPr lang="en-US" sz="1300" b="1" dirty="0"/>
              <a:t>negative expectations, beliefs, stress, or anxiety </a:t>
            </a:r>
            <a:r>
              <a:rPr lang="en-US" sz="1300" dirty="0"/>
              <a:t>about a treatment or procedure </a:t>
            </a:r>
            <a:r>
              <a:rPr lang="en-US" sz="1300" b="1" dirty="0"/>
              <a:t>can lead to side effects </a:t>
            </a:r>
            <a:r>
              <a:rPr lang="en-US" sz="1300" dirty="0"/>
              <a:t>or </a:t>
            </a:r>
            <a:r>
              <a:rPr lang="en-US" sz="1300" b="1" dirty="0"/>
              <a:t>worsened symptoms, </a:t>
            </a:r>
            <a:r>
              <a:rPr lang="en-US" sz="1300" dirty="0"/>
              <a:t>potentially reducing the effectiveness of that treatment</a:t>
            </a:r>
            <a:r>
              <a:rPr lang="en-US" sz="1300" baseline="30000" dirty="0"/>
              <a:t>3–7 </a:t>
            </a:r>
          </a:p>
          <a:p>
            <a:pPr marL="422910" lvl="1" indent="-285750">
              <a:spcBef>
                <a:spcPts val="600"/>
              </a:spcBef>
              <a:spcAft>
                <a:spcPts val="600"/>
              </a:spcAft>
              <a:buClr>
                <a:schemeClr val="accent2"/>
              </a:buClr>
              <a:buFont typeface="Courier New" panose="02070309020205020404" pitchFamily="49" charset="0"/>
              <a:buChar char="o"/>
            </a:pPr>
            <a:r>
              <a:rPr lang="en-US" sz="1300" dirty="0"/>
              <a:t>A nocebo effect can be precipitated by, for example, how an HCP explains the possible side effects of that treatment</a:t>
            </a:r>
            <a:r>
              <a:rPr lang="en-US" sz="1300" baseline="30000" dirty="0"/>
              <a:t>8</a:t>
            </a:r>
          </a:p>
        </p:txBody>
      </p:sp>
      <p:sp>
        <p:nvSpPr>
          <p:cNvPr id="15" name="TextBox 14">
            <a:extLst>
              <a:ext uri="{FF2B5EF4-FFF2-40B4-BE49-F238E27FC236}">
                <a16:creationId xmlns:a16="http://schemas.microsoft.com/office/drawing/2014/main" id="{013DD074-0EFB-2710-7C62-380CAB89EEEB}"/>
              </a:ext>
            </a:extLst>
          </p:cNvPr>
          <p:cNvSpPr txBox="1"/>
          <p:nvPr/>
        </p:nvSpPr>
        <p:spPr>
          <a:xfrm>
            <a:off x="538317" y="3146425"/>
            <a:ext cx="8067366" cy="1229876"/>
          </a:xfrm>
          <a:prstGeom prst="roundRect">
            <a:avLst>
              <a:gd name="adj" fmla="val 5286"/>
            </a:avLst>
          </a:prstGeom>
          <a:noFill/>
          <a:ln>
            <a:noFill/>
          </a:ln>
        </p:spPr>
        <p:txBody>
          <a:bodyPr wrap="square" anchor="ctr">
            <a:spAutoFit/>
          </a:bodyPr>
          <a:lstStyle>
            <a:defPPr>
              <a:defRPr lang="en-US"/>
            </a:defPPr>
            <a:lvl1pPr marL="171450" indent="-171450">
              <a:spcBef>
                <a:spcPts val="600"/>
              </a:spcBef>
              <a:spcAft>
                <a:spcPts val="600"/>
              </a:spcAft>
              <a:buFont typeface="Wingdings" panose="05000000000000000000" pitchFamily="2" charset="2"/>
              <a:buChar char="§"/>
              <a:defRPr sz="1050"/>
            </a:lvl1pPr>
            <a:lvl2pPr marL="401638" lvl="1" indent="-233363">
              <a:spcBef>
                <a:spcPts val="600"/>
              </a:spcBef>
              <a:spcAft>
                <a:spcPts val="600"/>
              </a:spcAft>
              <a:buFont typeface="Arial" panose="020B0604020202020204" pitchFamily="34" charset="0"/>
              <a:buChar char="─"/>
              <a:defRPr sz="1050"/>
            </a:lvl2pPr>
          </a:lstStyle>
          <a:p>
            <a:pPr marL="137160" indent="-137160">
              <a:spcAft>
                <a:spcPts val="200"/>
              </a:spcAft>
              <a:buFont typeface="Arial" panose="020B0604020202020204" pitchFamily="34" charset="0"/>
              <a:buChar char="•"/>
            </a:pPr>
            <a:r>
              <a:rPr lang="en-US" sz="1300" dirty="0"/>
              <a:t>In the Framingham Heart Study (1965-1967) in 749 women aged 45-64, a psychosocial questionnaire inquired on the belief one is likely to suffer a heart attack; for those more likely to believe the relative risk was 3.7 (95% CI 1.3-10.3) and those as likely had a relative risk of 0.9 (95% CI 0.3-3.0)</a:t>
            </a:r>
            <a:r>
              <a:rPr lang="en-US" sz="1300" baseline="30000" dirty="0"/>
              <a:t>5*</a:t>
            </a:r>
            <a:r>
              <a:rPr lang="en-US" sz="1300" dirty="0"/>
              <a:t> </a:t>
            </a:r>
          </a:p>
          <a:p>
            <a:pPr marL="422910" lvl="1" indent="-285750">
              <a:buFont typeface="Courier New" panose="02070309020205020404" pitchFamily="49" charset="0"/>
              <a:buChar char="o"/>
            </a:pPr>
            <a:r>
              <a:rPr lang="en-US" sz="1300" dirty="0"/>
              <a:t>This suggests that a person's own beliefs and emotional states can potentially trigger a negative health outcome, akin to a self-induced nocebo effect</a:t>
            </a:r>
            <a:r>
              <a:rPr lang="en-US" sz="1300" baseline="30000" dirty="0"/>
              <a:t>2,4</a:t>
            </a:r>
          </a:p>
        </p:txBody>
      </p:sp>
      <p:sp>
        <p:nvSpPr>
          <p:cNvPr id="10" name="Footer Placeholder 9">
            <a:extLst>
              <a:ext uri="{FF2B5EF4-FFF2-40B4-BE49-F238E27FC236}">
                <a16:creationId xmlns:a16="http://schemas.microsoft.com/office/drawing/2014/main" id="{626077CE-5F03-2892-AC77-01E055C7FDA8}"/>
              </a:ext>
            </a:extLst>
          </p:cNvPr>
          <p:cNvSpPr>
            <a:spLocks noGrp="1"/>
          </p:cNvSpPr>
          <p:nvPr>
            <p:ph type="ftr" sz="quarter" idx="11"/>
          </p:nvPr>
        </p:nvSpPr>
        <p:spPr>
          <a:xfrm>
            <a:off x="420573" y="4827356"/>
            <a:ext cx="7514559" cy="134998"/>
          </a:xfrm>
        </p:spPr>
        <p:txBody>
          <a:bodyPr/>
          <a:lstStyle/>
          <a:p>
            <a:pPr algn="l"/>
            <a:r>
              <a:rPr lang="en-GB" sz="500" b="0" i="0" u="none" strike="noStrike" baseline="0" dirty="0"/>
              <a:t>HCP, healthcare professional.</a:t>
            </a:r>
          </a:p>
          <a:p>
            <a:pPr algn="l"/>
            <a:r>
              <a:rPr lang="en-GB" sz="500" b="0" i="0" u="none" strike="noStrike" baseline="0" dirty="0"/>
              <a:t>*</a:t>
            </a:r>
            <a:r>
              <a:rPr lang="en-US" sz="500" b="0" i="0" u="none" strike="noStrike" baseline="0" dirty="0"/>
              <a:t>Based on a multivariate proportional hazards model and adjusted for age, systolic blood pressure, the ratio of serum total cholesterol to HDL, diabetes, cigarettes, and BMI.</a:t>
            </a:r>
            <a:endParaRPr lang="en-GB" sz="500" b="0" i="0" u="none" strike="noStrike" baseline="0" dirty="0"/>
          </a:p>
          <a:p>
            <a:pPr algn="l"/>
            <a:r>
              <a:rPr lang="en-GB" sz="500" b="0" i="0" u="none" strike="noStrike" baseline="0" dirty="0"/>
              <a:t>1. </a:t>
            </a:r>
            <a:r>
              <a:rPr lang="en-GB" sz="500" b="0" i="0" u="none" strike="noStrike" baseline="0" dirty="0" err="1"/>
              <a:t>Faasse</a:t>
            </a:r>
            <a:r>
              <a:rPr lang="en-GB" sz="500" b="0" i="0" u="none" strike="noStrike" baseline="0" dirty="0"/>
              <a:t> K, et al. </a:t>
            </a:r>
            <a:r>
              <a:rPr lang="en-GB" sz="500" b="0" i="1" u="none" strike="noStrike" baseline="0" dirty="0"/>
              <a:t>Front Psychiatry </a:t>
            </a:r>
            <a:r>
              <a:rPr lang="en-GB" sz="500" b="0" i="0" u="none" strike="noStrike" baseline="0" dirty="0"/>
              <a:t>2019;10:396; 2. </a:t>
            </a:r>
            <a:r>
              <a:rPr lang="en-GB" sz="500" b="0" i="0" u="none" strike="noStrike" baseline="0" dirty="0" err="1"/>
              <a:t>Weissenfeld</a:t>
            </a:r>
            <a:r>
              <a:rPr lang="en-GB" sz="500" b="0" i="0" u="none" strike="noStrike" baseline="0" dirty="0"/>
              <a:t> J, et al. </a:t>
            </a:r>
            <a:r>
              <a:rPr lang="en-GB" sz="500" b="0" i="1" u="none" strike="noStrike" baseline="0" dirty="0" err="1"/>
              <a:t>Pharmazie</a:t>
            </a:r>
            <a:r>
              <a:rPr lang="en-GB" sz="500" b="0" i="0" u="none" strike="noStrike" baseline="0" dirty="0"/>
              <a:t> 2010;65(7):451</a:t>
            </a:r>
            <a:r>
              <a:rPr kumimoji="0" lang="en-US" sz="500" b="0" i="0" u="none" strike="noStrike" kern="1200" cap="none" spc="0" normalizeH="0" baseline="0" noProof="0" dirty="0">
                <a:ln>
                  <a:noFill/>
                </a:ln>
                <a:effectLst/>
                <a:uLnTx/>
                <a:uFillTx/>
                <a:ea typeface="+mn-ea"/>
                <a:cs typeface="+mn-cs"/>
              </a:rPr>
              <a:t>–45</a:t>
            </a:r>
            <a:r>
              <a:rPr lang="en-GB" sz="500" b="0" i="0" u="none" strike="noStrike" baseline="0" dirty="0"/>
              <a:t>6; 3. </a:t>
            </a:r>
            <a:r>
              <a:rPr kumimoji="0" lang="en-US" sz="500" b="0" i="0" u="none" strike="noStrike" kern="1200" cap="none" spc="0" normalizeH="0" baseline="0" noProof="0" dirty="0">
                <a:ln>
                  <a:noFill/>
                </a:ln>
                <a:effectLst/>
                <a:uLnTx/>
                <a:uFillTx/>
                <a:ea typeface="+mn-ea"/>
                <a:cs typeface="+mn-cs"/>
              </a:rPr>
              <a:t>Kay J. </a:t>
            </a:r>
            <a:r>
              <a:rPr kumimoji="0" lang="en-US" sz="500" b="0" i="1" u="none" strike="noStrike" kern="1200" cap="none" spc="0" normalizeH="0" baseline="0" noProof="0" dirty="0">
                <a:ln>
                  <a:noFill/>
                </a:ln>
                <a:effectLst/>
                <a:uLnTx/>
                <a:uFillTx/>
                <a:ea typeface="+mn-ea"/>
                <a:cs typeface="+mn-cs"/>
              </a:rPr>
              <a:t>J Intern Med </a:t>
            </a:r>
            <a:r>
              <a:rPr kumimoji="0" lang="en-US" sz="500" b="0" i="0" u="none" strike="noStrike" kern="1200" cap="none" spc="0" normalizeH="0" baseline="0" noProof="0" dirty="0">
                <a:ln>
                  <a:noFill/>
                </a:ln>
                <a:effectLst/>
                <a:uLnTx/>
                <a:uFillTx/>
                <a:ea typeface="+mn-ea"/>
                <a:cs typeface="+mn-cs"/>
              </a:rPr>
              <a:t>2019;285:693–695; 4. Pouillon L, et al. </a:t>
            </a:r>
            <a:r>
              <a:rPr kumimoji="0" lang="en-US" sz="500" b="0" i="1" u="none" strike="noStrike" kern="1200" cap="none" spc="0" normalizeH="0" baseline="0" noProof="0" dirty="0">
                <a:ln>
                  <a:noFill/>
                </a:ln>
                <a:effectLst/>
                <a:uLnTx/>
                <a:uFillTx/>
                <a:ea typeface="+mn-ea"/>
                <a:cs typeface="+mn-cs"/>
              </a:rPr>
              <a:t>Expert Rev Clin Immunol </a:t>
            </a:r>
            <a:r>
              <a:rPr kumimoji="0" lang="en-US" sz="500" b="0" i="0" u="none" strike="noStrike" kern="1200" cap="none" spc="0" normalizeH="0" baseline="0" noProof="0" dirty="0">
                <a:ln>
                  <a:noFill/>
                </a:ln>
                <a:effectLst/>
                <a:uLnTx/>
                <a:uFillTx/>
                <a:ea typeface="+mn-ea"/>
                <a:cs typeface="+mn-cs"/>
              </a:rPr>
              <a:t>2018;14:739–749; </a:t>
            </a:r>
            <a:br>
              <a:rPr kumimoji="0" lang="en-US" sz="500" b="0" i="0" u="none" strike="noStrike" kern="1200" cap="none" spc="0" normalizeH="0" baseline="0" noProof="0" dirty="0">
                <a:ln>
                  <a:noFill/>
                </a:ln>
                <a:effectLst/>
                <a:uLnTx/>
                <a:uFillTx/>
                <a:ea typeface="+mn-ea"/>
                <a:cs typeface="+mn-cs"/>
              </a:rPr>
            </a:br>
            <a:r>
              <a:rPr kumimoji="0" lang="en-US" sz="500" b="0" i="0" u="none" strike="noStrike" kern="1200" cap="none" spc="0" normalizeH="0" baseline="0" noProof="0" dirty="0">
                <a:ln>
                  <a:noFill/>
                </a:ln>
                <a:effectLst/>
                <a:uLnTx/>
                <a:uFillTx/>
                <a:ea typeface="+mn-ea"/>
                <a:cs typeface="+mn-cs"/>
              </a:rPr>
              <a:t>5. </a:t>
            </a:r>
            <a:r>
              <a:rPr kumimoji="0" lang="en-US" sz="500" b="0" i="0" u="none" strike="noStrike" kern="1200" cap="none" spc="0" normalizeH="0" baseline="0" noProof="0" dirty="0" err="1">
                <a:ln>
                  <a:noFill/>
                </a:ln>
                <a:effectLst/>
                <a:uLnTx/>
                <a:uFillTx/>
                <a:ea typeface="+mn-ea"/>
                <a:cs typeface="+mn-cs"/>
              </a:rPr>
              <a:t>Eaker</a:t>
            </a:r>
            <a:r>
              <a:rPr kumimoji="0" lang="en-US" sz="500" b="0" i="0" u="none" strike="noStrike" kern="1200" cap="none" spc="0" normalizeH="0" baseline="0" noProof="0" dirty="0">
                <a:ln>
                  <a:noFill/>
                </a:ln>
                <a:effectLst/>
                <a:uLnTx/>
                <a:uFillTx/>
                <a:ea typeface="+mn-ea"/>
                <a:cs typeface="+mn-cs"/>
              </a:rPr>
              <a:t> ED, Pinsky J, Castelli WP. </a:t>
            </a:r>
            <a:r>
              <a:rPr kumimoji="0" lang="en-US" sz="500" b="0" i="1" u="none" strike="noStrike" kern="1200" cap="none" spc="0" normalizeH="0" baseline="0" noProof="0" dirty="0">
                <a:ln>
                  <a:noFill/>
                </a:ln>
                <a:effectLst/>
                <a:uLnTx/>
                <a:uFillTx/>
                <a:ea typeface="+mn-ea"/>
                <a:cs typeface="+mn-cs"/>
              </a:rPr>
              <a:t>Am J Epidemiol</a:t>
            </a:r>
            <a:r>
              <a:rPr kumimoji="0" lang="en-US" sz="500" b="0" i="0" u="none" strike="noStrike" kern="1200" cap="none" spc="0" normalizeH="0" baseline="0" noProof="0" dirty="0">
                <a:ln>
                  <a:noFill/>
                </a:ln>
                <a:effectLst/>
                <a:uLnTx/>
                <a:uFillTx/>
                <a:ea typeface="+mn-ea"/>
                <a:cs typeface="+mn-cs"/>
              </a:rPr>
              <a:t> 1992;135:854-64; 6. </a:t>
            </a:r>
            <a:r>
              <a:rPr kumimoji="0" lang="en-US" sz="500" b="0" i="0" u="none" strike="noStrike" kern="1200" cap="none" spc="0" normalizeH="0" baseline="0" noProof="0" dirty="0" err="1">
                <a:ln>
                  <a:noFill/>
                </a:ln>
                <a:effectLst/>
                <a:uLnTx/>
                <a:uFillTx/>
                <a:ea typeface="+mn-ea"/>
                <a:cs typeface="+mn-cs"/>
              </a:rPr>
              <a:t>Lembo</a:t>
            </a:r>
            <a:r>
              <a:rPr kumimoji="0" lang="en-US" sz="500" b="0" i="0" u="none" strike="noStrike" kern="1200" cap="none" spc="0" normalizeH="0" baseline="0" noProof="0" dirty="0">
                <a:ln>
                  <a:noFill/>
                </a:ln>
                <a:effectLst/>
                <a:uLnTx/>
                <a:uFillTx/>
                <a:ea typeface="+mn-ea"/>
                <a:cs typeface="+mn-cs"/>
              </a:rPr>
              <a:t> AJ. </a:t>
            </a:r>
            <a:r>
              <a:rPr kumimoji="0" lang="en-US" sz="500" b="0" i="1" u="none" strike="noStrike" kern="1200" cap="none" spc="0" normalizeH="0" baseline="0" noProof="0" dirty="0">
                <a:ln>
                  <a:noFill/>
                </a:ln>
                <a:effectLst/>
                <a:uLnTx/>
                <a:uFillTx/>
                <a:ea typeface="+mn-ea"/>
                <a:cs typeface="+mn-cs"/>
              </a:rPr>
              <a:t>Gastroenterol Hepatol</a:t>
            </a:r>
            <a:r>
              <a:rPr kumimoji="0" lang="en-US" sz="500" b="0" i="0" u="none" strike="noStrike" kern="1200" cap="none" spc="0" normalizeH="0" baseline="0" noProof="0" dirty="0">
                <a:ln>
                  <a:noFill/>
                </a:ln>
                <a:effectLst/>
                <a:uLnTx/>
                <a:uFillTx/>
                <a:ea typeface="+mn-ea"/>
                <a:cs typeface="+mn-cs"/>
              </a:rPr>
              <a:t> 2020;16(7):</a:t>
            </a:r>
            <a:r>
              <a:rPr lang="en-US" sz="500" b="0" i="0" dirty="0">
                <a:effectLst/>
              </a:rPr>
              <a:t>374</a:t>
            </a:r>
            <a:r>
              <a:rPr kumimoji="0" lang="en-US" sz="500" b="0" i="0" u="none" strike="noStrike" kern="1200" cap="none" spc="0" normalizeH="0" baseline="0" noProof="0" dirty="0">
                <a:ln>
                  <a:noFill/>
                </a:ln>
                <a:effectLst/>
                <a:uLnTx/>
                <a:uFillTx/>
                <a:ea typeface="+mn-ea"/>
                <a:cs typeface="+mn-cs"/>
              </a:rPr>
              <a:t>–</a:t>
            </a:r>
            <a:r>
              <a:rPr lang="en-US" sz="500" b="0" i="0" dirty="0">
                <a:effectLst/>
              </a:rPr>
              <a:t>376</a:t>
            </a:r>
            <a:r>
              <a:rPr lang="en-US" sz="500" dirty="0"/>
              <a:t>; 7.</a:t>
            </a:r>
            <a:r>
              <a:rPr kumimoji="0" lang="en-US" sz="500" b="0" i="0" u="none" strike="noStrike" kern="1200" cap="none" spc="0" normalizeH="0" baseline="0" noProof="0" dirty="0">
                <a:ln>
                  <a:noFill/>
                </a:ln>
                <a:effectLst/>
                <a:uLnTx/>
                <a:uFillTx/>
                <a:ea typeface="+mn-ea"/>
                <a:cs typeface="+mn-cs"/>
              </a:rPr>
              <a:t> D'Amico F, et al. </a:t>
            </a:r>
            <a:r>
              <a:rPr kumimoji="0" lang="en-US" sz="500" b="0" i="1" u="none" strike="noStrike" kern="1200" cap="none" spc="0" normalizeH="0" baseline="0" noProof="0" dirty="0">
                <a:ln>
                  <a:noFill/>
                </a:ln>
                <a:effectLst/>
                <a:uLnTx/>
                <a:uFillTx/>
                <a:ea typeface="+mn-ea"/>
                <a:cs typeface="+mn-cs"/>
              </a:rPr>
              <a:t>Dig Liver Dis </a:t>
            </a:r>
            <a:r>
              <a:rPr kumimoji="0" lang="en-US" sz="500" b="0" i="0" u="none" strike="noStrike" kern="1200" cap="none" spc="0" normalizeH="0" baseline="0" noProof="0" dirty="0">
                <a:ln>
                  <a:noFill/>
                </a:ln>
                <a:effectLst/>
                <a:uLnTx/>
                <a:uFillTx/>
                <a:ea typeface="+mn-ea"/>
                <a:cs typeface="+mn-cs"/>
              </a:rPr>
              <a:t>2020;52:138–142; 8. </a:t>
            </a:r>
            <a:r>
              <a:rPr kumimoji="0" lang="en-US" sz="500" b="0" i="0" u="none" strike="noStrike" kern="1200" cap="none" spc="0" normalizeH="0" baseline="0" noProof="0" dirty="0" err="1">
                <a:ln>
                  <a:noFill/>
                </a:ln>
                <a:effectLst/>
                <a:uLnTx/>
                <a:uFillTx/>
                <a:ea typeface="+mn-ea"/>
                <a:cs typeface="+mn-cs"/>
              </a:rPr>
              <a:t>Spanou</a:t>
            </a:r>
            <a:r>
              <a:rPr kumimoji="0" lang="en-US" sz="500" b="0" i="0" u="none" strike="noStrike" kern="1200" cap="none" spc="0" normalizeH="0" baseline="0" noProof="0" dirty="0">
                <a:ln>
                  <a:noFill/>
                </a:ln>
                <a:effectLst/>
                <a:uLnTx/>
                <a:uFillTx/>
                <a:ea typeface="+mn-ea"/>
                <a:cs typeface="+mn-cs"/>
              </a:rPr>
              <a:t> I, et al. </a:t>
            </a:r>
            <a:r>
              <a:rPr kumimoji="0" lang="en-US" sz="500" b="0" i="1" u="none" strike="noStrike" kern="1200" cap="none" spc="0" normalizeH="0" baseline="0" noProof="0" dirty="0">
                <a:ln>
                  <a:noFill/>
                </a:ln>
                <a:effectLst/>
                <a:uLnTx/>
                <a:uFillTx/>
                <a:ea typeface="+mn-ea"/>
                <a:cs typeface="+mn-cs"/>
              </a:rPr>
              <a:t>Front </a:t>
            </a:r>
            <a:r>
              <a:rPr kumimoji="0" lang="en-US" sz="500" b="0" i="1" u="none" strike="noStrike" kern="1200" cap="none" spc="0" normalizeH="0" baseline="0" noProof="0" dirty="0" err="1">
                <a:ln>
                  <a:noFill/>
                </a:ln>
                <a:effectLst/>
                <a:uLnTx/>
                <a:uFillTx/>
                <a:ea typeface="+mn-ea"/>
                <a:cs typeface="+mn-cs"/>
              </a:rPr>
              <a:t>Pharmacol</a:t>
            </a:r>
            <a:r>
              <a:rPr kumimoji="0" lang="en-US" sz="500" b="0" i="1" u="none" strike="noStrike" kern="1200" cap="none" spc="0" normalizeH="0" baseline="0" noProof="0" dirty="0">
                <a:ln>
                  <a:noFill/>
                </a:ln>
                <a:effectLst/>
                <a:uLnTx/>
                <a:uFillTx/>
                <a:ea typeface="+mn-ea"/>
                <a:cs typeface="+mn-cs"/>
              </a:rPr>
              <a:t> </a:t>
            </a:r>
            <a:r>
              <a:rPr kumimoji="0" lang="en-US" sz="500" b="0" i="0" u="none" strike="noStrike" kern="1200" cap="none" spc="0" normalizeH="0" baseline="0" noProof="0" dirty="0">
                <a:ln>
                  <a:noFill/>
                </a:ln>
                <a:effectLst/>
                <a:uLnTx/>
                <a:uFillTx/>
                <a:ea typeface="+mn-ea"/>
                <a:cs typeface="+mn-cs"/>
              </a:rPr>
              <a:t>2019;10:809</a:t>
            </a:r>
            <a:r>
              <a:rPr lang="en-GB" sz="500" b="0" i="0" u="none" strike="noStrike" baseline="0" dirty="0"/>
              <a:t>.</a:t>
            </a:r>
            <a:endParaRPr lang="en-GB" sz="500" b="0" i="0" u="none" strike="noStrike" baseline="0" dirty="0">
              <a:highlight>
                <a:srgbClr val="FFFF00"/>
              </a:highlight>
            </a:endParaRPr>
          </a:p>
        </p:txBody>
      </p:sp>
      <p:sp>
        <p:nvSpPr>
          <p:cNvPr id="11" name="Slide Number Placeholder 10">
            <a:extLst>
              <a:ext uri="{FF2B5EF4-FFF2-40B4-BE49-F238E27FC236}">
                <a16:creationId xmlns:a16="http://schemas.microsoft.com/office/drawing/2014/main" id="{30FCF0B6-1274-2D04-D891-A1DCAF19C637}"/>
              </a:ext>
            </a:extLst>
          </p:cNvPr>
          <p:cNvSpPr>
            <a:spLocks noGrp="1"/>
          </p:cNvSpPr>
          <p:nvPr>
            <p:ph type="sldNum" sz="quarter" idx="12"/>
          </p:nvPr>
        </p:nvSpPr>
        <p:spPr/>
        <p:txBody>
          <a:bodyPr/>
          <a:lstStyle/>
          <a:p>
            <a:fld id="{A31C51CB-94C2-40E2-B070-08CEE3D6A386}" type="slidenum">
              <a:rPr lang="en-GB" smtClean="0"/>
              <a:t>23</a:t>
            </a:fld>
            <a:endParaRPr lang="en-GB"/>
          </a:p>
        </p:txBody>
      </p:sp>
      <p:pic>
        <p:nvPicPr>
          <p:cNvPr id="4" name="Picture 3">
            <a:extLst>
              <a:ext uri="{FF2B5EF4-FFF2-40B4-BE49-F238E27FC236}">
                <a16:creationId xmlns:a16="http://schemas.microsoft.com/office/drawing/2014/main" id="{84FB06FD-DA35-F82E-98EF-D0AD514CFCA8}"/>
              </a:ext>
            </a:extLst>
          </p:cNvPr>
          <p:cNvPicPr>
            <a:picLocks noChangeAspect="1"/>
          </p:cNvPicPr>
          <p:nvPr/>
        </p:nvPicPr>
        <p:blipFill rotWithShape="1">
          <a:blip r:embed="rId3"/>
          <a:srcRect l="-1179" t="-3101" r="-14514" b="41164"/>
          <a:stretch/>
        </p:blipFill>
        <p:spPr>
          <a:xfrm>
            <a:off x="304992" y="1137475"/>
            <a:ext cx="1202747" cy="1202747"/>
          </a:xfrm>
          <a:prstGeom prst="ellipse">
            <a:avLst/>
          </a:prstGeom>
        </p:spPr>
      </p:pic>
      <p:sp>
        <p:nvSpPr>
          <p:cNvPr id="5" name="Rectangle 1">
            <a:extLst>
              <a:ext uri="{FF2B5EF4-FFF2-40B4-BE49-F238E27FC236}">
                <a16:creationId xmlns:a16="http://schemas.microsoft.com/office/drawing/2014/main" id="{5CA8725B-BAAB-D01F-88B4-53B0E464DE12}"/>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71BC"/>
                </a:solidFill>
                <a:effectLst/>
                <a:latin typeface="BlinkMacSystemFont"/>
              </a:rPr>
              <a:t>. </a:t>
            </a:r>
            <a:r>
              <a:rPr kumimoji="0" lang="en-US" altLang="en-US" sz="6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035741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a:t>Nurses play a crucial role in mitigating the </a:t>
            </a:r>
            <a:br>
              <a:rPr lang="en-US" b="1"/>
            </a:br>
            <a:r>
              <a:rPr lang="en-US" b="1"/>
              <a:t>nocebo effect</a:t>
            </a:r>
          </a:p>
        </p:txBody>
      </p:sp>
      <p:sp>
        <p:nvSpPr>
          <p:cNvPr id="43" name="TextBox 42">
            <a:extLst>
              <a:ext uri="{FF2B5EF4-FFF2-40B4-BE49-F238E27FC236}">
                <a16:creationId xmlns:a16="http://schemas.microsoft.com/office/drawing/2014/main" id="{D6AAD9D5-B831-0F00-22B7-E05EAB9C0F04}"/>
              </a:ext>
            </a:extLst>
          </p:cNvPr>
          <p:cNvSpPr txBox="1"/>
          <p:nvPr/>
        </p:nvSpPr>
        <p:spPr>
          <a:xfrm>
            <a:off x="1929613" y="1150848"/>
            <a:ext cx="6766834" cy="3062377"/>
          </a:xfrm>
          <a:prstGeom prst="rect">
            <a:avLst/>
          </a:prstGeom>
          <a:noFill/>
        </p:spPr>
        <p:txBody>
          <a:bodyPr wrap="square">
            <a:spAutoFit/>
          </a:bodyPr>
          <a:lstStyle/>
          <a:p>
            <a:pPr>
              <a:spcBef>
                <a:spcPts val="600"/>
              </a:spcBef>
              <a:spcAft>
                <a:spcPts val="800"/>
              </a:spcAft>
            </a:pPr>
            <a:r>
              <a:rPr lang="en-US" sz="1400">
                <a:solidFill>
                  <a:schemeClr val="accent1"/>
                </a:solidFill>
              </a:rPr>
              <a:t>Nurses and other HCPs directly involved in patient care play a crucial role in mitigating the nocebo effect when a patient is introduced to a new treatment,</a:t>
            </a:r>
            <a:r>
              <a:rPr lang="en-US" sz="1400" baseline="30000">
                <a:solidFill>
                  <a:schemeClr val="accent1"/>
                </a:solidFill>
              </a:rPr>
              <a:t>1–5 </a:t>
            </a:r>
            <a:br>
              <a:rPr lang="en-US" sz="1400" baseline="30000">
                <a:solidFill>
                  <a:schemeClr val="accent1"/>
                </a:solidFill>
              </a:rPr>
            </a:br>
            <a:r>
              <a:rPr lang="en-US" sz="1400">
                <a:solidFill>
                  <a:schemeClr val="accent1"/>
                </a:solidFill>
              </a:rPr>
              <a:t>for example, when switching from a reference medicine to its biosimilar</a:t>
            </a:r>
            <a:r>
              <a:rPr lang="en-US" sz="1400" baseline="30000">
                <a:solidFill>
                  <a:schemeClr val="accent1"/>
                </a:solidFill>
              </a:rPr>
              <a:t>6</a:t>
            </a:r>
            <a:r>
              <a:rPr lang="en-US" sz="1400">
                <a:solidFill>
                  <a:schemeClr val="accent1"/>
                </a:solidFill>
              </a:rPr>
              <a:t> </a:t>
            </a:r>
          </a:p>
          <a:p>
            <a:pPr marL="137160" indent="-137160">
              <a:spcBef>
                <a:spcPts val="600"/>
              </a:spcBef>
              <a:spcAft>
                <a:spcPts val="200"/>
              </a:spcAft>
              <a:buFont typeface="Arial" panose="020B0604020202020204" pitchFamily="34" charset="0"/>
              <a:buChar char="•"/>
            </a:pPr>
            <a:r>
              <a:rPr lang="en-US" sz="1400" b="1">
                <a:solidFill>
                  <a:schemeClr val="accent1"/>
                </a:solidFill>
              </a:rPr>
              <a:t>Educating nurses about new treatments</a:t>
            </a:r>
            <a:r>
              <a:rPr lang="en-US" sz="1400">
                <a:solidFill>
                  <a:schemeClr val="accent1"/>
                </a:solidFill>
              </a:rPr>
              <a:t>, including biosimilars, to </a:t>
            </a:r>
            <a:r>
              <a:rPr lang="en-US" sz="1400" b="1">
                <a:solidFill>
                  <a:schemeClr val="accent1"/>
                </a:solidFill>
              </a:rPr>
              <a:t>build confidence </a:t>
            </a:r>
            <a:r>
              <a:rPr lang="en-US" sz="1400">
                <a:solidFill>
                  <a:schemeClr val="accent1"/>
                </a:solidFill>
              </a:rPr>
              <a:t>in these treatments’ safety and efficacy, enables them to appropriately </a:t>
            </a:r>
            <a:r>
              <a:rPr lang="en-US" sz="1400" b="1">
                <a:solidFill>
                  <a:schemeClr val="accent1"/>
                </a:solidFill>
              </a:rPr>
              <a:t>convey treatment information to patients</a:t>
            </a:r>
            <a:r>
              <a:rPr lang="en-US" sz="1400" baseline="30000">
                <a:solidFill>
                  <a:schemeClr val="accent1"/>
                </a:solidFill>
              </a:rPr>
              <a:t>1–5</a:t>
            </a:r>
            <a:endParaRPr lang="en-US" sz="1400">
              <a:solidFill>
                <a:schemeClr val="accent1"/>
              </a:solidFill>
            </a:endParaRPr>
          </a:p>
          <a:p>
            <a:pPr marL="137160" indent="-137160">
              <a:spcBef>
                <a:spcPts val="600"/>
              </a:spcBef>
              <a:spcAft>
                <a:spcPts val="200"/>
              </a:spcAft>
              <a:buFont typeface="Arial" panose="020B0604020202020204" pitchFamily="34" charset="0"/>
              <a:buChar char="•"/>
            </a:pPr>
            <a:r>
              <a:rPr lang="en-US" sz="1400" b="1">
                <a:solidFill>
                  <a:schemeClr val="accent1"/>
                </a:solidFill>
              </a:rPr>
              <a:t>Fostering an empathetic and positive attitude</a:t>
            </a:r>
            <a:r>
              <a:rPr lang="en-US" sz="1400">
                <a:solidFill>
                  <a:schemeClr val="accent1"/>
                </a:solidFill>
              </a:rPr>
              <a:t> can </a:t>
            </a:r>
            <a:r>
              <a:rPr lang="en-US" sz="1400" b="1">
                <a:solidFill>
                  <a:schemeClr val="accent1"/>
                </a:solidFill>
              </a:rPr>
              <a:t>contribute</a:t>
            </a:r>
            <a:r>
              <a:rPr lang="en-US" sz="1400">
                <a:solidFill>
                  <a:schemeClr val="accent1"/>
                </a:solidFill>
              </a:rPr>
              <a:t> to creating </a:t>
            </a:r>
            <a:br>
              <a:rPr lang="en-US" sz="1400">
                <a:solidFill>
                  <a:schemeClr val="accent1"/>
                </a:solidFill>
              </a:rPr>
            </a:br>
            <a:r>
              <a:rPr lang="en-US" sz="1400">
                <a:solidFill>
                  <a:schemeClr val="accent1"/>
                </a:solidFill>
              </a:rPr>
              <a:t>a supportive therapeutic </a:t>
            </a:r>
            <a:r>
              <a:rPr lang="en-US" sz="1400" b="1">
                <a:solidFill>
                  <a:schemeClr val="accent1"/>
                </a:solidFill>
              </a:rPr>
              <a:t>environment </a:t>
            </a:r>
            <a:r>
              <a:rPr lang="en-US" sz="1400">
                <a:solidFill>
                  <a:schemeClr val="accent1"/>
                </a:solidFill>
              </a:rPr>
              <a:t>that reduces the risk of facilitating a </a:t>
            </a:r>
            <a:br>
              <a:rPr lang="en-US" sz="1400">
                <a:solidFill>
                  <a:schemeClr val="accent1"/>
                </a:solidFill>
              </a:rPr>
            </a:br>
            <a:r>
              <a:rPr lang="en-US" sz="1400">
                <a:solidFill>
                  <a:schemeClr val="accent1"/>
                </a:solidFill>
              </a:rPr>
              <a:t>nocebo effect</a:t>
            </a:r>
            <a:r>
              <a:rPr lang="en-US" sz="1400" baseline="30000">
                <a:solidFill>
                  <a:schemeClr val="accent1"/>
                </a:solidFill>
              </a:rPr>
              <a:t>1,3,4</a:t>
            </a:r>
            <a:endParaRPr lang="en-US" sz="1400">
              <a:solidFill>
                <a:schemeClr val="accent1"/>
              </a:solidFill>
            </a:endParaRPr>
          </a:p>
          <a:p>
            <a:pPr marL="137160" indent="-137160">
              <a:spcBef>
                <a:spcPts val="600"/>
              </a:spcBef>
              <a:spcAft>
                <a:spcPts val="200"/>
              </a:spcAft>
              <a:buFont typeface="Arial" panose="020B0604020202020204" pitchFamily="34" charset="0"/>
              <a:buChar char="•"/>
            </a:pPr>
            <a:r>
              <a:rPr lang="en-US" sz="1400" b="1">
                <a:solidFill>
                  <a:schemeClr val="accent1"/>
                </a:solidFill>
              </a:rPr>
              <a:t>Effective verbal and non-verbal communication </a:t>
            </a:r>
            <a:r>
              <a:rPr lang="en-US" sz="1400">
                <a:solidFill>
                  <a:schemeClr val="accent1"/>
                </a:solidFill>
              </a:rPr>
              <a:t>can positively </a:t>
            </a:r>
            <a:r>
              <a:rPr lang="en-US" sz="1400" b="1">
                <a:solidFill>
                  <a:schemeClr val="accent1"/>
                </a:solidFill>
              </a:rPr>
              <a:t>influence</a:t>
            </a:r>
            <a:r>
              <a:rPr lang="en-US" sz="1400">
                <a:solidFill>
                  <a:schemeClr val="accent1"/>
                </a:solidFill>
              </a:rPr>
              <a:t> patient perceptions and responses to a new treatment</a:t>
            </a:r>
            <a:r>
              <a:rPr lang="en-US" sz="1400" baseline="30000">
                <a:solidFill>
                  <a:schemeClr val="accent1"/>
                </a:solidFill>
              </a:rPr>
              <a:t>1–3,5</a:t>
            </a:r>
            <a:br>
              <a:rPr lang="en-US" sz="1400">
                <a:solidFill>
                  <a:schemeClr val="accent1"/>
                </a:solidFill>
              </a:rPr>
            </a:br>
            <a:endParaRPr lang="en-US" sz="1400">
              <a:solidFill>
                <a:schemeClr val="accent1"/>
              </a:solidFill>
            </a:endParaRPr>
          </a:p>
        </p:txBody>
      </p:sp>
      <p:sp>
        <p:nvSpPr>
          <p:cNvPr id="3" name="Footer Placeholder 2">
            <a:extLst>
              <a:ext uri="{FF2B5EF4-FFF2-40B4-BE49-F238E27FC236}">
                <a16:creationId xmlns:a16="http://schemas.microsoft.com/office/drawing/2014/main" id="{AECDBD7F-F726-911C-236F-826AD5591669}"/>
              </a:ext>
            </a:extLst>
          </p:cNvPr>
          <p:cNvSpPr>
            <a:spLocks noGrp="1"/>
          </p:cNvSpPr>
          <p:nvPr>
            <p:ph type="ftr" sz="quarter" idx="11"/>
          </p:nvPr>
        </p:nvSpPr>
        <p:spPr>
          <a:xfrm>
            <a:off x="420573" y="4635610"/>
            <a:ext cx="7410416" cy="326744"/>
          </a:xfrm>
        </p:spPr>
        <p:txBody>
          <a:bodyPr/>
          <a:lstStyle/>
          <a:p>
            <a:pPr algn="l"/>
            <a:r>
              <a:rPr lang="en-GB" sz="500" b="0" i="0" u="none" strike="noStrike" baseline="0" dirty="0"/>
              <a:t>HCP, healthcare professional</a:t>
            </a:r>
            <a:endParaRPr lang="en-GB" sz="500" dirty="0"/>
          </a:p>
          <a:p>
            <a:pPr algn="l"/>
            <a:r>
              <a:rPr lang="en-GB" sz="500" dirty="0"/>
              <a:t>1</a:t>
            </a:r>
            <a:r>
              <a:rPr lang="en-GB" sz="500" b="0" i="0" u="none" strike="noStrike" baseline="0" dirty="0"/>
              <a:t>. </a:t>
            </a:r>
            <a:r>
              <a:rPr kumimoji="0" lang="en-US" sz="500" b="0" i="0" u="none" strike="noStrike" kern="1200" cap="none" spc="0" normalizeH="0" baseline="0" noProof="0" dirty="0">
                <a:ln>
                  <a:noFill/>
                </a:ln>
                <a:effectLst/>
                <a:uLnTx/>
                <a:uFillTx/>
                <a:ea typeface="+mn-ea"/>
                <a:cs typeface="+mn-cs"/>
              </a:rPr>
              <a:t>Kay J. </a:t>
            </a:r>
            <a:r>
              <a:rPr kumimoji="0" lang="en-US" sz="500" b="0" i="1" u="none" strike="noStrike" kern="1200" cap="none" spc="0" normalizeH="0" baseline="0" noProof="0" dirty="0">
                <a:ln>
                  <a:noFill/>
                </a:ln>
                <a:effectLst/>
                <a:uLnTx/>
                <a:uFillTx/>
                <a:ea typeface="+mn-ea"/>
                <a:cs typeface="+mn-cs"/>
              </a:rPr>
              <a:t>J Intern Med </a:t>
            </a:r>
            <a:r>
              <a:rPr kumimoji="0" lang="en-US" sz="500" b="0" i="0" u="none" strike="noStrike" kern="1200" cap="none" spc="0" normalizeH="0" baseline="0" noProof="0" dirty="0">
                <a:ln>
                  <a:noFill/>
                </a:ln>
                <a:effectLst/>
                <a:uLnTx/>
                <a:uFillTx/>
                <a:ea typeface="+mn-ea"/>
                <a:cs typeface="+mn-cs"/>
              </a:rPr>
              <a:t>2019;285:693–695; 2. Pouillon L, et al. </a:t>
            </a:r>
            <a:r>
              <a:rPr kumimoji="0" lang="en-US" sz="500" b="0" i="1" u="none" strike="noStrike" kern="1200" cap="none" spc="0" normalizeH="0" baseline="0" noProof="0" dirty="0">
                <a:ln>
                  <a:noFill/>
                </a:ln>
                <a:effectLst/>
                <a:uLnTx/>
                <a:uFillTx/>
                <a:ea typeface="+mn-ea"/>
                <a:cs typeface="+mn-cs"/>
              </a:rPr>
              <a:t>Expert Rev Clin Immunol </a:t>
            </a:r>
            <a:r>
              <a:rPr kumimoji="0" lang="en-US" sz="500" b="0" i="0" u="none" strike="noStrike" kern="1200" cap="none" spc="0" normalizeH="0" baseline="0" noProof="0" dirty="0">
                <a:ln>
                  <a:noFill/>
                </a:ln>
                <a:effectLst/>
                <a:uLnTx/>
                <a:uFillTx/>
                <a:ea typeface="+mn-ea"/>
                <a:cs typeface="+mn-cs"/>
              </a:rPr>
              <a:t>2018;14:739–749; 3. D'Amico F, et al. </a:t>
            </a:r>
            <a:r>
              <a:rPr kumimoji="0" lang="en-US" sz="500" b="0" i="1" u="none" strike="noStrike" kern="1200" cap="none" spc="0" normalizeH="0" baseline="0" noProof="0" dirty="0">
                <a:ln>
                  <a:noFill/>
                </a:ln>
                <a:effectLst/>
                <a:uLnTx/>
                <a:uFillTx/>
                <a:ea typeface="+mn-ea"/>
                <a:cs typeface="+mn-cs"/>
              </a:rPr>
              <a:t>Dig Liver Dis </a:t>
            </a:r>
            <a:r>
              <a:rPr kumimoji="0" lang="en-US" sz="500" b="0" i="0" u="none" strike="noStrike" kern="1200" cap="none" spc="0" normalizeH="0" baseline="0" noProof="0" dirty="0">
                <a:ln>
                  <a:noFill/>
                </a:ln>
                <a:effectLst/>
                <a:uLnTx/>
                <a:uFillTx/>
                <a:ea typeface="+mn-ea"/>
                <a:cs typeface="+mn-cs"/>
              </a:rPr>
              <a:t>2020;52:138–142; 4. </a:t>
            </a:r>
            <a:r>
              <a:rPr lang="en-GB" sz="500" b="0" i="0" u="none" strike="noStrike" baseline="0" dirty="0" err="1"/>
              <a:t>Colloca</a:t>
            </a:r>
            <a:r>
              <a:rPr lang="en-GB" sz="500" b="0" i="0" u="none" strike="noStrike" baseline="0" dirty="0"/>
              <a:t> L, et al. </a:t>
            </a:r>
            <a:r>
              <a:rPr lang="en-GB" sz="500" b="0" i="1" u="none" strike="noStrike" baseline="0" dirty="0"/>
              <a:t>Front </a:t>
            </a:r>
            <a:r>
              <a:rPr lang="en-GB" sz="500" b="0" i="1" u="none" strike="noStrike" baseline="0" dirty="0" err="1"/>
              <a:t>Pharmacol</a:t>
            </a:r>
            <a:r>
              <a:rPr lang="en-GB" sz="500" b="0" i="1" u="none" strike="noStrike" baseline="0" dirty="0"/>
              <a:t> </a:t>
            </a:r>
            <a:r>
              <a:rPr lang="en-GB" sz="500" b="0" i="0" u="none" strike="noStrike" baseline="0" dirty="0"/>
              <a:t>2019;10:1372; </a:t>
            </a:r>
            <a:br>
              <a:rPr lang="en-GB" sz="500" b="0" i="0" u="none" strike="noStrike" baseline="0" dirty="0"/>
            </a:br>
            <a:r>
              <a:rPr lang="en-GB" sz="500" b="0" i="0" u="none" strike="noStrike" baseline="0" dirty="0"/>
              <a:t>5. </a:t>
            </a:r>
            <a:r>
              <a:rPr lang="en-GB" sz="500" b="0" i="0" u="none" strike="noStrike" baseline="0" dirty="0" err="1"/>
              <a:t>Kravvariti</a:t>
            </a:r>
            <a:r>
              <a:rPr lang="en-GB" sz="500" b="0" i="0" u="none" strike="noStrike" baseline="0" dirty="0"/>
              <a:t> E, et al. </a:t>
            </a:r>
            <a:r>
              <a:rPr lang="en-GB" sz="500" b="0" i="1" u="none" strike="noStrike" baseline="0" dirty="0"/>
              <a:t>Nat Rev </a:t>
            </a:r>
            <a:r>
              <a:rPr lang="en-GB" sz="500" b="0" i="1" u="none" strike="noStrike" baseline="0" dirty="0" err="1"/>
              <a:t>Rheumatol</a:t>
            </a:r>
            <a:r>
              <a:rPr lang="en-GB" sz="500" b="0" i="1" u="none" strike="noStrike" baseline="0" dirty="0"/>
              <a:t> </a:t>
            </a:r>
            <a:r>
              <a:rPr lang="en-GB" sz="500" b="0" i="0" u="none" strike="noStrike" baseline="0" dirty="0"/>
              <a:t>2018;14:727–740; 6. Weise M, et al. </a:t>
            </a:r>
            <a:r>
              <a:rPr lang="en-GB" sz="500" b="0" i="1" u="none" strike="noStrike" baseline="0" dirty="0"/>
              <a:t>Blood</a:t>
            </a:r>
            <a:r>
              <a:rPr lang="en-GB" sz="500" b="0" i="0" u="none" strike="noStrike" baseline="0" dirty="0"/>
              <a:t> 2012;120:5111–5117. </a:t>
            </a:r>
          </a:p>
        </p:txBody>
      </p:sp>
      <p:sp>
        <p:nvSpPr>
          <p:cNvPr id="9" name="Slide Number Placeholder 8">
            <a:extLst>
              <a:ext uri="{FF2B5EF4-FFF2-40B4-BE49-F238E27FC236}">
                <a16:creationId xmlns:a16="http://schemas.microsoft.com/office/drawing/2014/main" id="{18FA9975-0F94-B83A-5FE4-B5F979C2226F}"/>
              </a:ext>
            </a:extLst>
          </p:cNvPr>
          <p:cNvSpPr>
            <a:spLocks noGrp="1"/>
          </p:cNvSpPr>
          <p:nvPr>
            <p:ph type="sldNum" sz="quarter" idx="12"/>
          </p:nvPr>
        </p:nvSpPr>
        <p:spPr>
          <a:xfrm>
            <a:off x="243001" y="4827355"/>
            <a:ext cx="148500" cy="135000"/>
          </a:xfrm>
        </p:spPr>
        <p:txBody>
          <a:bodyPr/>
          <a:lstStyle/>
          <a:p>
            <a:fld id="{A31C51CB-94C2-40E2-B070-08CEE3D6A386}" type="slidenum">
              <a:rPr lang="en-GB" smtClean="0"/>
              <a:t>24</a:t>
            </a:fld>
            <a:endParaRPr lang="en-GB"/>
          </a:p>
        </p:txBody>
      </p:sp>
      <p:pic>
        <p:nvPicPr>
          <p:cNvPr id="11" name="Picture 10" descr="A person in a white coat and a red shirt&#10;&#10;Description automatically generated">
            <a:extLst>
              <a:ext uri="{FF2B5EF4-FFF2-40B4-BE49-F238E27FC236}">
                <a16:creationId xmlns:a16="http://schemas.microsoft.com/office/drawing/2014/main" id="{704CC59F-464E-CF20-942B-DE5E1CE98A2D}"/>
              </a:ext>
            </a:extLst>
          </p:cNvPr>
          <p:cNvPicPr>
            <a:picLocks noChangeAspect="1"/>
          </p:cNvPicPr>
          <p:nvPr/>
        </p:nvPicPr>
        <p:blipFill>
          <a:blip r:embed="rId3"/>
          <a:stretch>
            <a:fillRect/>
          </a:stretch>
        </p:blipFill>
        <p:spPr>
          <a:xfrm>
            <a:off x="185187" y="1150848"/>
            <a:ext cx="1782134" cy="2921531"/>
          </a:xfrm>
          <a:prstGeom prst="rect">
            <a:avLst/>
          </a:prstGeom>
        </p:spPr>
      </p:pic>
    </p:spTree>
    <p:extLst>
      <p:ext uri="{BB962C8B-B14F-4D97-AF65-F5344CB8AC3E}">
        <p14:creationId xmlns:p14="http://schemas.microsoft.com/office/powerpoint/2010/main" val="39317055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3A3EA-6422-254D-C6B9-00EE3815CC0C}"/>
              </a:ext>
            </a:extLst>
          </p:cNvPr>
          <p:cNvSpPr>
            <a:spLocks noGrp="1"/>
          </p:cNvSpPr>
          <p:nvPr>
            <p:ph type="ctrTitle"/>
          </p:nvPr>
        </p:nvSpPr>
        <p:spPr/>
        <p:txBody>
          <a:bodyPr/>
          <a:lstStyle/>
          <a:p>
            <a:r>
              <a:rPr lang="en-US"/>
              <a:t>Key takeaways</a:t>
            </a:r>
          </a:p>
        </p:txBody>
      </p:sp>
    </p:spTree>
    <p:extLst>
      <p:ext uri="{BB962C8B-B14F-4D97-AF65-F5344CB8AC3E}">
        <p14:creationId xmlns:p14="http://schemas.microsoft.com/office/powerpoint/2010/main" val="30439093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b="1"/>
              <a:t>Reference and biosimilar biologic medicines: </a:t>
            </a:r>
            <a:br>
              <a:rPr lang="en-US" b="1"/>
            </a:br>
            <a:r>
              <a:rPr lang="en-US" b="1"/>
              <a:t>An overview</a:t>
            </a:r>
            <a:br>
              <a:rPr lang="en-US" sz="2800" b="1"/>
            </a:br>
            <a:endParaRPr lang="en-US" sz="2800" b="1"/>
          </a:p>
        </p:txBody>
      </p:sp>
      <p:sp>
        <p:nvSpPr>
          <p:cNvPr id="3" name="Content Placeholder 2"/>
          <p:cNvSpPr>
            <a:spLocks noGrp="1"/>
          </p:cNvSpPr>
          <p:nvPr>
            <p:ph idx="1"/>
          </p:nvPr>
        </p:nvSpPr>
        <p:spPr>
          <a:xfrm>
            <a:off x="720791" y="1251831"/>
            <a:ext cx="7573049" cy="330965"/>
          </a:xfrm>
        </p:spPr>
        <p:txBody>
          <a:bodyPr lIns="91440">
            <a:normAutofit/>
          </a:bodyPr>
          <a:lstStyle/>
          <a:p>
            <a:pPr marL="0" indent="0">
              <a:buNone/>
            </a:pPr>
            <a:r>
              <a:rPr lang="en-GB" sz="1100">
                <a:solidFill>
                  <a:schemeClr val="tx2"/>
                </a:solidFill>
              </a:rPr>
              <a:t>All biologic medicines, whether reference or biosimilar medicines, are </a:t>
            </a:r>
            <a:r>
              <a:rPr lang="en-US" sz="1100">
                <a:solidFill>
                  <a:schemeClr val="tx2"/>
                </a:solidFill>
              </a:rPr>
              <a:t>made by or extracted from living organisms, tissues or cells</a:t>
            </a:r>
            <a:r>
              <a:rPr lang="en-GB" sz="1100" baseline="30000">
                <a:solidFill>
                  <a:schemeClr val="tx2"/>
                </a:solidFill>
              </a:rPr>
              <a:t>1</a:t>
            </a:r>
            <a:endParaRPr lang="en-US" sz="1100">
              <a:solidFill>
                <a:schemeClr val="tx2"/>
              </a:solidFill>
            </a:endParaRPr>
          </a:p>
        </p:txBody>
      </p:sp>
      <p:sp>
        <p:nvSpPr>
          <p:cNvPr id="10" name="Rectangle 9"/>
          <p:cNvSpPr/>
          <p:nvPr/>
        </p:nvSpPr>
        <p:spPr>
          <a:xfrm>
            <a:off x="707351" y="1741782"/>
            <a:ext cx="757304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2"/>
                </a:solidFill>
                <a:effectLst/>
                <a:uLnTx/>
                <a:uFillTx/>
                <a:ea typeface="+mn-ea"/>
                <a:cs typeface="+mn-cs"/>
              </a:rPr>
              <a:t>Due to their biological nature and complex manufacturing process, there is a degree of inherent variability in all biologic medicines – </a:t>
            </a:r>
            <a:r>
              <a:rPr kumimoji="0" lang="en-GB" sz="1100" i="0" u="none" strike="noStrike" kern="1200" cap="none" spc="0" normalizeH="0" baseline="0" noProof="0">
                <a:ln>
                  <a:noFill/>
                </a:ln>
                <a:solidFill>
                  <a:schemeClr val="tx2"/>
                </a:solidFill>
                <a:effectLst/>
                <a:uLnTx/>
                <a:uFillTx/>
                <a:ea typeface="+mn-ea"/>
                <a:cs typeface="+mn-cs"/>
              </a:rPr>
              <a:t>no two batches </a:t>
            </a:r>
            <a:r>
              <a:rPr kumimoji="0" lang="en-GB" sz="1100" i="0" u="none" strike="noStrike" kern="1200" cap="none" spc="0" normalizeH="0" baseline="0" noProof="0">
                <a:ln>
                  <a:noFill/>
                </a:ln>
                <a:solidFill>
                  <a:schemeClr val="accent1"/>
                </a:solidFill>
                <a:effectLst/>
                <a:uLnTx/>
                <a:uFillTx/>
                <a:ea typeface="+mn-ea"/>
                <a:cs typeface="+mn-cs"/>
              </a:rPr>
              <a:t>of any biologic </a:t>
            </a:r>
            <a:r>
              <a:rPr kumimoji="0" lang="en-GB" sz="1100" i="0" u="none" strike="noStrike" kern="1200" cap="none" spc="0" normalizeH="0" baseline="0" noProof="0">
                <a:ln>
                  <a:noFill/>
                </a:ln>
                <a:solidFill>
                  <a:schemeClr val="tx2"/>
                </a:solidFill>
                <a:effectLst/>
                <a:uLnTx/>
                <a:uFillTx/>
                <a:ea typeface="+mn-ea"/>
                <a:cs typeface="+mn-cs"/>
              </a:rPr>
              <a:t>are 100% identical</a:t>
            </a:r>
            <a:r>
              <a:rPr kumimoji="0" lang="en-GB" sz="1100" i="0" u="none" strike="noStrike" kern="1200" cap="none" spc="0" normalizeH="0" baseline="30000" noProof="0">
                <a:ln>
                  <a:noFill/>
                </a:ln>
                <a:solidFill>
                  <a:schemeClr val="tx2"/>
                </a:solidFill>
                <a:effectLst/>
                <a:uLnTx/>
                <a:uFillTx/>
                <a:ea typeface="+mn-ea"/>
                <a:cs typeface="+mn-cs"/>
              </a:rPr>
              <a:t>2</a:t>
            </a:r>
            <a:r>
              <a:rPr kumimoji="0" lang="en-GB" sz="1100" i="0" u="none" strike="noStrike" kern="1200" cap="none" spc="0" normalizeH="0" baseline="0" noProof="0">
                <a:ln>
                  <a:noFill/>
                </a:ln>
                <a:solidFill>
                  <a:schemeClr val="tx2"/>
                </a:solidFill>
                <a:effectLst/>
                <a:uLnTx/>
                <a:uFillTx/>
                <a:ea typeface="+mn-ea"/>
                <a:cs typeface="+mn-cs"/>
              </a:rPr>
              <a:t> </a:t>
            </a:r>
            <a:endParaRPr kumimoji="0" lang="en-US" sz="1100" i="0" u="none" strike="noStrike" kern="1200" cap="none" spc="0" normalizeH="0" baseline="0" noProof="0">
              <a:ln>
                <a:noFill/>
              </a:ln>
              <a:solidFill>
                <a:schemeClr val="tx2"/>
              </a:solidFill>
              <a:effectLst/>
              <a:uLnTx/>
              <a:uFillTx/>
              <a:ea typeface="+mn-ea"/>
              <a:cs typeface="+mn-cs"/>
            </a:endParaRPr>
          </a:p>
        </p:txBody>
      </p:sp>
      <p:sp>
        <p:nvSpPr>
          <p:cNvPr id="6" name="Rectangle 5">
            <a:extLst>
              <a:ext uri="{FF2B5EF4-FFF2-40B4-BE49-F238E27FC236}">
                <a16:creationId xmlns:a16="http://schemas.microsoft.com/office/drawing/2014/main" id="{AAB46911-8E5E-850A-A463-EFF44B4EF6EC}"/>
              </a:ext>
            </a:extLst>
          </p:cNvPr>
          <p:cNvSpPr/>
          <p:nvPr/>
        </p:nvSpPr>
        <p:spPr>
          <a:xfrm>
            <a:off x="707351" y="2285697"/>
            <a:ext cx="7573049"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a:t>
            </a:r>
            <a:r>
              <a:rPr kumimoji="0" lang="en-US" sz="1100" b="0" i="0" u="none" strike="noStrike" kern="1200" cap="none" spc="0" normalizeH="0" baseline="0" noProof="0">
                <a:ln>
                  <a:noFill/>
                </a:ln>
                <a:solidFill>
                  <a:schemeClr val="tx2"/>
                </a:solidFill>
                <a:effectLst/>
                <a:uLnTx/>
                <a:uFillTx/>
                <a:ea typeface="+mn-ea"/>
                <a:cs typeface="+mn-cs"/>
              </a:rPr>
              <a:t>Biosimilarity</a:t>
            </a:r>
            <a:r>
              <a:rPr lang="en-US" sz="1100">
                <a:solidFill>
                  <a:schemeClr val="tx2"/>
                </a:solidFill>
              </a:rPr>
              <a:t>’</a:t>
            </a:r>
            <a:r>
              <a:rPr kumimoji="0" lang="en-US" sz="1100" b="0" i="0" u="none" strike="noStrike" kern="1200" cap="none" spc="0" normalizeH="0" baseline="0" noProof="0">
                <a:ln>
                  <a:noFill/>
                </a:ln>
                <a:solidFill>
                  <a:schemeClr val="tx2"/>
                </a:solidFill>
                <a:effectLst/>
                <a:uLnTx/>
                <a:uFillTx/>
                <a:ea typeface="+mn-ea"/>
                <a:cs typeface="+mn-cs"/>
              </a:rPr>
              <a:t> is established through a comprehensive process based on comparisons between the biosimilar and the reference biologic </a:t>
            </a:r>
            <a:r>
              <a:rPr lang="en-US" sz="1100">
                <a:solidFill>
                  <a:schemeClr val="tx2"/>
                </a:solidFill>
              </a:rPr>
              <a:t>in terms of quality, efficacy, and safety.</a:t>
            </a:r>
            <a:r>
              <a:rPr lang="en-US" sz="1100" baseline="30000">
                <a:solidFill>
                  <a:schemeClr val="tx2"/>
                </a:solidFill>
              </a:rPr>
              <a:t>3</a:t>
            </a:r>
            <a:r>
              <a:rPr lang="en-US" sz="1100">
                <a:solidFill>
                  <a:schemeClr val="tx2"/>
                </a:solidFill>
              </a:rPr>
              <a:t> Therefore, physicians and patients can expect the same clinical outcome when using the reference or biosimilar</a:t>
            </a:r>
            <a:r>
              <a:rPr lang="en-US" sz="1100" baseline="30000">
                <a:solidFill>
                  <a:schemeClr val="tx2"/>
                </a:solidFill>
              </a:rPr>
              <a:t>4</a:t>
            </a:r>
            <a:endParaRPr kumimoji="0" lang="en-US" sz="1100" b="0" i="0" u="none" strike="noStrike" kern="1200" cap="none" spc="0" normalizeH="0" baseline="30000" noProof="0">
              <a:ln>
                <a:noFill/>
              </a:ln>
              <a:solidFill>
                <a:schemeClr val="tx2"/>
              </a:solidFill>
              <a:effectLst/>
              <a:uLnTx/>
              <a:uFillTx/>
              <a:ea typeface="+mn-ea"/>
              <a:cs typeface="+mn-cs"/>
            </a:endParaRPr>
          </a:p>
        </p:txBody>
      </p:sp>
      <p:sp>
        <p:nvSpPr>
          <p:cNvPr id="21" name="Rectangle 20">
            <a:extLst>
              <a:ext uri="{FF2B5EF4-FFF2-40B4-BE49-F238E27FC236}">
                <a16:creationId xmlns:a16="http://schemas.microsoft.com/office/drawing/2014/main" id="{A48B08CD-7400-813F-95BD-3F5DA975DF22}"/>
              </a:ext>
            </a:extLst>
          </p:cNvPr>
          <p:cNvSpPr/>
          <p:nvPr/>
        </p:nvSpPr>
        <p:spPr>
          <a:xfrm>
            <a:off x="718254" y="3027398"/>
            <a:ext cx="7573049"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solidFill>
                  <a:schemeClr val="tx2"/>
                </a:solidFill>
                <a:effectLst/>
                <a:uLnTx/>
                <a:uFillTx/>
                <a:ea typeface="+mn-ea"/>
                <a:cs typeface="+mn-cs"/>
              </a:rPr>
              <a:t>Switching from a reference to its biosimilar medicine can be based on factors such as improving patient access to treatment, and sustainability of care</a:t>
            </a:r>
            <a:r>
              <a:rPr kumimoji="0" lang="en-US" sz="1100" i="0" u="none" strike="noStrike" kern="1200" cap="none" spc="0" normalizeH="0" baseline="30000" noProof="0">
                <a:ln>
                  <a:noFill/>
                </a:ln>
                <a:solidFill>
                  <a:schemeClr val="tx2"/>
                </a:solidFill>
                <a:effectLst/>
                <a:uLnTx/>
                <a:uFillTx/>
                <a:ea typeface="+mn-ea"/>
                <a:cs typeface="+mn-cs"/>
              </a:rPr>
              <a:t>5</a:t>
            </a:r>
            <a:r>
              <a:rPr lang="en-US" sz="1100" baseline="30000">
                <a:solidFill>
                  <a:schemeClr val="tx2"/>
                </a:solidFill>
              </a:rPr>
              <a:t>–7</a:t>
            </a:r>
            <a:endParaRPr kumimoji="0" lang="en-US" sz="1100" i="0" u="none" strike="noStrike" kern="1200" cap="none" spc="0" normalizeH="0" baseline="0" noProof="0">
              <a:ln>
                <a:noFill/>
              </a:ln>
              <a:solidFill>
                <a:schemeClr val="tx2"/>
              </a:solidFill>
              <a:effectLst/>
              <a:uLnTx/>
              <a:uFillTx/>
              <a:ea typeface="+mn-ea"/>
              <a:cs typeface="+mn-cs"/>
            </a:endParaRPr>
          </a:p>
        </p:txBody>
      </p:sp>
      <p:sp>
        <p:nvSpPr>
          <p:cNvPr id="26" name="TextBox 25">
            <a:extLst>
              <a:ext uri="{FF2B5EF4-FFF2-40B4-BE49-F238E27FC236}">
                <a16:creationId xmlns:a16="http://schemas.microsoft.com/office/drawing/2014/main" id="{3C5B49D7-864D-1C28-C5F5-E4CC02A32E07}"/>
              </a:ext>
            </a:extLst>
          </p:cNvPr>
          <p:cNvSpPr txBox="1"/>
          <p:nvPr/>
        </p:nvSpPr>
        <p:spPr>
          <a:xfrm>
            <a:off x="718255" y="3669458"/>
            <a:ext cx="7573049" cy="600164"/>
          </a:xfrm>
          <a:prstGeom prst="rect">
            <a:avLst/>
          </a:prstGeom>
          <a:noFill/>
        </p:spPr>
        <p:txBody>
          <a:bodyPr wrap="square">
            <a:spAutoFit/>
          </a:bodyPr>
          <a:lstStyle/>
          <a:p>
            <a:pPr lvl="0">
              <a:defRPr/>
            </a:pPr>
            <a:r>
              <a:rPr lang="en-US" sz="1100" dirty="0">
                <a:solidFill>
                  <a:schemeClr val="tx2"/>
                </a:solidFill>
              </a:rPr>
              <a:t>As with many treatments, patients may experience the nocebo effect when prescribed a biosimilar medicine. In this context, the risk of a nocebo effect can be mitigated by educating </a:t>
            </a:r>
            <a:r>
              <a:rPr lang="en-US" sz="1100" dirty="0">
                <a:solidFill>
                  <a:schemeClr val="accent1"/>
                </a:solidFill>
              </a:rPr>
              <a:t>nurses and patients </a:t>
            </a:r>
            <a:r>
              <a:rPr lang="en-US" sz="1100" dirty="0">
                <a:solidFill>
                  <a:schemeClr val="tx2"/>
                </a:solidFill>
              </a:rPr>
              <a:t>on the comparable clinical outcomes between reference and biosimilar biologic medicines</a:t>
            </a:r>
            <a:r>
              <a:rPr lang="en-US" sz="1100" baseline="30000" dirty="0">
                <a:solidFill>
                  <a:schemeClr val="tx2"/>
                </a:solidFill>
              </a:rPr>
              <a:t>8–10</a:t>
            </a:r>
          </a:p>
        </p:txBody>
      </p:sp>
      <p:pic>
        <p:nvPicPr>
          <p:cNvPr id="20" name="Graphic 19">
            <a:extLst>
              <a:ext uri="{FF2B5EF4-FFF2-40B4-BE49-F238E27FC236}">
                <a16:creationId xmlns:a16="http://schemas.microsoft.com/office/drawing/2014/main" id="{D6EDD236-A398-6743-8355-7F573C9681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1503" y="2382230"/>
            <a:ext cx="379948" cy="379948"/>
          </a:xfrm>
          <a:prstGeom prst="rect">
            <a:avLst/>
          </a:prstGeom>
        </p:spPr>
      </p:pic>
      <p:pic>
        <p:nvPicPr>
          <p:cNvPr id="23" name="Graphic 22">
            <a:extLst>
              <a:ext uri="{FF2B5EF4-FFF2-40B4-BE49-F238E27FC236}">
                <a16:creationId xmlns:a16="http://schemas.microsoft.com/office/drawing/2014/main" id="{EEBF1B41-386B-479C-EAFC-E2EC558E50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407" y="1792365"/>
            <a:ext cx="358140" cy="358140"/>
          </a:xfrm>
          <a:prstGeom prst="rect">
            <a:avLst/>
          </a:prstGeom>
        </p:spPr>
      </p:pic>
      <p:cxnSp>
        <p:nvCxnSpPr>
          <p:cNvPr id="33" name="Straight Connector 32">
            <a:extLst>
              <a:ext uri="{FF2B5EF4-FFF2-40B4-BE49-F238E27FC236}">
                <a16:creationId xmlns:a16="http://schemas.microsoft.com/office/drawing/2014/main" id="{81B07828-2152-93A3-ADE6-6AC2975EB8C3}"/>
              </a:ext>
            </a:extLst>
          </p:cNvPr>
          <p:cNvCxnSpPr/>
          <p:nvPr/>
        </p:nvCxnSpPr>
        <p:spPr>
          <a:xfrm>
            <a:off x="802640" y="1641483"/>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62799B9-D04A-CADE-ACB0-582E3C3B978C}"/>
              </a:ext>
            </a:extLst>
          </p:cNvPr>
          <p:cNvCxnSpPr/>
          <p:nvPr/>
        </p:nvCxnSpPr>
        <p:spPr>
          <a:xfrm>
            <a:off x="802640" y="2241875"/>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23D8DD-8F1A-140A-BB2C-3A2768DE51A8}"/>
              </a:ext>
            </a:extLst>
          </p:cNvPr>
          <p:cNvCxnSpPr/>
          <p:nvPr/>
        </p:nvCxnSpPr>
        <p:spPr>
          <a:xfrm>
            <a:off x="802640" y="2953551"/>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F5AFCC3-5D05-F2A7-7A59-3A9F4C5EE8E9}"/>
              </a:ext>
            </a:extLst>
          </p:cNvPr>
          <p:cNvCxnSpPr/>
          <p:nvPr/>
        </p:nvCxnSpPr>
        <p:spPr>
          <a:xfrm>
            <a:off x="802640" y="3591541"/>
            <a:ext cx="7487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5" name="Graphic 46">
            <a:extLst>
              <a:ext uri="{FF2B5EF4-FFF2-40B4-BE49-F238E27FC236}">
                <a16:creationId xmlns:a16="http://schemas.microsoft.com/office/drawing/2014/main" id="{905CCDB0-685E-E3C9-0365-2311E7263F98}"/>
              </a:ext>
            </a:extLst>
          </p:cNvPr>
          <p:cNvGrpSpPr/>
          <p:nvPr/>
        </p:nvGrpSpPr>
        <p:grpSpPr>
          <a:xfrm>
            <a:off x="305969" y="1218239"/>
            <a:ext cx="212506" cy="371895"/>
            <a:chOff x="4449493" y="2347330"/>
            <a:chExt cx="251017" cy="439291"/>
          </a:xfrm>
          <a:noFill/>
        </p:grpSpPr>
        <p:sp>
          <p:nvSpPr>
            <p:cNvPr id="7" name="Freeform 6">
              <a:extLst>
                <a:ext uri="{FF2B5EF4-FFF2-40B4-BE49-F238E27FC236}">
                  <a16:creationId xmlns:a16="http://schemas.microsoft.com/office/drawing/2014/main" id="{E726EF57-0F1C-3D3E-570D-D174B457D085}"/>
                </a:ext>
              </a:extLst>
            </p:cNvPr>
            <p:cNvSpPr/>
            <p:nvPr/>
          </p:nvSpPr>
          <p:spPr>
            <a:xfrm rot="-4800601">
              <a:off x="4554916" y="2547386"/>
              <a:ext cx="133921" cy="133921"/>
            </a:xfrm>
            <a:custGeom>
              <a:avLst/>
              <a:gdLst>
                <a:gd name="connsiteX0" fmla="*/ 133921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1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1" y="66961"/>
                  </a:moveTo>
                  <a:cubicBezTo>
                    <a:pt x="133921" y="103942"/>
                    <a:pt x="103942" y="133921"/>
                    <a:pt x="66961" y="133921"/>
                  </a:cubicBezTo>
                  <a:cubicBezTo>
                    <a:pt x="29979" y="133921"/>
                    <a:pt x="0" y="103942"/>
                    <a:pt x="0" y="66961"/>
                  </a:cubicBezTo>
                  <a:cubicBezTo>
                    <a:pt x="0" y="29979"/>
                    <a:pt x="29979" y="0"/>
                    <a:pt x="66961" y="0"/>
                  </a:cubicBezTo>
                  <a:cubicBezTo>
                    <a:pt x="103942" y="0"/>
                    <a:pt x="133921" y="29979"/>
                    <a:pt x="133921" y="66961"/>
                  </a:cubicBezTo>
                  <a:close/>
                </a:path>
              </a:pathLst>
            </a:custGeom>
            <a:noFill/>
            <a:ln w="20479" cap="flat">
              <a:solidFill>
                <a:schemeClr val="accent2"/>
              </a:solidFill>
              <a:prstDash val="solid"/>
              <a:miter/>
            </a:ln>
          </p:spPr>
          <p:txBody>
            <a:bodyPr rtlCol="0" anchor="ctr"/>
            <a:lstStyle/>
            <a:p>
              <a:endParaRPr lang="en-AR"/>
            </a:p>
          </p:txBody>
        </p:sp>
        <p:sp>
          <p:nvSpPr>
            <p:cNvPr id="8" name="Freeform 7">
              <a:extLst>
                <a:ext uri="{FF2B5EF4-FFF2-40B4-BE49-F238E27FC236}">
                  <a16:creationId xmlns:a16="http://schemas.microsoft.com/office/drawing/2014/main" id="{A336142D-6347-9E93-152C-2841033A5291}"/>
                </a:ext>
              </a:extLst>
            </p:cNvPr>
            <p:cNvSpPr/>
            <p:nvPr/>
          </p:nvSpPr>
          <p:spPr>
            <a:xfrm rot="-4800601">
              <a:off x="4460676" y="2453132"/>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79" y="0"/>
                    <a:pt x="66961" y="0"/>
                  </a:cubicBezTo>
                  <a:cubicBezTo>
                    <a:pt x="103942" y="0"/>
                    <a:pt x="133922" y="29979"/>
                    <a:pt x="133922" y="66961"/>
                  </a:cubicBezTo>
                  <a:close/>
                </a:path>
              </a:pathLst>
            </a:custGeom>
            <a:noFill/>
            <a:ln w="20479" cap="flat">
              <a:solidFill>
                <a:schemeClr val="accent2"/>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6928961E-6305-5BAB-733A-931729B5EC59}"/>
                </a:ext>
              </a:extLst>
            </p:cNvPr>
            <p:cNvSpPr/>
            <p:nvPr/>
          </p:nvSpPr>
          <p:spPr>
            <a:xfrm rot="-4800601">
              <a:off x="4555988" y="2357931"/>
              <a:ext cx="133921" cy="133921"/>
            </a:xfrm>
            <a:custGeom>
              <a:avLst/>
              <a:gdLst>
                <a:gd name="connsiteX0" fmla="*/ 133922 w 133921"/>
                <a:gd name="connsiteY0" fmla="*/ 66961 h 133921"/>
                <a:gd name="connsiteX1" fmla="*/ 66961 w 133921"/>
                <a:gd name="connsiteY1" fmla="*/ 133922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2"/>
                    <a:pt x="66961" y="133922"/>
                  </a:cubicBezTo>
                  <a:cubicBezTo>
                    <a:pt x="29979" y="133922"/>
                    <a:pt x="0" y="103942"/>
                    <a:pt x="0" y="66961"/>
                  </a:cubicBezTo>
                  <a:cubicBezTo>
                    <a:pt x="0" y="29979"/>
                    <a:pt x="29979" y="0"/>
                    <a:pt x="66961" y="0"/>
                  </a:cubicBezTo>
                  <a:cubicBezTo>
                    <a:pt x="103942" y="0"/>
                    <a:pt x="133922" y="29979"/>
                    <a:pt x="133922" y="66961"/>
                  </a:cubicBezTo>
                  <a:close/>
                </a:path>
              </a:pathLst>
            </a:custGeom>
            <a:noFill/>
            <a:ln w="20479" cap="flat">
              <a:solidFill>
                <a:schemeClr val="accent2"/>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A30F0851-86EA-BBA5-0EE2-7403B1888F46}"/>
                </a:ext>
              </a:extLst>
            </p:cNvPr>
            <p:cNvSpPr/>
            <p:nvPr/>
          </p:nvSpPr>
          <p:spPr>
            <a:xfrm rot="-4800601">
              <a:off x="4460094" y="2642099"/>
              <a:ext cx="133921" cy="133921"/>
            </a:xfrm>
            <a:custGeom>
              <a:avLst/>
              <a:gdLst>
                <a:gd name="connsiteX0" fmla="*/ 133922 w 133921"/>
                <a:gd name="connsiteY0" fmla="*/ 66961 h 133921"/>
                <a:gd name="connsiteX1" fmla="*/ 66961 w 133921"/>
                <a:gd name="connsiteY1" fmla="*/ 133921 h 133921"/>
                <a:gd name="connsiteX2" fmla="*/ 0 w 133921"/>
                <a:gd name="connsiteY2" fmla="*/ 66961 h 133921"/>
                <a:gd name="connsiteX3" fmla="*/ 66961 w 133921"/>
                <a:gd name="connsiteY3" fmla="*/ 0 h 133921"/>
                <a:gd name="connsiteX4" fmla="*/ 133922 w 133921"/>
                <a:gd name="connsiteY4" fmla="*/ 66961 h 133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921" h="133921">
                  <a:moveTo>
                    <a:pt x="133922" y="66961"/>
                  </a:moveTo>
                  <a:cubicBezTo>
                    <a:pt x="133922" y="103942"/>
                    <a:pt x="103942" y="133921"/>
                    <a:pt x="66961" y="133921"/>
                  </a:cubicBezTo>
                  <a:cubicBezTo>
                    <a:pt x="29979" y="133921"/>
                    <a:pt x="0" y="103942"/>
                    <a:pt x="0" y="66961"/>
                  </a:cubicBezTo>
                  <a:cubicBezTo>
                    <a:pt x="0" y="29979"/>
                    <a:pt x="29980" y="0"/>
                    <a:pt x="66961" y="0"/>
                  </a:cubicBezTo>
                  <a:cubicBezTo>
                    <a:pt x="103942" y="0"/>
                    <a:pt x="133922" y="29979"/>
                    <a:pt x="133922" y="66961"/>
                  </a:cubicBezTo>
                  <a:close/>
                </a:path>
              </a:pathLst>
            </a:custGeom>
            <a:noFill/>
            <a:ln w="20479" cap="flat">
              <a:solidFill>
                <a:schemeClr val="accent2"/>
              </a:solidFill>
              <a:prstDash val="solid"/>
              <a:miter/>
            </a:ln>
          </p:spPr>
          <p:txBody>
            <a:bodyPr rtlCol="0" anchor="ctr"/>
            <a:lstStyle/>
            <a:p>
              <a:endParaRPr lang="en-AR"/>
            </a:p>
          </p:txBody>
        </p:sp>
      </p:grpSp>
      <p:pic>
        <p:nvPicPr>
          <p:cNvPr id="13" name="Graphic 12">
            <a:extLst>
              <a:ext uri="{FF2B5EF4-FFF2-40B4-BE49-F238E27FC236}">
                <a16:creationId xmlns:a16="http://schemas.microsoft.com/office/drawing/2014/main" id="{A3BF22C5-4687-FB25-A812-04B82B1A50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2407" y="3040279"/>
            <a:ext cx="408940" cy="443018"/>
          </a:xfrm>
          <a:prstGeom prst="rect">
            <a:avLst/>
          </a:prstGeom>
        </p:spPr>
      </p:pic>
      <p:grpSp>
        <p:nvGrpSpPr>
          <p:cNvPr id="41" name="Group 40">
            <a:extLst>
              <a:ext uri="{FF2B5EF4-FFF2-40B4-BE49-F238E27FC236}">
                <a16:creationId xmlns:a16="http://schemas.microsoft.com/office/drawing/2014/main" id="{0967583F-576F-E7C4-C24F-CB5E755EE6F1}"/>
              </a:ext>
            </a:extLst>
          </p:cNvPr>
          <p:cNvGrpSpPr/>
          <p:nvPr/>
        </p:nvGrpSpPr>
        <p:grpSpPr>
          <a:xfrm>
            <a:off x="281167" y="3752852"/>
            <a:ext cx="341476" cy="371312"/>
            <a:chOff x="2858924" y="-2546"/>
            <a:chExt cx="244568" cy="265937"/>
          </a:xfrm>
        </p:grpSpPr>
        <p:sp>
          <p:nvSpPr>
            <p:cNvPr id="37" name="Freeform 36">
              <a:extLst>
                <a:ext uri="{FF2B5EF4-FFF2-40B4-BE49-F238E27FC236}">
                  <a16:creationId xmlns:a16="http://schemas.microsoft.com/office/drawing/2014/main" id="{E168EB1E-5EBF-4E0B-F47F-69DBB8ABC2E6}"/>
                </a:ext>
              </a:extLst>
            </p:cNvPr>
            <p:cNvSpPr/>
            <p:nvPr/>
          </p:nvSpPr>
          <p:spPr>
            <a:xfrm>
              <a:off x="2914107" y="51996"/>
              <a:ext cx="109347" cy="111442"/>
            </a:xfrm>
            <a:custGeom>
              <a:avLst/>
              <a:gdLst>
                <a:gd name="connsiteX0" fmla="*/ 1143 w 109347"/>
                <a:gd name="connsiteY0" fmla="*/ 66961 h 111442"/>
                <a:gd name="connsiteX1" fmla="*/ 54673 w 109347"/>
                <a:gd name="connsiteY1" fmla="*/ 111442 h 111442"/>
                <a:gd name="connsiteX2" fmla="*/ 109347 w 109347"/>
                <a:gd name="connsiteY2" fmla="*/ 55721 h 111442"/>
                <a:gd name="connsiteX3" fmla="*/ 54673 w 109347"/>
                <a:gd name="connsiteY3" fmla="*/ 0 h 111442"/>
                <a:gd name="connsiteX4" fmla="*/ 0 w 109347"/>
                <a:gd name="connsiteY4" fmla="*/ 55721 h 111442"/>
                <a:gd name="connsiteX5" fmla="*/ 1143 w 109347"/>
                <a:gd name="connsiteY5" fmla="*/ 66961 h 1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47" h="111442">
                  <a:moveTo>
                    <a:pt x="1143" y="66961"/>
                  </a:moveTo>
                  <a:cubicBezTo>
                    <a:pt x="6287" y="92297"/>
                    <a:pt x="28289" y="111442"/>
                    <a:pt x="54673" y="111442"/>
                  </a:cubicBezTo>
                  <a:cubicBezTo>
                    <a:pt x="84868" y="111442"/>
                    <a:pt x="109347" y="86487"/>
                    <a:pt x="109347" y="55721"/>
                  </a:cubicBezTo>
                  <a:cubicBezTo>
                    <a:pt x="109347" y="24955"/>
                    <a:pt x="84868" y="0"/>
                    <a:pt x="54673" y="0"/>
                  </a:cubicBezTo>
                  <a:cubicBezTo>
                    <a:pt x="24479" y="0"/>
                    <a:pt x="0" y="24955"/>
                    <a:pt x="0" y="55721"/>
                  </a:cubicBezTo>
                  <a:cubicBezTo>
                    <a:pt x="0" y="59531"/>
                    <a:pt x="381" y="63341"/>
                    <a:pt x="1143" y="66961"/>
                  </a:cubicBezTo>
                </a:path>
              </a:pathLst>
            </a:custGeom>
            <a:noFill/>
            <a:ln w="19050" cap="flat">
              <a:solidFill>
                <a:schemeClr val="accent2"/>
              </a:solidFill>
              <a:prstDash val="solid"/>
              <a:round/>
            </a:ln>
          </p:spPr>
          <p:txBody>
            <a:bodyPr rtlCol="0" anchor="ctr"/>
            <a:lstStyle/>
            <a:p>
              <a:endParaRPr lang="en-AR"/>
            </a:p>
          </p:txBody>
        </p:sp>
        <p:sp>
          <p:nvSpPr>
            <p:cNvPr id="38" name="Freeform 37">
              <a:extLst>
                <a:ext uri="{FF2B5EF4-FFF2-40B4-BE49-F238E27FC236}">
                  <a16:creationId xmlns:a16="http://schemas.microsoft.com/office/drawing/2014/main" id="{CB8485D3-2A4F-1293-0F99-02ACB519A042}"/>
                </a:ext>
              </a:extLst>
            </p:cNvPr>
            <p:cNvSpPr/>
            <p:nvPr/>
          </p:nvSpPr>
          <p:spPr>
            <a:xfrm>
              <a:off x="2937791" y="105086"/>
              <a:ext cx="62388" cy="9525"/>
            </a:xfrm>
            <a:custGeom>
              <a:avLst/>
              <a:gdLst>
                <a:gd name="connsiteX0" fmla="*/ 0 w 62388"/>
                <a:gd name="connsiteY0" fmla="*/ 0 h 9525"/>
                <a:gd name="connsiteX1" fmla="*/ 62389 w 62388"/>
                <a:gd name="connsiteY1" fmla="*/ 0 h 9525"/>
              </a:gdLst>
              <a:ahLst/>
              <a:cxnLst>
                <a:cxn ang="0">
                  <a:pos x="connsiteX0" y="connsiteY0"/>
                </a:cxn>
                <a:cxn ang="0">
                  <a:pos x="connsiteX1" y="connsiteY1"/>
                </a:cxn>
              </a:cxnLst>
              <a:rect l="l" t="t" r="r" b="b"/>
              <a:pathLst>
                <a:path w="62388" h="9525">
                  <a:moveTo>
                    <a:pt x="0" y="0"/>
                  </a:moveTo>
                  <a:lnTo>
                    <a:pt x="62389" y="0"/>
                  </a:lnTo>
                </a:path>
              </a:pathLst>
            </a:custGeom>
            <a:ln w="19050" cap="flat">
              <a:solidFill>
                <a:schemeClr val="accent2"/>
              </a:solidFill>
              <a:prstDash val="solid"/>
              <a:round/>
            </a:ln>
          </p:spPr>
          <p:txBody>
            <a:bodyPr rtlCol="0" anchor="ctr"/>
            <a:lstStyle/>
            <a:p>
              <a:endParaRPr lang="en-AR"/>
            </a:p>
          </p:txBody>
        </p:sp>
        <p:sp>
          <p:nvSpPr>
            <p:cNvPr id="40" name="Freeform 39">
              <a:extLst>
                <a:ext uri="{FF2B5EF4-FFF2-40B4-BE49-F238E27FC236}">
                  <a16:creationId xmlns:a16="http://schemas.microsoft.com/office/drawing/2014/main" id="{63EA6B7F-E6CF-ECC1-9455-BE2F24709CCE}"/>
                </a:ext>
              </a:extLst>
            </p:cNvPr>
            <p:cNvSpPr/>
            <p:nvPr/>
          </p:nvSpPr>
          <p:spPr>
            <a:xfrm>
              <a:off x="2858924" y="-2546"/>
              <a:ext cx="244568" cy="265937"/>
            </a:xfrm>
            <a:custGeom>
              <a:avLst/>
              <a:gdLst>
                <a:gd name="connsiteX0" fmla="*/ 242221 w 244568"/>
                <a:gd name="connsiteY0" fmla="*/ 122015 h 265937"/>
                <a:gd name="connsiteX1" fmla="*/ 193548 w 244568"/>
                <a:gd name="connsiteY1" fmla="*/ 41719 h 265937"/>
                <a:gd name="connsiteX2" fmla="*/ 108585 w 244568"/>
                <a:gd name="connsiteY2" fmla="*/ 0 h 265937"/>
                <a:gd name="connsiteX3" fmla="*/ 0 w 244568"/>
                <a:gd name="connsiteY3" fmla="*/ 110585 h 265937"/>
                <a:gd name="connsiteX4" fmla="*/ 42386 w 244568"/>
                <a:gd name="connsiteY4" fmla="*/ 198215 h 265937"/>
                <a:gd name="connsiteX5" fmla="*/ 42386 w 244568"/>
                <a:gd name="connsiteY5" fmla="*/ 265938 h 265937"/>
                <a:gd name="connsiteX6" fmla="*/ 175641 w 244568"/>
                <a:gd name="connsiteY6" fmla="*/ 265938 h 265937"/>
                <a:gd name="connsiteX7" fmla="*/ 175641 w 244568"/>
                <a:gd name="connsiteY7" fmla="*/ 220504 h 265937"/>
                <a:gd name="connsiteX8" fmla="*/ 182213 w 244568"/>
                <a:gd name="connsiteY8" fmla="*/ 220504 h 265937"/>
                <a:gd name="connsiteX9" fmla="*/ 215265 w 244568"/>
                <a:gd name="connsiteY9" fmla="*/ 186880 h 265937"/>
                <a:gd name="connsiteX10" fmla="*/ 215265 w 244568"/>
                <a:gd name="connsiteY10" fmla="*/ 148685 h 265937"/>
                <a:gd name="connsiteX11" fmla="*/ 216027 w 244568"/>
                <a:gd name="connsiteY11" fmla="*/ 144209 h 265937"/>
                <a:gd name="connsiteX12" fmla="*/ 239554 w 244568"/>
                <a:gd name="connsiteY12" fmla="*/ 136779 h 265937"/>
                <a:gd name="connsiteX13" fmla="*/ 242316 w 244568"/>
                <a:gd name="connsiteY13" fmla="*/ 122110 h 2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4568" h="265937">
                  <a:moveTo>
                    <a:pt x="242221" y="122015"/>
                  </a:moveTo>
                  <a:cubicBezTo>
                    <a:pt x="242221" y="122015"/>
                    <a:pt x="196215" y="45148"/>
                    <a:pt x="193548" y="41719"/>
                  </a:cubicBezTo>
                  <a:cubicBezTo>
                    <a:pt x="173641" y="16288"/>
                    <a:pt x="143065" y="0"/>
                    <a:pt x="108585" y="0"/>
                  </a:cubicBezTo>
                  <a:cubicBezTo>
                    <a:pt x="48673" y="0"/>
                    <a:pt x="0" y="49530"/>
                    <a:pt x="0" y="110585"/>
                  </a:cubicBezTo>
                  <a:cubicBezTo>
                    <a:pt x="0" y="146304"/>
                    <a:pt x="16669" y="178022"/>
                    <a:pt x="42386" y="198215"/>
                  </a:cubicBezTo>
                  <a:lnTo>
                    <a:pt x="42386" y="265938"/>
                  </a:lnTo>
                  <a:lnTo>
                    <a:pt x="175641" y="265938"/>
                  </a:lnTo>
                  <a:lnTo>
                    <a:pt x="175641" y="220504"/>
                  </a:lnTo>
                  <a:lnTo>
                    <a:pt x="182213" y="220504"/>
                  </a:lnTo>
                  <a:cubicBezTo>
                    <a:pt x="200406" y="220504"/>
                    <a:pt x="215265" y="205454"/>
                    <a:pt x="215265" y="186880"/>
                  </a:cubicBezTo>
                  <a:lnTo>
                    <a:pt x="215265" y="148685"/>
                  </a:lnTo>
                  <a:cubicBezTo>
                    <a:pt x="215551" y="147161"/>
                    <a:pt x="215836" y="145733"/>
                    <a:pt x="216027" y="144209"/>
                  </a:cubicBezTo>
                  <a:lnTo>
                    <a:pt x="239554" y="136779"/>
                  </a:lnTo>
                  <a:cubicBezTo>
                    <a:pt x="244888" y="133921"/>
                    <a:pt x="246221" y="126778"/>
                    <a:pt x="242316" y="122110"/>
                  </a:cubicBezTo>
                  <a:close/>
                </a:path>
              </a:pathLst>
            </a:custGeom>
            <a:noFill/>
            <a:ln w="19050" cap="flat">
              <a:solidFill>
                <a:schemeClr val="accent2"/>
              </a:solidFill>
              <a:prstDash val="solid"/>
              <a:round/>
            </a:ln>
          </p:spPr>
          <p:txBody>
            <a:bodyPr rtlCol="0" anchor="ctr"/>
            <a:lstStyle/>
            <a:p>
              <a:endParaRPr lang="en-AR"/>
            </a:p>
          </p:txBody>
        </p:sp>
      </p:grpSp>
      <p:sp>
        <p:nvSpPr>
          <p:cNvPr id="14" name="Footer Placeholder 13">
            <a:extLst>
              <a:ext uri="{FF2B5EF4-FFF2-40B4-BE49-F238E27FC236}">
                <a16:creationId xmlns:a16="http://schemas.microsoft.com/office/drawing/2014/main" id="{F19185D3-4F8C-69B6-2089-F35CD3230A22}"/>
              </a:ext>
            </a:extLst>
          </p:cNvPr>
          <p:cNvSpPr>
            <a:spLocks noGrp="1"/>
          </p:cNvSpPr>
          <p:nvPr>
            <p:ph type="ftr" sz="quarter" idx="11"/>
          </p:nvPr>
        </p:nvSpPr>
        <p:spPr/>
        <p:txBody>
          <a:bodyPr/>
          <a:lstStyle/>
          <a:p>
            <a:pPr>
              <a:defRPr/>
            </a:pPr>
            <a:r>
              <a:rPr lang="en-GB" dirty="0">
                <a:latin typeface="Arial" panose="020B0604020202020204"/>
              </a:rPr>
              <a:t>HCP, healthcare practitioner. </a:t>
            </a:r>
          </a:p>
          <a:p>
            <a:pPr>
              <a:defRPr/>
            </a:pPr>
            <a:r>
              <a:rPr lang="en-GB" dirty="0">
                <a:latin typeface="Arial" panose="020B0604020202020204"/>
              </a:rPr>
              <a:t>1. </a:t>
            </a:r>
            <a:r>
              <a:rPr lang="en-US" dirty="0">
                <a:latin typeface="Arial" panose="020B0604020202020204"/>
              </a:rPr>
              <a:t>ESN. Switch management between similar biological medicines. 2018. Available at: https://www.medicinesforeurope.com/wp-content/uploads/2018/06/biosimilar-nurses-guideline-final.pdf. Accessed March 2023; </a:t>
            </a:r>
            <a:br>
              <a:rPr lang="en-US" dirty="0">
                <a:latin typeface="Arial" panose="020B0604020202020204"/>
              </a:rPr>
            </a:br>
            <a:r>
              <a:rPr lang="en-US" dirty="0">
                <a:latin typeface="Arial" panose="020B0604020202020204"/>
              </a:rPr>
              <a:t>2. </a:t>
            </a:r>
            <a:r>
              <a:rPr lang="en-GB" dirty="0">
                <a:latin typeface="Arial" panose="020B0604020202020204"/>
              </a:rPr>
              <a:t>Weise, M. et al. </a:t>
            </a:r>
            <a:r>
              <a:rPr lang="en-GB" i="1" dirty="0">
                <a:latin typeface="Arial" panose="020B0604020202020204"/>
              </a:rPr>
              <a:t>Blood</a:t>
            </a:r>
            <a:r>
              <a:rPr lang="en-GB" dirty="0">
                <a:latin typeface="Arial" panose="020B0604020202020204"/>
              </a:rPr>
              <a:t> 2012;120(26):5111–5117; 3</a:t>
            </a:r>
            <a:r>
              <a:rPr lang="en-US" dirty="0">
                <a:latin typeface="Arial" panose="020B0604020202020204"/>
              </a:rPr>
              <a:t>. European Commission. 2016. Consensus information paper. Available at: https://ec.europa.eu/docsroom/documents/26643. Accessed March 2023; 4. Kay JA. </a:t>
            </a:r>
            <a:br>
              <a:rPr lang="en-US" dirty="0">
                <a:latin typeface="Arial" panose="020B0604020202020204"/>
              </a:rPr>
            </a:br>
            <a:r>
              <a:rPr lang="en-US" i="1" dirty="0">
                <a:latin typeface="Arial" panose="020B0604020202020204"/>
              </a:rPr>
              <a:t>J Intern Med </a:t>
            </a:r>
            <a:r>
              <a:rPr lang="en-US" dirty="0">
                <a:latin typeface="Arial" panose="020B0604020202020204"/>
              </a:rPr>
              <a:t>2019;285(6):693–695; 5. </a:t>
            </a:r>
            <a:r>
              <a:rPr lang="en-US" dirty="0" err="1">
                <a:latin typeface="Arial" panose="020B0604020202020204"/>
              </a:rPr>
              <a:t>Mysler</a:t>
            </a:r>
            <a:r>
              <a:rPr lang="en-US" dirty="0">
                <a:latin typeface="Arial" panose="020B0604020202020204"/>
              </a:rPr>
              <a:t> E, et al. </a:t>
            </a:r>
            <a:r>
              <a:rPr lang="en-US" i="1" dirty="0">
                <a:latin typeface="Arial" panose="020B0604020202020204"/>
              </a:rPr>
              <a:t>Drugs</a:t>
            </a:r>
            <a:r>
              <a:rPr lang="en-US" dirty="0">
                <a:latin typeface="Arial" panose="020B0604020202020204"/>
              </a:rPr>
              <a:t> 2021;81:1859–1879; 6. US FDA. Biosimilar development review and approval. 2022. Available at: https://www.fda.gov/drugs/biosimilars/review-and-approval. Accessed June 2024; 7. EMA and EC. Biosimilars in the EU. 2019. Available at: https://www.ema.europa.eu/en/documents/leaflet/biosimilars-eu-information-guide-healthcare-professionals_en.pdf. Accessed March 2023; 8. D'Amico F, et al. </a:t>
            </a:r>
            <a:r>
              <a:rPr lang="en-US" i="1" dirty="0">
                <a:latin typeface="Arial" panose="020B0604020202020204"/>
              </a:rPr>
              <a:t>Dig Liver Dis </a:t>
            </a:r>
            <a:r>
              <a:rPr lang="en-US" dirty="0">
                <a:latin typeface="Arial" panose="020B0604020202020204"/>
              </a:rPr>
              <a:t>2020;52:138–142; 9. </a:t>
            </a:r>
            <a:r>
              <a:rPr lang="en-US" dirty="0" err="1">
                <a:latin typeface="Arial" panose="020B0604020202020204"/>
              </a:rPr>
              <a:t>Faasse</a:t>
            </a:r>
            <a:r>
              <a:rPr lang="en-US" dirty="0">
                <a:latin typeface="Arial" panose="020B0604020202020204"/>
              </a:rPr>
              <a:t> K, et al. </a:t>
            </a:r>
            <a:r>
              <a:rPr lang="en-US" i="1" dirty="0">
                <a:latin typeface="Arial" panose="020B0604020202020204"/>
              </a:rPr>
              <a:t>Front Psychiatry </a:t>
            </a:r>
            <a:r>
              <a:rPr lang="en-US" dirty="0">
                <a:latin typeface="Arial" panose="020B0604020202020204"/>
              </a:rPr>
              <a:t>2019;10:396; 10. Cohen HP, et al. </a:t>
            </a:r>
            <a:r>
              <a:rPr lang="en-US" i="1" dirty="0">
                <a:latin typeface="Arial" panose="020B0604020202020204"/>
              </a:rPr>
              <a:t>Drugs</a:t>
            </a:r>
            <a:r>
              <a:rPr lang="en-US" dirty="0">
                <a:latin typeface="Arial" panose="020B0604020202020204"/>
              </a:rPr>
              <a:t> 2018;78(4):463–478.</a:t>
            </a:r>
            <a:endParaRPr lang="en-GB" dirty="0">
              <a:latin typeface="Arial" panose="020B0604020202020204"/>
              <a:ea typeface="Times New Roman" panose="02020603050405020304" pitchFamily="18" charset="0"/>
              <a:cs typeface="Times New Roman" panose="02020603050405020304" pitchFamily="18" charset="0"/>
            </a:endParaRPr>
          </a:p>
        </p:txBody>
      </p:sp>
      <p:sp>
        <p:nvSpPr>
          <p:cNvPr id="15" name="Slide Number Placeholder 14">
            <a:extLst>
              <a:ext uri="{FF2B5EF4-FFF2-40B4-BE49-F238E27FC236}">
                <a16:creationId xmlns:a16="http://schemas.microsoft.com/office/drawing/2014/main" id="{92620F83-95CE-B2E6-DF4A-12224886922D}"/>
              </a:ext>
            </a:extLst>
          </p:cNvPr>
          <p:cNvSpPr>
            <a:spLocks noGrp="1"/>
          </p:cNvSpPr>
          <p:nvPr>
            <p:ph type="sldNum" sz="quarter" idx="12"/>
          </p:nvPr>
        </p:nvSpPr>
        <p:spPr/>
        <p:txBody>
          <a:bodyPr/>
          <a:lstStyle/>
          <a:p>
            <a:fld id="{A31C51CB-94C2-40E2-B070-08CEE3D6A386}" type="slidenum">
              <a:rPr lang="en-GB" smtClean="0"/>
              <a:t>26</a:t>
            </a:fld>
            <a:endParaRPr lang="en-GB"/>
          </a:p>
        </p:txBody>
      </p:sp>
    </p:spTree>
    <p:extLst>
      <p:ext uri="{BB962C8B-B14F-4D97-AF65-F5344CB8AC3E}">
        <p14:creationId xmlns:p14="http://schemas.microsoft.com/office/powerpoint/2010/main" val="1233012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5EF7B-2F98-AF76-D516-D28FFA4448FB}"/>
              </a:ext>
            </a:extLst>
          </p:cNvPr>
          <p:cNvSpPr>
            <a:spLocks noGrp="1"/>
          </p:cNvSpPr>
          <p:nvPr>
            <p:ph type="ctrTitle"/>
          </p:nvPr>
        </p:nvSpPr>
        <p:spPr>
          <a:xfrm>
            <a:off x="215638" y="2019631"/>
            <a:ext cx="3322691" cy="2594041"/>
          </a:xfrm>
        </p:spPr>
        <p:txBody>
          <a:bodyPr/>
          <a:lstStyle/>
          <a:p>
            <a:r>
              <a:rPr lang="en-GB" spc="-30"/>
              <a:t>How much </a:t>
            </a:r>
            <a:br>
              <a:rPr lang="en-GB" spc="-30"/>
            </a:br>
            <a:r>
              <a:rPr lang="en-GB" spc="-30"/>
              <a:t>do you know about biologic and biosimilar medicines now?</a:t>
            </a:r>
            <a:endParaRPr lang="en-US" spc="-30"/>
          </a:p>
        </p:txBody>
      </p:sp>
      <p:sp>
        <p:nvSpPr>
          <p:cNvPr id="4" name="Text Placeholder 3">
            <a:extLst>
              <a:ext uri="{FF2B5EF4-FFF2-40B4-BE49-F238E27FC236}">
                <a16:creationId xmlns:a16="http://schemas.microsoft.com/office/drawing/2014/main" id="{C78F56C6-4D4B-CFAC-1F25-9B981C4B51C9}"/>
              </a:ext>
            </a:extLst>
          </p:cNvPr>
          <p:cNvSpPr>
            <a:spLocks noGrp="1"/>
          </p:cNvSpPr>
          <p:nvPr>
            <p:ph type="subTitle" idx="4294967295"/>
          </p:nvPr>
        </p:nvSpPr>
        <p:spPr>
          <a:xfrm>
            <a:off x="215638" y="4509701"/>
            <a:ext cx="7086600" cy="332644"/>
          </a:xfrm>
        </p:spPr>
        <p:txBody>
          <a:bodyPr/>
          <a:lstStyle/>
          <a:p>
            <a:r>
              <a:rPr lang="en-GB" sz="1800" i="1"/>
              <a:t>Try the self-assessment</a:t>
            </a:r>
            <a:r>
              <a:rPr lang="en-US" sz="1800" i="1"/>
              <a:t> quiz to test your knowledge!</a:t>
            </a:r>
          </a:p>
        </p:txBody>
      </p:sp>
    </p:spTree>
    <p:extLst>
      <p:ext uri="{BB962C8B-B14F-4D97-AF65-F5344CB8AC3E}">
        <p14:creationId xmlns:p14="http://schemas.microsoft.com/office/powerpoint/2010/main" val="10384218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993B9F47-66D5-87D3-9DFF-4E6962EDADFD}"/>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1</a:t>
            </a:r>
          </a:p>
        </p:txBody>
      </p:sp>
      <p:cxnSp>
        <p:nvCxnSpPr>
          <p:cNvPr id="9" name="Straight Connector 8">
            <a:extLst>
              <a:ext uri="{FF2B5EF4-FFF2-40B4-BE49-F238E27FC236}">
                <a16:creationId xmlns:a16="http://schemas.microsoft.com/office/drawing/2014/main" id="{51A74AAD-1A8F-F05B-07C5-809DC01D4A97}"/>
              </a:ext>
            </a:extLst>
          </p:cNvPr>
          <p:cNvCxnSpPr>
            <a:cxnSpLocks/>
            <a:stCxn id="7"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Rounded Corners 2">
            <a:extLst>
              <a:ext uri="{FF2B5EF4-FFF2-40B4-BE49-F238E27FC236}">
                <a16:creationId xmlns:a16="http://schemas.microsoft.com/office/drawing/2014/main" id="{D47952EF-273C-A547-D31B-D21D8125658F}"/>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2" name="Rectangle: Rounded Corners 4">
            <a:extLst>
              <a:ext uri="{FF2B5EF4-FFF2-40B4-BE49-F238E27FC236}">
                <a16:creationId xmlns:a16="http://schemas.microsoft.com/office/drawing/2014/main" id="{51009EC5-9157-17B2-37CD-29D606CC0AF0}"/>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21" name="Slide Number Placeholder 20">
            <a:extLst>
              <a:ext uri="{FF2B5EF4-FFF2-40B4-BE49-F238E27FC236}">
                <a16:creationId xmlns:a16="http://schemas.microsoft.com/office/drawing/2014/main" id="{1E105C8E-1041-F9AE-A324-89B7BA50A0F6}"/>
              </a:ext>
            </a:extLst>
          </p:cNvPr>
          <p:cNvSpPr>
            <a:spLocks noGrp="1"/>
          </p:cNvSpPr>
          <p:nvPr>
            <p:ph type="sldNum" sz="quarter" idx="4294967295"/>
          </p:nvPr>
        </p:nvSpPr>
        <p:spPr>
          <a:xfrm>
            <a:off x="0" y="4827588"/>
            <a:ext cx="149225" cy="134937"/>
          </a:xfrm>
        </p:spPr>
        <p:txBody>
          <a:bodyPr/>
          <a:lstStyle/>
          <a:p>
            <a:fld id="{A31C51CB-94C2-40E2-B070-08CEE3D6A386}" type="slidenum">
              <a:rPr lang="en-GB" smtClean="0">
                <a:solidFill>
                  <a:schemeClr val="accent2"/>
                </a:solidFill>
              </a:rPr>
              <a:pPr/>
              <a:t>28</a:t>
            </a:fld>
            <a:endParaRPr lang="en-GB">
              <a:solidFill>
                <a:schemeClr val="accent2"/>
              </a:solidFill>
            </a:endParaRPr>
          </a:p>
        </p:txBody>
      </p:sp>
      <p:sp>
        <p:nvSpPr>
          <p:cNvPr id="6" name="Title 18">
            <a:extLst>
              <a:ext uri="{FF2B5EF4-FFF2-40B4-BE49-F238E27FC236}">
                <a16:creationId xmlns:a16="http://schemas.microsoft.com/office/drawing/2014/main" id="{D7EC3D32-B35C-94A7-F5AA-51A109152293}"/>
              </a:ext>
            </a:extLst>
          </p:cNvPr>
          <p:cNvSpPr txBox="1">
            <a:spLocks/>
          </p:cNvSpPr>
          <p:nvPr/>
        </p:nvSpPr>
        <p:spPr>
          <a:xfrm>
            <a:off x="5311873" y="917731"/>
            <a:ext cx="337492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pPr>
            <a:r>
              <a:rPr lang="en-US" sz="2000"/>
              <a:t>Biologic medicines are chemically synthesized and complex to manufacture</a:t>
            </a:r>
          </a:p>
        </p:txBody>
      </p:sp>
      <p:sp>
        <p:nvSpPr>
          <p:cNvPr id="2" name="Slide Number Placeholder 89">
            <a:extLst>
              <a:ext uri="{FF2B5EF4-FFF2-40B4-BE49-F238E27FC236}">
                <a16:creationId xmlns:a16="http://schemas.microsoft.com/office/drawing/2014/main" id="{574CE6E8-61A2-D319-A938-464B98C8371F}"/>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28</a:t>
            </a:fld>
            <a:endParaRPr lang="en-GB"/>
          </a:p>
        </p:txBody>
      </p:sp>
    </p:spTree>
    <p:extLst>
      <p:ext uri="{BB962C8B-B14F-4D97-AF65-F5344CB8AC3E}">
        <p14:creationId xmlns:p14="http://schemas.microsoft.com/office/powerpoint/2010/main" val="24965654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44920055-445F-6D12-11B4-6E67DC0413C5}"/>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grpSp>
        <p:nvGrpSpPr>
          <p:cNvPr id="9" name="Group 8">
            <a:extLst>
              <a:ext uri="{FF2B5EF4-FFF2-40B4-BE49-F238E27FC236}">
                <a16:creationId xmlns:a16="http://schemas.microsoft.com/office/drawing/2014/main" id="{FB7493BF-5AE4-8D5F-8D6B-C04D9CB4F41C}"/>
              </a:ext>
            </a:extLst>
          </p:cNvPr>
          <p:cNvGrpSpPr/>
          <p:nvPr/>
        </p:nvGrpSpPr>
        <p:grpSpPr>
          <a:xfrm>
            <a:off x="4873406" y="4270307"/>
            <a:ext cx="3911809" cy="438470"/>
            <a:chOff x="138971" y="3753538"/>
            <a:chExt cx="3911809" cy="438470"/>
          </a:xfrm>
        </p:grpSpPr>
        <p:sp>
          <p:nvSpPr>
            <p:cNvPr id="6" name="Rectangle 5">
              <a:extLst>
                <a:ext uri="{FF2B5EF4-FFF2-40B4-BE49-F238E27FC236}">
                  <a16:creationId xmlns:a16="http://schemas.microsoft.com/office/drawing/2014/main" id="{9C0AE297-0979-4752-35B8-746CD5973CF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8" name="Graphic 7" descr="Cursor outline">
              <a:extLst>
                <a:ext uri="{FF2B5EF4-FFF2-40B4-BE49-F238E27FC236}">
                  <a16:creationId xmlns:a16="http://schemas.microsoft.com/office/drawing/2014/main" id="{C3D03D49-5027-FDB1-EACD-0D8AB7F062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8971" y="3753538"/>
              <a:ext cx="438470" cy="438470"/>
            </a:xfrm>
            <a:prstGeom prst="rect">
              <a:avLst/>
            </a:prstGeom>
          </p:spPr>
        </p:pic>
      </p:grpSp>
      <p:sp>
        <p:nvSpPr>
          <p:cNvPr id="14" name="Rectangle: Rounded Corners 2">
            <a:extLst>
              <a:ext uri="{FF2B5EF4-FFF2-40B4-BE49-F238E27FC236}">
                <a16:creationId xmlns:a16="http://schemas.microsoft.com/office/drawing/2014/main" id="{52AA2FA2-7582-549D-A04C-9FA2331DAE1B}"/>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5" name="Rectangle: Rounded Corners 4">
            <a:hlinkClick r:id="rId4" action="ppaction://hlinksldjump"/>
            <a:extLst>
              <a:ext uri="{FF2B5EF4-FFF2-40B4-BE49-F238E27FC236}">
                <a16:creationId xmlns:a16="http://schemas.microsoft.com/office/drawing/2014/main" id="{2D1C26F5-AF8A-2878-1F30-6D74242B1699}"/>
              </a:ext>
            </a:extLst>
          </p:cNvPr>
          <p:cNvSpPr/>
          <p:nvPr/>
        </p:nvSpPr>
        <p:spPr>
          <a:xfrm>
            <a:off x="5311875" y="3371198"/>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False</a:t>
            </a:r>
            <a:endParaRPr lang="en-GB" sz="2000" b="1" spc="150">
              <a:solidFill>
                <a:schemeClr val="bg2"/>
              </a:solidFill>
            </a:endParaRPr>
          </a:p>
        </p:txBody>
      </p:sp>
      <p:sp>
        <p:nvSpPr>
          <p:cNvPr id="16" name="Oval 15">
            <a:extLst>
              <a:ext uri="{FF2B5EF4-FFF2-40B4-BE49-F238E27FC236}">
                <a16:creationId xmlns:a16="http://schemas.microsoft.com/office/drawing/2014/main" id="{1EEEC15B-C2D3-D4BE-000B-E5E70E49F68E}"/>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1</a:t>
            </a:r>
          </a:p>
        </p:txBody>
      </p:sp>
      <p:cxnSp>
        <p:nvCxnSpPr>
          <p:cNvPr id="17" name="Straight Connector 16">
            <a:extLst>
              <a:ext uri="{FF2B5EF4-FFF2-40B4-BE49-F238E27FC236}">
                <a16:creationId xmlns:a16="http://schemas.microsoft.com/office/drawing/2014/main" id="{78E932DC-82E3-6F6D-DE68-A7A582BDDC3C}"/>
              </a:ext>
            </a:extLst>
          </p:cNvPr>
          <p:cNvCxnSpPr>
            <a:cxnSpLocks/>
            <a:stCxn id="16" idx="4"/>
          </p:cNvCxnSpPr>
          <p:nvPr/>
        </p:nvCxnSpPr>
        <p:spPr>
          <a:xfrm>
            <a:off x="5090367" y="750179"/>
            <a:ext cx="0" cy="347472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hlinkClick r:id="rId5" action="ppaction://hlinksldjump"/>
            <a:extLst>
              <a:ext uri="{FF2B5EF4-FFF2-40B4-BE49-F238E27FC236}">
                <a16:creationId xmlns:a16="http://schemas.microsoft.com/office/drawing/2014/main" id="{43227568-9FBE-4478-195F-8FE449F8F96B}"/>
              </a:ext>
            </a:extLst>
          </p:cNvPr>
          <p:cNvSpPr/>
          <p:nvPr/>
        </p:nvSpPr>
        <p:spPr>
          <a:xfrm>
            <a:off x="4873406" y="4064030"/>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3" name="Slide Number Placeholder 20">
            <a:extLst>
              <a:ext uri="{FF2B5EF4-FFF2-40B4-BE49-F238E27FC236}">
                <a16:creationId xmlns:a16="http://schemas.microsoft.com/office/drawing/2014/main" id="{CC35DA0C-C557-314F-2121-728EAEB626BE}"/>
              </a:ext>
            </a:extLst>
          </p:cNvPr>
          <p:cNvSpPr txBox="1">
            <a:spLocks/>
          </p:cNvSpPr>
          <p:nvPr/>
        </p:nvSpPr>
        <p:spPr>
          <a:xfrm>
            <a:off x="152400" y="4786714"/>
            <a:ext cx="335280" cy="18152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29</a:t>
            </a:fld>
            <a:endParaRPr lang="en-GB" sz="600" b="1">
              <a:solidFill>
                <a:schemeClr val="accent2"/>
              </a:solidFill>
            </a:endParaRPr>
          </a:p>
        </p:txBody>
      </p:sp>
      <p:sp>
        <p:nvSpPr>
          <p:cNvPr id="4" name="Title 18">
            <a:extLst>
              <a:ext uri="{FF2B5EF4-FFF2-40B4-BE49-F238E27FC236}">
                <a16:creationId xmlns:a16="http://schemas.microsoft.com/office/drawing/2014/main" id="{5973F8C0-4F07-1107-9800-80207A3C2A84}"/>
              </a:ext>
            </a:extLst>
          </p:cNvPr>
          <p:cNvSpPr txBox="1">
            <a:spLocks/>
          </p:cNvSpPr>
          <p:nvPr/>
        </p:nvSpPr>
        <p:spPr>
          <a:xfrm>
            <a:off x="5311873" y="917731"/>
            <a:ext cx="3374923" cy="1138067"/>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pPr>
            <a:r>
              <a:rPr lang="en-US" sz="2000"/>
              <a:t>Biologic medicines are chemically synthesized and complex to manufacture</a:t>
            </a:r>
          </a:p>
        </p:txBody>
      </p:sp>
      <p:sp>
        <p:nvSpPr>
          <p:cNvPr id="2" name="Slide Number Placeholder 89">
            <a:extLst>
              <a:ext uri="{FF2B5EF4-FFF2-40B4-BE49-F238E27FC236}">
                <a16:creationId xmlns:a16="http://schemas.microsoft.com/office/drawing/2014/main" id="{ACB662F8-1B9C-B934-EB7D-22E63BACB78C}"/>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29</a:t>
            </a:fld>
            <a:endParaRPr lang="en-GB"/>
          </a:p>
        </p:txBody>
      </p:sp>
    </p:spTree>
    <p:extLst>
      <p:ext uri="{BB962C8B-B14F-4D97-AF65-F5344CB8AC3E}">
        <p14:creationId xmlns:p14="http://schemas.microsoft.com/office/powerpoint/2010/main" val="1026772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EA30D6-C184-497D-1C14-5D64BE39F915}"/>
              </a:ext>
            </a:extLst>
          </p:cNvPr>
          <p:cNvSpPr>
            <a:spLocks noGrp="1"/>
          </p:cNvSpPr>
          <p:nvPr>
            <p:ph type="title"/>
          </p:nvPr>
        </p:nvSpPr>
        <p:spPr/>
        <p:txBody>
          <a:bodyPr>
            <a:normAutofit/>
          </a:bodyPr>
          <a:lstStyle/>
          <a:p>
            <a:r>
              <a:rPr lang="en-US"/>
              <a:t>Learning objectives</a:t>
            </a:r>
            <a:endParaRPr lang="en-GB"/>
          </a:p>
        </p:txBody>
      </p:sp>
      <p:sp>
        <p:nvSpPr>
          <p:cNvPr id="4" name="Content Placeholder 3">
            <a:extLst>
              <a:ext uri="{FF2B5EF4-FFF2-40B4-BE49-F238E27FC236}">
                <a16:creationId xmlns:a16="http://schemas.microsoft.com/office/drawing/2014/main" id="{B029729A-0FA6-C04A-6B16-432B046D29F3}"/>
              </a:ext>
            </a:extLst>
          </p:cNvPr>
          <p:cNvSpPr>
            <a:spLocks noGrp="1"/>
          </p:cNvSpPr>
          <p:nvPr>
            <p:ph idx="1"/>
          </p:nvPr>
        </p:nvSpPr>
        <p:spPr>
          <a:xfrm>
            <a:off x="243000" y="1003014"/>
            <a:ext cx="8660494" cy="316200"/>
          </a:xfrm>
        </p:spPr>
        <p:txBody>
          <a:bodyPr>
            <a:normAutofit/>
          </a:bodyPr>
          <a:lstStyle/>
          <a:p>
            <a:r>
              <a:rPr lang="en-US" sz="1600" dirty="0">
                <a:solidFill>
                  <a:schemeClr val="tx2"/>
                </a:solidFill>
              </a:rPr>
              <a:t>On completion of this module, you should be able to:</a:t>
            </a:r>
            <a:endParaRPr lang="en-GB" sz="1600" dirty="0">
              <a:solidFill>
                <a:schemeClr val="tx2"/>
              </a:solidFill>
            </a:endParaRPr>
          </a:p>
        </p:txBody>
      </p:sp>
      <p:sp>
        <p:nvSpPr>
          <p:cNvPr id="7" name="Slide Number Placeholder 6">
            <a:extLst>
              <a:ext uri="{FF2B5EF4-FFF2-40B4-BE49-F238E27FC236}">
                <a16:creationId xmlns:a16="http://schemas.microsoft.com/office/drawing/2014/main" id="{BE970CD6-4B0A-1167-58AA-4A37C3E103FF}"/>
              </a:ext>
            </a:extLst>
          </p:cNvPr>
          <p:cNvSpPr>
            <a:spLocks noGrp="1"/>
          </p:cNvSpPr>
          <p:nvPr>
            <p:ph type="sldNum" sz="quarter" idx="12"/>
          </p:nvPr>
        </p:nvSpPr>
        <p:spPr>
          <a:xfrm>
            <a:off x="158419" y="4894854"/>
            <a:ext cx="148500" cy="135000"/>
          </a:xfrm>
        </p:spPr>
        <p:txBody>
          <a:bodyPr/>
          <a:lstStyle/>
          <a:p>
            <a:fld id="{47547CF9-5B10-D24F-A8D7-45A9778164F7}" type="slidenum">
              <a:rPr lang="uk-UA" smtClean="0"/>
              <a:pPr/>
              <a:t>3</a:t>
            </a:fld>
            <a:endParaRPr lang="uk-UA"/>
          </a:p>
        </p:txBody>
      </p:sp>
      <p:sp>
        <p:nvSpPr>
          <p:cNvPr id="13" name="Rectangle: Rounded Corners 12">
            <a:extLst>
              <a:ext uri="{FF2B5EF4-FFF2-40B4-BE49-F238E27FC236}">
                <a16:creationId xmlns:a16="http://schemas.microsoft.com/office/drawing/2014/main" id="{1912B2F8-D060-FA9B-0A99-75BB2BA55862}"/>
              </a:ext>
            </a:extLst>
          </p:cNvPr>
          <p:cNvSpPr/>
          <p:nvPr/>
        </p:nvSpPr>
        <p:spPr>
          <a:xfrm>
            <a:off x="580439" y="1240621"/>
            <a:ext cx="7476508"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Distinguish</a:t>
            </a:r>
            <a:r>
              <a:rPr lang="en-US" sz="1600" dirty="0">
                <a:solidFill>
                  <a:srgbClr val="FF0000"/>
                </a:solidFill>
              </a:rPr>
              <a:t> </a:t>
            </a:r>
            <a:r>
              <a:rPr lang="en-US" sz="1600" dirty="0">
                <a:solidFill>
                  <a:schemeClr val="tx2"/>
                </a:solidFill>
              </a:rPr>
              <a:t>between the different pharmaceutical treatment groups used in MS</a:t>
            </a:r>
          </a:p>
        </p:txBody>
      </p:sp>
      <p:sp>
        <p:nvSpPr>
          <p:cNvPr id="14" name="Rectangle: Rounded Corners 13">
            <a:extLst>
              <a:ext uri="{FF2B5EF4-FFF2-40B4-BE49-F238E27FC236}">
                <a16:creationId xmlns:a16="http://schemas.microsoft.com/office/drawing/2014/main" id="{37F64F10-4BF0-EA88-776F-3FFEC341677F}"/>
              </a:ext>
            </a:extLst>
          </p:cNvPr>
          <p:cNvSpPr/>
          <p:nvPr/>
        </p:nvSpPr>
        <p:spPr>
          <a:xfrm>
            <a:off x="580439" y="2387479"/>
            <a:ext cx="5612533"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Explain</a:t>
            </a:r>
            <a:r>
              <a:rPr lang="en-US" sz="1600" dirty="0">
                <a:solidFill>
                  <a:schemeClr val="tx2"/>
                </a:solidFill>
              </a:rPr>
              <a:t> basic biosimilar medicine concepts</a:t>
            </a:r>
            <a:endParaRPr lang="en-GB" sz="1600" dirty="0">
              <a:solidFill>
                <a:schemeClr val="tx2"/>
              </a:solidFill>
            </a:endParaRPr>
          </a:p>
        </p:txBody>
      </p:sp>
      <p:sp>
        <p:nvSpPr>
          <p:cNvPr id="15" name="Rectangle: Rounded Corners 14">
            <a:extLst>
              <a:ext uri="{FF2B5EF4-FFF2-40B4-BE49-F238E27FC236}">
                <a16:creationId xmlns:a16="http://schemas.microsoft.com/office/drawing/2014/main" id="{FD585FC9-805C-FA4B-CC7D-577F0B631497}"/>
              </a:ext>
            </a:extLst>
          </p:cNvPr>
          <p:cNvSpPr/>
          <p:nvPr/>
        </p:nvSpPr>
        <p:spPr>
          <a:xfrm>
            <a:off x="580439" y="2960908"/>
            <a:ext cx="6528755"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Teach </a:t>
            </a:r>
            <a:r>
              <a:rPr lang="en-US" sz="1600" dirty="0">
                <a:solidFill>
                  <a:schemeClr val="tx2"/>
                </a:solidFill>
              </a:rPr>
              <a:t>about the development and approval of biosimilar medicines</a:t>
            </a:r>
            <a:endParaRPr lang="en-GB" sz="1600" dirty="0">
              <a:solidFill>
                <a:schemeClr val="tx2"/>
              </a:solidFill>
            </a:endParaRPr>
          </a:p>
        </p:txBody>
      </p:sp>
      <p:sp>
        <p:nvSpPr>
          <p:cNvPr id="16" name="Rectangle: Rounded Corners 15">
            <a:extLst>
              <a:ext uri="{FF2B5EF4-FFF2-40B4-BE49-F238E27FC236}">
                <a16:creationId xmlns:a16="http://schemas.microsoft.com/office/drawing/2014/main" id="{9846A3DB-0B63-C8B2-4947-AE04842A74CE}"/>
              </a:ext>
            </a:extLst>
          </p:cNvPr>
          <p:cNvSpPr/>
          <p:nvPr/>
        </p:nvSpPr>
        <p:spPr>
          <a:xfrm>
            <a:off x="580439" y="3534336"/>
            <a:ext cx="7115560"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Educate</a:t>
            </a:r>
            <a:r>
              <a:rPr lang="en-US" sz="1600" b="1" dirty="0">
                <a:solidFill>
                  <a:srgbClr val="000000"/>
                </a:solidFill>
              </a:rPr>
              <a:t> </a:t>
            </a:r>
            <a:r>
              <a:rPr lang="en-US" sz="1600" dirty="0">
                <a:solidFill>
                  <a:schemeClr val="tx2"/>
                </a:solidFill>
              </a:rPr>
              <a:t>on the impact of biosimilar medicines in healthcare systems using real-world examples</a:t>
            </a:r>
            <a:endParaRPr lang="en-GB" sz="1600" dirty="0">
              <a:solidFill>
                <a:schemeClr val="tx2"/>
              </a:solidFill>
            </a:endParaRPr>
          </a:p>
        </p:txBody>
      </p:sp>
      <p:sp>
        <p:nvSpPr>
          <p:cNvPr id="25" name="Rectangle: Rounded Corners 24">
            <a:extLst>
              <a:ext uri="{FF2B5EF4-FFF2-40B4-BE49-F238E27FC236}">
                <a16:creationId xmlns:a16="http://schemas.microsoft.com/office/drawing/2014/main" id="{0D36D1D6-5CBD-718D-D7CC-71F34BD3EFD0}"/>
              </a:ext>
            </a:extLst>
          </p:cNvPr>
          <p:cNvSpPr/>
          <p:nvPr/>
        </p:nvSpPr>
        <p:spPr>
          <a:xfrm>
            <a:off x="579067" y="1814050"/>
            <a:ext cx="7187972" cy="457200"/>
          </a:xfrm>
          <a:prstGeom prst="rect">
            <a:avLst/>
          </a:prstGeom>
          <a:noFill/>
          <a:ln>
            <a:noFill/>
            <a:prstDash val="dash"/>
          </a:ln>
        </p:spPr>
        <p:style>
          <a:lnRef idx="2">
            <a:schemeClr val="accent3"/>
          </a:lnRef>
          <a:fillRef idx="1">
            <a:schemeClr val="lt1"/>
          </a:fillRef>
          <a:effectRef idx="0">
            <a:schemeClr val="accent3"/>
          </a:effectRef>
          <a:fontRef idx="minor">
            <a:schemeClr val="dk1"/>
          </a:fontRef>
        </p:style>
        <p:txBody>
          <a:bodyPr lIns="91440" tIns="91440" rIns="91440" bIns="91440" rtlCol="0" anchor="ctr"/>
          <a:lstStyle/>
          <a:p>
            <a:r>
              <a:rPr lang="en-US" sz="1600" b="1" dirty="0">
                <a:solidFill>
                  <a:schemeClr val="accent2"/>
                </a:solidFill>
              </a:rPr>
              <a:t>Describe </a:t>
            </a:r>
            <a:r>
              <a:rPr lang="en-US" sz="1600" dirty="0">
                <a:solidFill>
                  <a:schemeClr val="tx2"/>
                </a:solidFill>
              </a:rPr>
              <a:t>important biologic medicine concepts including inherent variability </a:t>
            </a:r>
          </a:p>
        </p:txBody>
      </p:sp>
      <p:pic>
        <p:nvPicPr>
          <p:cNvPr id="21" name="Graphic 20">
            <a:extLst>
              <a:ext uri="{FF2B5EF4-FFF2-40B4-BE49-F238E27FC236}">
                <a16:creationId xmlns:a16="http://schemas.microsoft.com/office/drawing/2014/main" id="{D29415AE-A10E-D529-F037-8B95F5935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1294328"/>
            <a:ext cx="362393" cy="362393"/>
          </a:xfrm>
          <a:prstGeom prst="rect">
            <a:avLst/>
          </a:prstGeom>
        </p:spPr>
      </p:pic>
      <p:pic>
        <p:nvPicPr>
          <p:cNvPr id="23" name="Graphic 22">
            <a:extLst>
              <a:ext uri="{FF2B5EF4-FFF2-40B4-BE49-F238E27FC236}">
                <a16:creationId xmlns:a16="http://schemas.microsoft.com/office/drawing/2014/main" id="{04BDDB9C-D59E-AC92-9443-E03E5B9B38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1868486"/>
            <a:ext cx="362393" cy="362393"/>
          </a:xfrm>
          <a:prstGeom prst="rect">
            <a:avLst/>
          </a:prstGeom>
        </p:spPr>
      </p:pic>
      <p:pic>
        <p:nvPicPr>
          <p:cNvPr id="26" name="Graphic 25">
            <a:extLst>
              <a:ext uri="{FF2B5EF4-FFF2-40B4-BE49-F238E27FC236}">
                <a16:creationId xmlns:a16="http://schemas.microsoft.com/office/drawing/2014/main" id="{663CD45A-0CC5-1D5E-2A9B-766A0BEE93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2442644"/>
            <a:ext cx="362393" cy="362393"/>
          </a:xfrm>
          <a:prstGeom prst="rect">
            <a:avLst/>
          </a:prstGeom>
        </p:spPr>
      </p:pic>
      <p:pic>
        <p:nvPicPr>
          <p:cNvPr id="27" name="Graphic 26">
            <a:extLst>
              <a:ext uri="{FF2B5EF4-FFF2-40B4-BE49-F238E27FC236}">
                <a16:creationId xmlns:a16="http://schemas.microsoft.com/office/drawing/2014/main" id="{B68731F2-BFB8-E552-0376-EB160E9094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3016802"/>
            <a:ext cx="362393" cy="362393"/>
          </a:xfrm>
          <a:prstGeom prst="rect">
            <a:avLst/>
          </a:prstGeom>
        </p:spPr>
      </p:pic>
      <p:pic>
        <p:nvPicPr>
          <p:cNvPr id="29" name="Graphic 28">
            <a:extLst>
              <a:ext uri="{FF2B5EF4-FFF2-40B4-BE49-F238E27FC236}">
                <a16:creationId xmlns:a16="http://schemas.microsoft.com/office/drawing/2014/main" id="{523A406B-CDF3-7052-4648-409C0AA92CF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1169" y="3590960"/>
            <a:ext cx="362393" cy="362393"/>
          </a:xfrm>
          <a:prstGeom prst="rect">
            <a:avLst/>
          </a:prstGeom>
        </p:spPr>
      </p:pic>
      <p:cxnSp>
        <p:nvCxnSpPr>
          <p:cNvPr id="31" name="Straight Connector 30">
            <a:extLst>
              <a:ext uri="{FF2B5EF4-FFF2-40B4-BE49-F238E27FC236}">
                <a16:creationId xmlns:a16="http://schemas.microsoft.com/office/drawing/2014/main" id="{5B8D2D75-4957-543D-1A5E-06D4CDCB9CAD}"/>
              </a:ext>
            </a:extLst>
          </p:cNvPr>
          <p:cNvCxnSpPr/>
          <p:nvPr/>
        </p:nvCxnSpPr>
        <p:spPr>
          <a:xfrm>
            <a:off x="687127" y="1745935"/>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F1A1BA8-F3A9-4464-62F0-43EEE367E2B2}"/>
              </a:ext>
            </a:extLst>
          </p:cNvPr>
          <p:cNvCxnSpPr/>
          <p:nvPr/>
        </p:nvCxnSpPr>
        <p:spPr>
          <a:xfrm>
            <a:off x="687127" y="2341358"/>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EDBD1CE-16AD-C26C-0A45-3A141BF780E7}"/>
              </a:ext>
            </a:extLst>
          </p:cNvPr>
          <p:cNvCxnSpPr/>
          <p:nvPr/>
        </p:nvCxnSpPr>
        <p:spPr>
          <a:xfrm>
            <a:off x="687127" y="2904883"/>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FF9AA30-A565-8531-E8A1-4794E639AB66}"/>
              </a:ext>
            </a:extLst>
          </p:cNvPr>
          <p:cNvCxnSpPr/>
          <p:nvPr/>
        </p:nvCxnSpPr>
        <p:spPr>
          <a:xfrm>
            <a:off x="687127" y="3500306"/>
            <a:ext cx="63093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89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ADD2E351-F85F-108A-C9EE-CD91830E90C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2</a:t>
            </a:r>
          </a:p>
        </p:txBody>
      </p:sp>
      <p:cxnSp>
        <p:nvCxnSpPr>
          <p:cNvPr id="10" name="Straight Connector 9">
            <a:extLst>
              <a:ext uri="{FF2B5EF4-FFF2-40B4-BE49-F238E27FC236}">
                <a16:creationId xmlns:a16="http://schemas.microsoft.com/office/drawing/2014/main" id="{41BA7396-372D-ECDB-89BB-F9CDC029A90C}"/>
              </a:ext>
            </a:extLst>
          </p:cNvPr>
          <p:cNvCxnSpPr>
            <a:cxnSpLocks/>
            <a:stCxn id="9"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Rounded Corners 2">
            <a:extLst>
              <a:ext uri="{FF2B5EF4-FFF2-40B4-BE49-F238E27FC236}">
                <a16:creationId xmlns:a16="http://schemas.microsoft.com/office/drawing/2014/main" id="{70BEAFCC-7B1B-0A95-EF51-14BD6F9C0EED}"/>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2" name="Rectangle: Rounded Corners 4">
            <a:extLst>
              <a:ext uri="{FF2B5EF4-FFF2-40B4-BE49-F238E27FC236}">
                <a16:creationId xmlns:a16="http://schemas.microsoft.com/office/drawing/2014/main" id="{5082849D-F3B3-47AA-7B45-2FE1CA4DCA12}"/>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5" name="Title 12">
            <a:extLst>
              <a:ext uri="{FF2B5EF4-FFF2-40B4-BE49-F238E27FC236}">
                <a16:creationId xmlns:a16="http://schemas.microsoft.com/office/drawing/2014/main" id="{84BC5BFA-EBB0-7B72-E8A9-C2C46A24264E}"/>
              </a:ext>
            </a:extLst>
          </p:cNvPr>
          <p:cNvSpPr txBox="1">
            <a:spLocks/>
          </p:cNvSpPr>
          <p:nvPr/>
        </p:nvSpPr>
        <p:spPr>
          <a:xfrm>
            <a:off x="5311873" y="924020"/>
            <a:ext cx="3344446" cy="1091205"/>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100" b="1" kern="1200" spc="-8" baseline="0">
                <a:solidFill>
                  <a:schemeClr val="accent2"/>
                </a:solidFill>
                <a:latin typeface="+mj-lt"/>
                <a:ea typeface="+mj-ea"/>
                <a:cs typeface="+mj-cs"/>
              </a:defRPr>
            </a:lvl1pPr>
          </a:lstStyle>
          <a:p>
            <a:pPr>
              <a:lnSpc>
                <a:spcPct val="90000"/>
              </a:lnSpc>
            </a:pPr>
            <a:r>
              <a:rPr lang="en-US" sz="2000"/>
              <a:t>Minor variation between two batches of the same biologic medicine is </a:t>
            </a:r>
            <a:br>
              <a:rPr lang="en-US" sz="2000"/>
            </a:br>
            <a:r>
              <a:rPr lang="en-US" sz="2000"/>
              <a:t>not expected</a:t>
            </a:r>
          </a:p>
        </p:txBody>
      </p:sp>
      <p:sp>
        <p:nvSpPr>
          <p:cNvPr id="2" name="Slide Number Placeholder 89">
            <a:extLst>
              <a:ext uri="{FF2B5EF4-FFF2-40B4-BE49-F238E27FC236}">
                <a16:creationId xmlns:a16="http://schemas.microsoft.com/office/drawing/2014/main" id="{106D8002-60EF-B3F7-669D-B9CD4AF98FF7}"/>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0</a:t>
            </a:fld>
            <a:endParaRPr lang="en-GB"/>
          </a:p>
        </p:txBody>
      </p:sp>
    </p:spTree>
    <p:extLst>
      <p:ext uri="{BB962C8B-B14F-4D97-AF65-F5344CB8AC3E}">
        <p14:creationId xmlns:p14="http://schemas.microsoft.com/office/powerpoint/2010/main" val="13684610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D97E556-2BCC-5528-0A3A-FA1B2A8C8BC6}"/>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4" name="Oval 13">
            <a:extLst>
              <a:ext uri="{FF2B5EF4-FFF2-40B4-BE49-F238E27FC236}">
                <a16:creationId xmlns:a16="http://schemas.microsoft.com/office/drawing/2014/main" id="{76002187-6627-1971-80A0-197031A7C6F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2</a:t>
            </a:r>
          </a:p>
        </p:txBody>
      </p:sp>
      <p:cxnSp>
        <p:nvCxnSpPr>
          <p:cNvPr id="15" name="Straight Connector 14">
            <a:extLst>
              <a:ext uri="{FF2B5EF4-FFF2-40B4-BE49-F238E27FC236}">
                <a16:creationId xmlns:a16="http://schemas.microsoft.com/office/drawing/2014/main" id="{C6D04126-6FE0-9B2C-2791-7D12B9CE03FB}"/>
              </a:ext>
            </a:extLst>
          </p:cNvPr>
          <p:cNvCxnSpPr>
            <a:cxnSpLocks/>
            <a:stCxn id="14" idx="4"/>
            <a:endCxn id="22" idx="0"/>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Rounded Corners 2">
            <a:extLst>
              <a:ext uri="{FF2B5EF4-FFF2-40B4-BE49-F238E27FC236}">
                <a16:creationId xmlns:a16="http://schemas.microsoft.com/office/drawing/2014/main" id="{92B2F766-BA2E-4751-0471-5D5FCB38E3B5}"/>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21" name="Rectangle: Rounded Corners 4">
            <a:extLst>
              <a:ext uri="{FF2B5EF4-FFF2-40B4-BE49-F238E27FC236}">
                <a16:creationId xmlns:a16="http://schemas.microsoft.com/office/drawing/2014/main" id="{44D0CEE5-E7D4-7CFA-9B55-11AE821CFE44}"/>
              </a:ext>
            </a:extLst>
          </p:cNvPr>
          <p:cNvSpPr/>
          <p:nvPr/>
        </p:nvSpPr>
        <p:spPr>
          <a:xfrm>
            <a:off x="5311875" y="3371198"/>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False</a:t>
            </a:r>
            <a:endParaRPr lang="en-GB" sz="2000" b="1" spc="150">
              <a:solidFill>
                <a:schemeClr val="bg2"/>
              </a:solidFill>
            </a:endParaRPr>
          </a:p>
        </p:txBody>
      </p:sp>
      <p:sp>
        <p:nvSpPr>
          <p:cNvPr id="23" name="Rectangle 22">
            <a:hlinkClick r:id="rId2" action="ppaction://hlinksldjump"/>
            <a:extLst>
              <a:ext uri="{FF2B5EF4-FFF2-40B4-BE49-F238E27FC236}">
                <a16:creationId xmlns:a16="http://schemas.microsoft.com/office/drawing/2014/main" id="{CD1D2954-7BF8-D078-F8C9-EFE99F3EE299}"/>
              </a:ext>
            </a:extLst>
          </p:cNvPr>
          <p:cNvSpPr/>
          <p:nvPr/>
        </p:nvSpPr>
        <p:spPr>
          <a:xfrm>
            <a:off x="4852470" y="40850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AD8B0EA2-B571-0CDF-577A-E6D41A18E19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46F22E8B-A2F7-FD5B-7928-FCE653157D08}"/>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D1A986E9-F1D0-DDB1-84B3-30F6EF503A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F6648D4C-D38C-6EE9-60DD-59B9B0A465FC}"/>
              </a:ext>
            </a:extLst>
          </p:cNvPr>
          <p:cNvSpPr>
            <a:spLocks noGrp="1"/>
          </p:cNvSpPr>
          <p:nvPr>
            <p:ph type="title"/>
          </p:nvPr>
        </p:nvSpPr>
        <p:spPr>
          <a:xfrm>
            <a:off x="5311873" y="924020"/>
            <a:ext cx="3344446" cy="1091205"/>
          </a:xfrm>
        </p:spPr>
        <p:txBody>
          <a:bodyPr/>
          <a:lstStyle/>
          <a:p>
            <a:pPr>
              <a:lnSpc>
                <a:spcPct val="90000"/>
              </a:lnSpc>
            </a:pPr>
            <a:r>
              <a:rPr lang="en-US" sz="2000"/>
              <a:t>Minor variation between two batches of the same biologic medicine is </a:t>
            </a:r>
            <a:br>
              <a:rPr lang="en-US" sz="2000"/>
            </a:br>
            <a:r>
              <a:rPr lang="en-US" sz="2000"/>
              <a:t>not expected</a:t>
            </a:r>
          </a:p>
        </p:txBody>
      </p:sp>
      <p:sp>
        <p:nvSpPr>
          <p:cNvPr id="5" name="Slide Number Placeholder 89">
            <a:extLst>
              <a:ext uri="{FF2B5EF4-FFF2-40B4-BE49-F238E27FC236}">
                <a16:creationId xmlns:a16="http://schemas.microsoft.com/office/drawing/2014/main" id="{05613C71-F640-3207-A8D6-F7787D7C4053}"/>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1</a:t>
            </a:fld>
            <a:endParaRPr lang="en-GB"/>
          </a:p>
        </p:txBody>
      </p:sp>
    </p:spTree>
    <p:extLst>
      <p:ext uri="{BB962C8B-B14F-4D97-AF65-F5344CB8AC3E}">
        <p14:creationId xmlns:p14="http://schemas.microsoft.com/office/powerpoint/2010/main" val="13472308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50C1F9B7-15DC-8D3D-E18E-8264B0CB7339}"/>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3</a:t>
            </a:r>
          </a:p>
        </p:txBody>
      </p:sp>
      <p:cxnSp>
        <p:nvCxnSpPr>
          <p:cNvPr id="15" name="Straight Connector 14">
            <a:extLst>
              <a:ext uri="{FF2B5EF4-FFF2-40B4-BE49-F238E27FC236}">
                <a16:creationId xmlns:a16="http://schemas.microsoft.com/office/drawing/2014/main" id="{29FEF6BF-D658-D2AA-A868-682A9A990F02}"/>
              </a:ext>
            </a:extLst>
          </p:cNvPr>
          <p:cNvCxnSpPr>
            <a:cxnSpLocks/>
            <a:stCxn id="14"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Rounded Corners 2">
            <a:extLst>
              <a:ext uri="{FF2B5EF4-FFF2-40B4-BE49-F238E27FC236}">
                <a16:creationId xmlns:a16="http://schemas.microsoft.com/office/drawing/2014/main" id="{1FE3DCFF-5522-4EF6-34DB-1389989BC206}"/>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7" name="Rectangle: Rounded Corners 4">
            <a:extLst>
              <a:ext uri="{FF2B5EF4-FFF2-40B4-BE49-F238E27FC236}">
                <a16:creationId xmlns:a16="http://schemas.microsoft.com/office/drawing/2014/main" id="{0DA52804-14AF-29D3-2747-E981E2CE488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5" name="Title 12">
            <a:extLst>
              <a:ext uri="{FF2B5EF4-FFF2-40B4-BE49-F238E27FC236}">
                <a16:creationId xmlns:a16="http://schemas.microsoft.com/office/drawing/2014/main" id="{8ECA42D3-C4D7-451F-52BF-911683FB8B66}"/>
              </a:ext>
            </a:extLst>
          </p:cNvPr>
          <p:cNvSpPr>
            <a:spLocks noGrp="1"/>
          </p:cNvSpPr>
          <p:nvPr>
            <p:ph type="title"/>
          </p:nvPr>
        </p:nvSpPr>
        <p:spPr>
          <a:xfrm>
            <a:off x="5311873" y="924020"/>
            <a:ext cx="3344446" cy="1091205"/>
          </a:xfrm>
        </p:spPr>
        <p:txBody>
          <a:bodyPr/>
          <a:lstStyle/>
          <a:p>
            <a:pPr>
              <a:lnSpc>
                <a:spcPct val="90000"/>
              </a:lnSpc>
            </a:pPr>
            <a:r>
              <a:rPr lang="en-US" sz="2000"/>
              <a:t>Biologic reference medicines are a separate treatment group to small molecule medicines, NBCDs or generics</a:t>
            </a:r>
          </a:p>
        </p:txBody>
      </p:sp>
      <p:sp>
        <p:nvSpPr>
          <p:cNvPr id="3" name="Rectangle 2">
            <a:extLst>
              <a:ext uri="{FF2B5EF4-FFF2-40B4-BE49-F238E27FC236}">
                <a16:creationId xmlns:a16="http://schemas.microsoft.com/office/drawing/2014/main" id="{E3F3DD5C-DF9B-7969-8A94-7454B2467EC2}"/>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NBCD, non-biological complex drug.</a:t>
            </a:r>
            <a:endParaRPr lang="en-US" sz="600">
              <a:solidFill>
                <a:srgbClr val="4D4D57"/>
              </a:solidFill>
              <a:latin typeface="Arial" panose="020B0604020202020204"/>
            </a:endParaRPr>
          </a:p>
        </p:txBody>
      </p:sp>
      <p:sp>
        <p:nvSpPr>
          <p:cNvPr id="4" name="Slide Number Placeholder 89">
            <a:extLst>
              <a:ext uri="{FF2B5EF4-FFF2-40B4-BE49-F238E27FC236}">
                <a16:creationId xmlns:a16="http://schemas.microsoft.com/office/drawing/2014/main" id="{022A153E-EECD-E7ED-D464-C16290CD0503}"/>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2</a:t>
            </a:fld>
            <a:endParaRPr lang="en-GB"/>
          </a:p>
        </p:txBody>
      </p:sp>
    </p:spTree>
    <p:extLst>
      <p:ext uri="{BB962C8B-B14F-4D97-AF65-F5344CB8AC3E}">
        <p14:creationId xmlns:p14="http://schemas.microsoft.com/office/powerpoint/2010/main" val="12335380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F09EEA-A7B6-9A3B-A701-378E45F99977}"/>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NBCD, non-biological complex drug.</a:t>
            </a:r>
            <a:endParaRPr lang="en-US" sz="600">
              <a:solidFill>
                <a:srgbClr val="4D4D57"/>
              </a:solidFill>
              <a:latin typeface="Arial" panose="020B0604020202020204"/>
            </a:endParaRPr>
          </a:p>
        </p:txBody>
      </p:sp>
      <p:sp>
        <p:nvSpPr>
          <p:cNvPr id="10" name="Oval 9">
            <a:extLst>
              <a:ext uri="{FF2B5EF4-FFF2-40B4-BE49-F238E27FC236}">
                <a16:creationId xmlns:a16="http://schemas.microsoft.com/office/drawing/2014/main" id="{61955F1B-ECC4-5945-E981-BC53780EFE0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3</a:t>
            </a:r>
          </a:p>
        </p:txBody>
      </p:sp>
      <p:cxnSp>
        <p:nvCxnSpPr>
          <p:cNvPr id="11" name="Straight Connector 10">
            <a:extLst>
              <a:ext uri="{FF2B5EF4-FFF2-40B4-BE49-F238E27FC236}">
                <a16:creationId xmlns:a16="http://schemas.microsoft.com/office/drawing/2014/main" id="{3AEB5E83-C6DE-6BBD-7140-D962B2E8A2AC}"/>
              </a:ext>
            </a:extLst>
          </p:cNvPr>
          <p:cNvCxnSpPr>
            <a:cxnSpLocks/>
            <a:stCxn id="10"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Rounded Corners 2">
            <a:extLst>
              <a:ext uri="{FF2B5EF4-FFF2-40B4-BE49-F238E27FC236}">
                <a16:creationId xmlns:a16="http://schemas.microsoft.com/office/drawing/2014/main" id="{927CBBF9-F784-0376-12D2-7883C36D50B9}"/>
              </a:ext>
            </a:extLst>
          </p:cNvPr>
          <p:cNvSpPr/>
          <p:nvPr/>
        </p:nvSpPr>
        <p:spPr>
          <a:xfrm>
            <a:off x="5311875" y="2587835"/>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True</a:t>
            </a:r>
            <a:endParaRPr lang="en-GB" sz="2000" b="1" spc="150">
              <a:solidFill>
                <a:schemeClr val="bg2"/>
              </a:solidFill>
            </a:endParaRPr>
          </a:p>
        </p:txBody>
      </p:sp>
      <p:sp>
        <p:nvSpPr>
          <p:cNvPr id="13" name="Rectangle: Rounded Corners 4">
            <a:extLst>
              <a:ext uri="{FF2B5EF4-FFF2-40B4-BE49-F238E27FC236}">
                <a16:creationId xmlns:a16="http://schemas.microsoft.com/office/drawing/2014/main" id="{3C8A3DC2-02C8-B085-EE35-8CE88FD7205A}"/>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18" name="Oval 17">
            <a:extLst>
              <a:ext uri="{FF2B5EF4-FFF2-40B4-BE49-F238E27FC236}">
                <a16:creationId xmlns:a16="http://schemas.microsoft.com/office/drawing/2014/main" id="{696DF41A-ACB9-40E5-0E47-63D7EFBC3BFF}"/>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2" name="Rectangle 21">
            <a:hlinkClick r:id="rId2" action="ppaction://hlinksldjump"/>
            <a:extLst>
              <a:ext uri="{FF2B5EF4-FFF2-40B4-BE49-F238E27FC236}">
                <a16:creationId xmlns:a16="http://schemas.microsoft.com/office/drawing/2014/main" id="{AF58F870-D52A-E54E-D1F8-32948C844174}"/>
              </a:ext>
            </a:extLst>
          </p:cNvPr>
          <p:cNvSpPr/>
          <p:nvPr/>
        </p:nvSpPr>
        <p:spPr>
          <a:xfrm>
            <a:off x="4873406" y="4072058"/>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6F7268F7-26B1-5983-07C6-C9DC0C67B888}"/>
              </a:ext>
            </a:extLst>
          </p:cNvPr>
          <p:cNvGrpSpPr/>
          <p:nvPr/>
        </p:nvGrpSpPr>
        <p:grpSpPr>
          <a:xfrm>
            <a:off x="4873406" y="4270307"/>
            <a:ext cx="3911809" cy="438470"/>
            <a:chOff x="138971" y="3753538"/>
            <a:chExt cx="3911809" cy="438470"/>
          </a:xfrm>
        </p:grpSpPr>
        <p:sp>
          <p:nvSpPr>
            <p:cNvPr id="4" name="Rectangle 3">
              <a:extLst>
                <a:ext uri="{FF2B5EF4-FFF2-40B4-BE49-F238E27FC236}">
                  <a16:creationId xmlns:a16="http://schemas.microsoft.com/office/drawing/2014/main" id="{39077F9D-3C7F-5EC8-0EAD-7A85A33F2549}"/>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5" name="Graphic 4" descr="Cursor outline">
              <a:extLst>
                <a:ext uri="{FF2B5EF4-FFF2-40B4-BE49-F238E27FC236}">
                  <a16:creationId xmlns:a16="http://schemas.microsoft.com/office/drawing/2014/main" id="{EF82A050-3E37-A228-D8FB-FEAD3DCB07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9" name="Title 12">
            <a:extLst>
              <a:ext uri="{FF2B5EF4-FFF2-40B4-BE49-F238E27FC236}">
                <a16:creationId xmlns:a16="http://schemas.microsoft.com/office/drawing/2014/main" id="{DD54CA0D-2C53-885F-74A5-335EFD58FF38}"/>
              </a:ext>
            </a:extLst>
          </p:cNvPr>
          <p:cNvSpPr>
            <a:spLocks noGrp="1"/>
          </p:cNvSpPr>
          <p:nvPr>
            <p:ph type="title"/>
          </p:nvPr>
        </p:nvSpPr>
        <p:spPr>
          <a:xfrm>
            <a:off x="5311873" y="924020"/>
            <a:ext cx="3344446" cy="1091205"/>
          </a:xfrm>
        </p:spPr>
        <p:txBody>
          <a:bodyPr/>
          <a:lstStyle/>
          <a:p>
            <a:pPr>
              <a:lnSpc>
                <a:spcPct val="90000"/>
              </a:lnSpc>
            </a:pPr>
            <a:r>
              <a:rPr lang="en-US" sz="2000"/>
              <a:t>Biologic reference medicines are a separate treatment group to small molecule medicines, NBCDs or generics</a:t>
            </a:r>
          </a:p>
        </p:txBody>
      </p:sp>
      <p:sp>
        <p:nvSpPr>
          <p:cNvPr id="14" name="Slide Number Placeholder 89">
            <a:extLst>
              <a:ext uri="{FF2B5EF4-FFF2-40B4-BE49-F238E27FC236}">
                <a16:creationId xmlns:a16="http://schemas.microsoft.com/office/drawing/2014/main" id="{792B3072-8C02-4C8B-272F-3FD0F77FA079}"/>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3</a:t>
            </a:fld>
            <a:endParaRPr lang="en-GB"/>
          </a:p>
        </p:txBody>
      </p:sp>
    </p:spTree>
    <p:extLst>
      <p:ext uri="{BB962C8B-B14F-4D97-AF65-F5344CB8AC3E}">
        <p14:creationId xmlns:p14="http://schemas.microsoft.com/office/powerpoint/2010/main" val="30696468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51CAAD7C-E5CD-3B0D-A2D6-E8BB98D1F4F4}"/>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4</a:t>
            </a:r>
          </a:p>
        </p:txBody>
      </p:sp>
      <p:cxnSp>
        <p:nvCxnSpPr>
          <p:cNvPr id="8" name="Straight Connector 7">
            <a:extLst>
              <a:ext uri="{FF2B5EF4-FFF2-40B4-BE49-F238E27FC236}">
                <a16:creationId xmlns:a16="http://schemas.microsoft.com/office/drawing/2014/main" id="{98B018FA-6AEB-A8AD-FF2B-84758C77E6F3}"/>
              </a:ext>
            </a:extLst>
          </p:cNvPr>
          <p:cNvCxnSpPr>
            <a:cxnSpLocks/>
            <a:stCxn id="7"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BA02444-F686-B8BD-39E1-E1E09E417BC6}"/>
              </a:ext>
            </a:extLst>
          </p:cNvPr>
          <p:cNvSpPr/>
          <p:nvPr/>
        </p:nvSpPr>
        <p:spPr>
          <a:xfrm>
            <a:off x="5311874" y="1942723"/>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Produced to the same standards </a:t>
            </a:r>
          </a:p>
        </p:txBody>
      </p:sp>
      <p:sp>
        <p:nvSpPr>
          <p:cNvPr id="14" name="Rectangle: Rounded Corners 4">
            <a:hlinkClick r:id="rId2" action="ppaction://hlinksldjump"/>
            <a:extLst>
              <a:ext uri="{FF2B5EF4-FFF2-40B4-BE49-F238E27FC236}">
                <a16:creationId xmlns:a16="http://schemas.microsoft.com/office/drawing/2014/main" id="{9D741F37-4A75-856B-B99A-EE29D142AFB9}"/>
              </a:ext>
            </a:extLst>
          </p:cNvPr>
          <p:cNvSpPr/>
          <p:nvPr/>
        </p:nvSpPr>
        <p:spPr>
          <a:xfrm>
            <a:off x="5311874" y="3039239"/>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Same active ingredient </a:t>
            </a:r>
          </a:p>
        </p:txBody>
      </p:sp>
      <p:sp>
        <p:nvSpPr>
          <p:cNvPr id="15" name="Rectangle: Rounded Corners 2">
            <a:extLst>
              <a:ext uri="{FF2B5EF4-FFF2-40B4-BE49-F238E27FC236}">
                <a16:creationId xmlns:a16="http://schemas.microsoft.com/office/drawing/2014/main" id="{C2D0EE28-2508-EAB7-96AE-379FAFCCE66F}"/>
              </a:ext>
            </a:extLst>
          </p:cNvPr>
          <p:cNvSpPr/>
          <p:nvPr/>
        </p:nvSpPr>
        <p:spPr>
          <a:xfrm>
            <a:off x="5311873" y="2490981"/>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Comparable safety and efficacy</a:t>
            </a:r>
          </a:p>
        </p:txBody>
      </p:sp>
      <p:sp>
        <p:nvSpPr>
          <p:cNvPr id="16" name="Rectangle: Rounded Corners 4">
            <a:extLst>
              <a:ext uri="{FF2B5EF4-FFF2-40B4-BE49-F238E27FC236}">
                <a16:creationId xmlns:a16="http://schemas.microsoft.com/office/drawing/2014/main" id="{06C54646-4966-4D88-7463-FC181860D15F}"/>
              </a:ext>
            </a:extLst>
          </p:cNvPr>
          <p:cNvSpPr/>
          <p:nvPr/>
        </p:nvSpPr>
        <p:spPr>
          <a:xfrm>
            <a:off x="5311873" y="3587497"/>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All of the above</a:t>
            </a:r>
          </a:p>
        </p:txBody>
      </p:sp>
      <p:sp>
        <p:nvSpPr>
          <p:cNvPr id="5" name="Title 12">
            <a:extLst>
              <a:ext uri="{FF2B5EF4-FFF2-40B4-BE49-F238E27FC236}">
                <a16:creationId xmlns:a16="http://schemas.microsoft.com/office/drawing/2014/main" id="{264E52C9-2317-21ED-3001-47CE0D6431A8}"/>
              </a:ext>
            </a:extLst>
          </p:cNvPr>
          <p:cNvSpPr>
            <a:spLocks noGrp="1"/>
          </p:cNvSpPr>
          <p:nvPr>
            <p:ph type="title"/>
          </p:nvPr>
        </p:nvSpPr>
        <p:spPr>
          <a:xfrm>
            <a:off x="5311873" y="924020"/>
            <a:ext cx="3344446" cy="1091205"/>
          </a:xfrm>
        </p:spPr>
        <p:txBody>
          <a:bodyPr/>
          <a:lstStyle/>
          <a:p>
            <a:pPr>
              <a:lnSpc>
                <a:spcPct val="90000"/>
              </a:lnSpc>
            </a:pPr>
            <a:r>
              <a:rPr lang="en-US" sz="2000"/>
              <a:t>In what way(s) do biosimilar medicines match a reference biologic? </a:t>
            </a:r>
          </a:p>
        </p:txBody>
      </p:sp>
      <p:sp>
        <p:nvSpPr>
          <p:cNvPr id="2" name="Slide Number Placeholder 89">
            <a:extLst>
              <a:ext uri="{FF2B5EF4-FFF2-40B4-BE49-F238E27FC236}">
                <a16:creationId xmlns:a16="http://schemas.microsoft.com/office/drawing/2014/main" id="{EF8A9EE3-9A81-C7E8-4B53-918A3D8D9B83}"/>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4</a:t>
            </a:fld>
            <a:endParaRPr lang="en-GB"/>
          </a:p>
        </p:txBody>
      </p:sp>
    </p:spTree>
    <p:extLst>
      <p:ext uri="{BB962C8B-B14F-4D97-AF65-F5344CB8AC3E}">
        <p14:creationId xmlns:p14="http://schemas.microsoft.com/office/powerpoint/2010/main" val="18606416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440D0C32-2A31-1F22-CE53-6A8AAA890B70}"/>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4</a:t>
            </a:r>
          </a:p>
        </p:txBody>
      </p:sp>
      <p:cxnSp>
        <p:nvCxnSpPr>
          <p:cNvPr id="17" name="Straight Connector 16">
            <a:extLst>
              <a:ext uri="{FF2B5EF4-FFF2-40B4-BE49-F238E27FC236}">
                <a16:creationId xmlns:a16="http://schemas.microsoft.com/office/drawing/2014/main" id="{F278DA85-430C-9023-B78C-758E00C36901}"/>
              </a:ext>
            </a:extLst>
          </p:cNvPr>
          <p:cNvCxnSpPr>
            <a:cxnSpLocks/>
            <a:stCxn id="1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Rounded Corners 2">
            <a:extLst>
              <a:ext uri="{FF2B5EF4-FFF2-40B4-BE49-F238E27FC236}">
                <a16:creationId xmlns:a16="http://schemas.microsoft.com/office/drawing/2014/main" id="{A2BB357C-307B-4DDE-AAB4-1C13C01E76D9}"/>
              </a:ext>
            </a:extLst>
          </p:cNvPr>
          <p:cNvSpPr/>
          <p:nvPr/>
        </p:nvSpPr>
        <p:spPr>
          <a:xfrm>
            <a:off x="5311874" y="1942723"/>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Produced to the same standards </a:t>
            </a:r>
          </a:p>
        </p:txBody>
      </p:sp>
      <p:sp>
        <p:nvSpPr>
          <p:cNvPr id="19" name="Rectangle: Rounded Corners 4">
            <a:hlinkClick r:id="rId2" action="ppaction://hlinksldjump"/>
            <a:extLst>
              <a:ext uri="{FF2B5EF4-FFF2-40B4-BE49-F238E27FC236}">
                <a16:creationId xmlns:a16="http://schemas.microsoft.com/office/drawing/2014/main" id="{3CC1502C-080B-94FB-2B0E-9C2C9D9DD9DA}"/>
              </a:ext>
            </a:extLst>
          </p:cNvPr>
          <p:cNvSpPr/>
          <p:nvPr/>
        </p:nvSpPr>
        <p:spPr>
          <a:xfrm>
            <a:off x="5311874" y="3039239"/>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Same active ingredient </a:t>
            </a:r>
          </a:p>
        </p:txBody>
      </p:sp>
      <p:sp>
        <p:nvSpPr>
          <p:cNvPr id="20" name="Rectangle: Rounded Corners 2">
            <a:extLst>
              <a:ext uri="{FF2B5EF4-FFF2-40B4-BE49-F238E27FC236}">
                <a16:creationId xmlns:a16="http://schemas.microsoft.com/office/drawing/2014/main" id="{BA519871-ED8A-89E1-915D-FE40903FDD03}"/>
              </a:ext>
            </a:extLst>
          </p:cNvPr>
          <p:cNvSpPr/>
          <p:nvPr/>
        </p:nvSpPr>
        <p:spPr>
          <a:xfrm>
            <a:off x="5311873" y="2490981"/>
            <a:ext cx="3154680"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Comparable safety and efficacy</a:t>
            </a:r>
          </a:p>
        </p:txBody>
      </p:sp>
      <p:sp>
        <p:nvSpPr>
          <p:cNvPr id="21" name="Rectangle: Rounded Corners 4">
            <a:extLst>
              <a:ext uri="{FF2B5EF4-FFF2-40B4-BE49-F238E27FC236}">
                <a16:creationId xmlns:a16="http://schemas.microsoft.com/office/drawing/2014/main" id="{D57B7194-1858-2CB7-3027-A195E2BF3173}"/>
              </a:ext>
            </a:extLst>
          </p:cNvPr>
          <p:cNvSpPr/>
          <p:nvPr/>
        </p:nvSpPr>
        <p:spPr>
          <a:xfrm>
            <a:off x="5311873" y="3587497"/>
            <a:ext cx="3154680"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b="1">
                <a:solidFill>
                  <a:schemeClr val="bg2"/>
                </a:solidFill>
              </a:rPr>
              <a:t>All of the above</a:t>
            </a:r>
          </a:p>
        </p:txBody>
      </p:sp>
      <p:sp>
        <p:nvSpPr>
          <p:cNvPr id="22" name="Oval 21">
            <a:extLst>
              <a:ext uri="{FF2B5EF4-FFF2-40B4-BE49-F238E27FC236}">
                <a16:creationId xmlns:a16="http://schemas.microsoft.com/office/drawing/2014/main" id="{1610D87A-B2DE-C863-AECF-0DB7ED1E0777}"/>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6" name="Rectangle 25">
            <a:hlinkClick r:id="rId3" action="ppaction://hlinksldjump"/>
            <a:extLst>
              <a:ext uri="{FF2B5EF4-FFF2-40B4-BE49-F238E27FC236}">
                <a16:creationId xmlns:a16="http://schemas.microsoft.com/office/drawing/2014/main" id="{CBF6A040-3D1F-B004-BFDB-5ACCD27987DC}"/>
              </a:ext>
            </a:extLst>
          </p:cNvPr>
          <p:cNvSpPr/>
          <p:nvPr/>
        </p:nvSpPr>
        <p:spPr>
          <a:xfrm>
            <a:off x="4821924" y="4097023"/>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ED73F940-571B-C1F7-6B18-483DF1B9875D}"/>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BD2D3C20-A380-F27E-8C77-59FAD02F285D}"/>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F825A6FF-0980-A147-4AB4-CF9D276F0B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2FF0BC50-B8D2-6DE8-D70C-338D86DBF786}"/>
              </a:ext>
            </a:extLst>
          </p:cNvPr>
          <p:cNvSpPr>
            <a:spLocks noGrp="1"/>
          </p:cNvSpPr>
          <p:nvPr>
            <p:ph type="title"/>
          </p:nvPr>
        </p:nvSpPr>
        <p:spPr>
          <a:xfrm>
            <a:off x="5311873" y="924020"/>
            <a:ext cx="3344446" cy="1091205"/>
          </a:xfrm>
        </p:spPr>
        <p:txBody>
          <a:bodyPr/>
          <a:lstStyle/>
          <a:p>
            <a:pPr>
              <a:lnSpc>
                <a:spcPct val="90000"/>
              </a:lnSpc>
            </a:pPr>
            <a:r>
              <a:rPr lang="en-US" sz="2000"/>
              <a:t>In what way(s) do biosimilar medicines match a reference biologic? </a:t>
            </a:r>
          </a:p>
        </p:txBody>
      </p:sp>
      <p:sp>
        <p:nvSpPr>
          <p:cNvPr id="5" name="Slide Number Placeholder 89">
            <a:extLst>
              <a:ext uri="{FF2B5EF4-FFF2-40B4-BE49-F238E27FC236}">
                <a16:creationId xmlns:a16="http://schemas.microsoft.com/office/drawing/2014/main" id="{88EE90D1-FBC8-008F-613C-836CA13EB7E5}"/>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5</a:t>
            </a:fld>
            <a:endParaRPr lang="en-GB"/>
          </a:p>
        </p:txBody>
      </p:sp>
    </p:spTree>
    <p:extLst>
      <p:ext uri="{BB962C8B-B14F-4D97-AF65-F5344CB8AC3E}">
        <p14:creationId xmlns:p14="http://schemas.microsoft.com/office/powerpoint/2010/main" val="37165567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AEF29831-8E66-19BF-69EE-DC1B1E265E4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5</a:t>
            </a:r>
          </a:p>
        </p:txBody>
      </p:sp>
      <p:cxnSp>
        <p:nvCxnSpPr>
          <p:cNvPr id="12" name="Straight Connector 11">
            <a:extLst>
              <a:ext uri="{FF2B5EF4-FFF2-40B4-BE49-F238E27FC236}">
                <a16:creationId xmlns:a16="http://schemas.microsoft.com/office/drawing/2014/main" id="{34D4E1F1-90BC-2A1F-A35D-748DFA9A4573}"/>
              </a:ext>
            </a:extLst>
          </p:cNvPr>
          <p:cNvCxnSpPr>
            <a:cxnSpLocks/>
            <a:stCxn id="11" idx="4"/>
          </p:cNvCxnSpPr>
          <p:nvPr/>
        </p:nvCxnSpPr>
        <p:spPr>
          <a:xfrm>
            <a:off x="5090367" y="750179"/>
            <a:ext cx="0" cy="367766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Rounded Corners 2">
            <a:extLst>
              <a:ext uri="{FF2B5EF4-FFF2-40B4-BE49-F238E27FC236}">
                <a16:creationId xmlns:a16="http://schemas.microsoft.com/office/drawing/2014/main" id="{37650C13-5C35-AF1E-98A1-DC9CF5956979}"/>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safety, and immunogenicity</a:t>
            </a:r>
          </a:p>
        </p:txBody>
      </p:sp>
      <p:sp>
        <p:nvSpPr>
          <p:cNvPr id="14" name="Rectangle: Rounded Corners 4">
            <a:extLst>
              <a:ext uri="{FF2B5EF4-FFF2-40B4-BE49-F238E27FC236}">
                <a16:creationId xmlns:a16="http://schemas.microsoft.com/office/drawing/2014/main" id="{60F109FC-7219-B75F-9773-A61FB1EC88A1}"/>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immunogenicity, and efficacy </a:t>
            </a:r>
          </a:p>
        </p:txBody>
      </p:sp>
      <p:sp>
        <p:nvSpPr>
          <p:cNvPr id="15" name="Rectangle: Rounded Corners 2">
            <a:extLst>
              <a:ext uri="{FF2B5EF4-FFF2-40B4-BE49-F238E27FC236}">
                <a16:creationId xmlns:a16="http://schemas.microsoft.com/office/drawing/2014/main" id="{16B427FB-4123-48CA-45C1-1C1D432298BA}"/>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Immunogenicity, safety, and efficacy </a:t>
            </a:r>
          </a:p>
        </p:txBody>
      </p:sp>
      <p:sp>
        <p:nvSpPr>
          <p:cNvPr id="16" name="Rectangle: Rounded Corners 4">
            <a:extLst>
              <a:ext uri="{FF2B5EF4-FFF2-40B4-BE49-F238E27FC236}">
                <a16:creationId xmlns:a16="http://schemas.microsoft.com/office/drawing/2014/main" id="{2FA51F2C-B143-4E5A-BF06-6A3041F9F78D}"/>
              </a:ext>
            </a:extLst>
          </p:cNvPr>
          <p:cNvSpPr/>
          <p:nvPr/>
        </p:nvSpPr>
        <p:spPr>
          <a:xfrm>
            <a:off x="5311872" y="3696066"/>
            <a:ext cx="3486681" cy="731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dirty="0">
                <a:solidFill>
                  <a:schemeClr val="accent3"/>
                </a:solidFill>
              </a:rPr>
              <a:t>Quality, safety, and efficacy with no clinically meaningful differences in immunogenicity</a:t>
            </a:r>
          </a:p>
        </p:txBody>
      </p:sp>
      <p:sp>
        <p:nvSpPr>
          <p:cNvPr id="21" name="Slide Number Placeholder 20">
            <a:extLst>
              <a:ext uri="{FF2B5EF4-FFF2-40B4-BE49-F238E27FC236}">
                <a16:creationId xmlns:a16="http://schemas.microsoft.com/office/drawing/2014/main" id="{3DC5487A-9203-B6FC-CC57-0260B6DCC6F1}"/>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36</a:t>
            </a:fld>
            <a:endParaRPr lang="en-GB" sz="600" b="1">
              <a:solidFill>
                <a:schemeClr val="accent2"/>
              </a:solidFill>
            </a:endParaRPr>
          </a:p>
        </p:txBody>
      </p:sp>
      <p:sp>
        <p:nvSpPr>
          <p:cNvPr id="5" name="Title 12">
            <a:extLst>
              <a:ext uri="{FF2B5EF4-FFF2-40B4-BE49-F238E27FC236}">
                <a16:creationId xmlns:a16="http://schemas.microsoft.com/office/drawing/2014/main" id="{21E281E2-9676-2139-E016-ACE2DA007A68}"/>
              </a:ext>
            </a:extLst>
          </p:cNvPr>
          <p:cNvSpPr>
            <a:spLocks noGrp="1"/>
          </p:cNvSpPr>
          <p:nvPr>
            <p:ph type="title"/>
          </p:nvPr>
        </p:nvSpPr>
        <p:spPr>
          <a:xfrm>
            <a:off x="5311873" y="924020"/>
            <a:ext cx="3344446" cy="1091205"/>
          </a:xfrm>
        </p:spPr>
        <p:txBody>
          <a:bodyPr/>
          <a:lstStyle/>
          <a:p>
            <a:pPr>
              <a:lnSpc>
                <a:spcPct val="90000"/>
              </a:lnSpc>
            </a:pPr>
            <a:r>
              <a:rPr lang="en-US" sz="2000"/>
              <a:t>For regulatory approval, a biosimilar medicine must match its reference biologic in terms of______?</a:t>
            </a:r>
          </a:p>
        </p:txBody>
      </p:sp>
      <p:sp>
        <p:nvSpPr>
          <p:cNvPr id="2" name="Slide Number Placeholder 89">
            <a:extLst>
              <a:ext uri="{FF2B5EF4-FFF2-40B4-BE49-F238E27FC236}">
                <a16:creationId xmlns:a16="http://schemas.microsoft.com/office/drawing/2014/main" id="{CE518391-83E4-C3E0-5286-AD373163D152}"/>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6</a:t>
            </a:fld>
            <a:endParaRPr lang="en-GB"/>
          </a:p>
        </p:txBody>
      </p:sp>
    </p:spTree>
    <p:extLst>
      <p:ext uri="{BB962C8B-B14F-4D97-AF65-F5344CB8AC3E}">
        <p14:creationId xmlns:p14="http://schemas.microsoft.com/office/powerpoint/2010/main" val="33762992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CD7BB742-CF04-909F-9B57-9661628A5C99}"/>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5</a:t>
            </a:r>
          </a:p>
        </p:txBody>
      </p:sp>
      <p:cxnSp>
        <p:nvCxnSpPr>
          <p:cNvPr id="17" name="Straight Connector 16">
            <a:extLst>
              <a:ext uri="{FF2B5EF4-FFF2-40B4-BE49-F238E27FC236}">
                <a16:creationId xmlns:a16="http://schemas.microsoft.com/office/drawing/2014/main" id="{A3143D89-2DBD-52AD-BAEE-457F3CCF0834}"/>
              </a:ext>
            </a:extLst>
          </p:cNvPr>
          <p:cNvCxnSpPr>
            <a:cxnSpLocks/>
            <a:stCxn id="16" idx="4"/>
          </p:cNvCxnSpPr>
          <p:nvPr/>
        </p:nvCxnSpPr>
        <p:spPr>
          <a:xfrm>
            <a:off x="5090367" y="750179"/>
            <a:ext cx="0" cy="356059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Rounded Corners 2">
            <a:extLst>
              <a:ext uri="{FF2B5EF4-FFF2-40B4-BE49-F238E27FC236}">
                <a16:creationId xmlns:a16="http://schemas.microsoft.com/office/drawing/2014/main" id="{0F2CFCA5-139A-1FFF-5C23-E1933B6D9561}"/>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safety, and immunogenicity</a:t>
            </a:r>
          </a:p>
        </p:txBody>
      </p:sp>
      <p:sp>
        <p:nvSpPr>
          <p:cNvPr id="19" name="Rectangle: Rounded Corners 4">
            <a:hlinkClick r:id="rId2" action="ppaction://hlinksldjump"/>
            <a:extLst>
              <a:ext uri="{FF2B5EF4-FFF2-40B4-BE49-F238E27FC236}">
                <a16:creationId xmlns:a16="http://schemas.microsoft.com/office/drawing/2014/main" id="{D8F852E2-9727-0896-DA9A-DFE00EDFBEF4}"/>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Quality, immunogenicity, and efficacy </a:t>
            </a:r>
          </a:p>
        </p:txBody>
      </p:sp>
      <p:sp>
        <p:nvSpPr>
          <p:cNvPr id="20" name="Rectangle: Rounded Corners 2">
            <a:extLst>
              <a:ext uri="{FF2B5EF4-FFF2-40B4-BE49-F238E27FC236}">
                <a16:creationId xmlns:a16="http://schemas.microsoft.com/office/drawing/2014/main" id="{52F11710-4CE4-F1F8-0566-9DBF95CD40CC}"/>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Immunogenicity, safety, and efficacy </a:t>
            </a:r>
          </a:p>
        </p:txBody>
      </p:sp>
      <p:sp>
        <p:nvSpPr>
          <p:cNvPr id="21" name="Rectangle: Rounded Corners 4">
            <a:extLst>
              <a:ext uri="{FF2B5EF4-FFF2-40B4-BE49-F238E27FC236}">
                <a16:creationId xmlns:a16="http://schemas.microsoft.com/office/drawing/2014/main" id="{2F0DEE63-9D67-24B8-A832-A6A6C542B95F}"/>
              </a:ext>
            </a:extLst>
          </p:cNvPr>
          <p:cNvSpPr/>
          <p:nvPr/>
        </p:nvSpPr>
        <p:spPr>
          <a:xfrm>
            <a:off x="5311872" y="3696066"/>
            <a:ext cx="3486681" cy="7126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b="1" spc="-30" dirty="0">
                <a:solidFill>
                  <a:schemeClr val="bg2"/>
                </a:solidFill>
              </a:rPr>
              <a:t>Quality, safety, and efficacy with no clinically meaningful differences in immunogenicity</a:t>
            </a:r>
          </a:p>
        </p:txBody>
      </p:sp>
      <p:sp>
        <p:nvSpPr>
          <p:cNvPr id="22" name="Oval 21">
            <a:extLst>
              <a:ext uri="{FF2B5EF4-FFF2-40B4-BE49-F238E27FC236}">
                <a16:creationId xmlns:a16="http://schemas.microsoft.com/office/drawing/2014/main" id="{B986088B-65A7-3233-ECA6-E23E70CF2165}"/>
              </a:ext>
            </a:extLst>
          </p:cNvPr>
          <p:cNvSpPr/>
          <p:nvPr/>
        </p:nvSpPr>
        <p:spPr>
          <a:xfrm>
            <a:off x="4837536" y="431076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6" name="Rectangle 25">
            <a:hlinkClick r:id="rId3" action="ppaction://hlinksldjump"/>
            <a:extLst>
              <a:ext uri="{FF2B5EF4-FFF2-40B4-BE49-F238E27FC236}">
                <a16:creationId xmlns:a16="http://schemas.microsoft.com/office/drawing/2014/main" id="{40EDF205-630D-2FF7-8A97-D9B8BF872658}"/>
              </a:ext>
            </a:extLst>
          </p:cNvPr>
          <p:cNvSpPr/>
          <p:nvPr/>
        </p:nvSpPr>
        <p:spPr>
          <a:xfrm>
            <a:off x="4852238" y="4206628"/>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dirty="0"/>
          </a:p>
        </p:txBody>
      </p:sp>
      <p:sp>
        <p:nvSpPr>
          <p:cNvPr id="30" name="Slide Number Placeholder 20">
            <a:extLst>
              <a:ext uri="{FF2B5EF4-FFF2-40B4-BE49-F238E27FC236}">
                <a16:creationId xmlns:a16="http://schemas.microsoft.com/office/drawing/2014/main" id="{B8D0BC5C-3852-9CD0-2980-3E4874E05281}"/>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37</a:t>
            </a:fld>
            <a:endParaRPr lang="en-GB" sz="600" b="1">
              <a:solidFill>
                <a:schemeClr val="accent2"/>
              </a:solidFill>
            </a:endParaRPr>
          </a:p>
        </p:txBody>
      </p:sp>
      <p:grpSp>
        <p:nvGrpSpPr>
          <p:cNvPr id="2" name="Group 1">
            <a:extLst>
              <a:ext uri="{FF2B5EF4-FFF2-40B4-BE49-F238E27FC236}">
                <a16:creationId xmlns:a16="http://schemas.microsoft.com/office/drawing/2014/main" id="{17733723-068F-5AEA-DB1B-F06CC8C7E2A3}"/>
              </a:ext>
            </a:extLst>
          </p:cNvPr>
          <p:cNvGrpSpPr/>
          <p:nvPr/>
        </p:nvGrpSpPr>
        <p:grpSpPr>
          <a:xfrm>
            <a:off x="4886744" y="4348245"/>
            <a:ext cx="3911809" cy="438470"/>
            <a:chOff x="138971" y="3753538"/>
            <a:chExt cx="3911809" cy="438470"/>
          </a:xfrm>
        </p:grpSpPr>
        <p:sp>
          <p:nvSpPr>
            <p:cNvPr id="3" name="Rectangle 2">
              <a:extLst>
                <a:ext uri="{FF2B5EF4-FFF2-40B4-BE49-F238E27FC236}">
                  <a16:creationId xmlns:a16="http://schemas.microsoft.com/office/drawing/2014/main" id="{79D1AA59-9C6D-0DA2-232A-B162EA182D96}"/>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dirty="0">
                  <a:solidFill>
                    <a:schemeClr val="accent2"/>
                  </a:solidFill>
                </a:rPr>
                <a:t>Click here to re-review the content</a:t>
              </a:r>
              <a:endParaRPr lang="en-GB" sz="1600" b="1" i="1" dirty="0">
                <a:solidFill>
                  <a:schemeClr val="accent2"/>
                </a:solidFill>
              </a:endParaRPr>
            </a:p>
          </p:txBody>
        </p:sp>
        <p:pic>
          <p:nvPicPr>
            <p:cNvPr id="4" name="Graphic 3" descr="Cursor outline">
              <a:extLst>
                <a:ext uri="{FF2B5EF4-FFF2-40B4-BE49-F238E27FC236}">
                  <a16:creationId xmlns:a16="http://schemas.microsoft.com/office/drawing/2014/main" id="{C15C108D-8047-4130-F71F-F29CCFA01B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AD8DC95C-C70B-FFAB-C30C-3F1512489311}"/>
              </a:ext>
            </a:extLst>
          </p:cNvPr>
          <p:cNvSpPr>
            <a:spLocks noGrp="1"/>
          </p:cNvSpPr>
          <p:nvPr>
            <p:ph type="title"/>
          </p:nvPr>
        </p:nvSpPr>
        <p:spPr>
          <a:xfrm>
            <a:off x="5311873" y="924020"/>
            <a:ext cx="3344446" cy="1091205"/>
          </a:xfrm>
        </p:spPr>
        <p:txBody>
          <a:bodyPr/>
          <a:lstStyle/>
          <a:p>
            <a:pPr>
              <a:lnSpc>
                <a:spcPct val="90000"/>
              </a:lnSpc>
            </a:pPr>
            <a:r>
              <a:rPr lang="en-US" sz="2000"/>
              <a:t>For regulatory approval, a biosimilar medicine must match its reference biologic in terms of______?</a:t>
            </a:r>
          </a:p>
        </p:txBody>
      </p:sp>
      <p:sp>
        <p:nvSpPr>
          <p:cNvPr id="5" name="Slide Number Placeholder 89">
            <a:extLst>
              <a:ext uri="{FF2B5EF4-FFF2-40B4-BE49-F238E27FC236}">
                <a16:creationId xmlns:a16="http://schemas.microsoft.com/office/drawing/2014/main" id="{AB4B1B25-D1E9-7032-FFDC-C0D11CBB28B1}"/>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7</a:t>
            </a:fld>
            <a:endParaRPr lang="en-GB"/>
          </a:p>
        </p:txBody>
      </p:sp>
    </p:spTree>
    <p:extLst>
      <p:ext uri="{BB962C8B-B14F-4D97-AF65-F5344CB8AC3E}">
        <p14:creationId xmlns:p14="http://schemas.microsoft.com/office/powerpoint/2010/main" val="22588459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4D2F0575-FF74-1D93-425D-191E925514B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6</a:t>
            </a:r>
          </a:p>
        </p:txBody>
      </p:sp>
      <p:cxnSp>
        <p:nvCxnSpPr>
          <p:cNvPr id="17" name="Straight Connector 16">
            <a:extLst>
              <a:ext uri="{FF2B5EF4-FFF2-40B4-BE49-F238E27FC236}">
                <a16:creationId xmlns:a16="http://schemas.microsoft.com/office/drawing/2014/main" id="{2C89F60C-2EA0-FDCC-2FF4-9F5D3419BF26}"/>
              </a:ext>
            </a:extLst>
          </p:cNvPr>
          <p:cNvCxnSpPr>
            <a:cxnSpLocks/>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Rounded Corners 2">
            <a:extLst>
              <a:ext uri="{FF2B5EF4-FFF2-40B4-BE49-F238E27FC236}">
                <a16:creationId xmlns:a16="http://schemas.microsoft.com/office/drawing/2014/main" id="{269DBD45-4E03-2539-697F-DA045E8754D9}"/>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GB" sz="1600">
                <a:solidFill>
                  <a:schemeClr val="accent3"/>
                </a:solidFill>
              </a:rPr>
              <a:t>1</a:t>
            </a:r>
            <a:r>
              <a:rPr lang="en-US" sz="1600">
                <a:solidFill>
                  <a:schemeClr val="accent3"/>
                </a:solidFill>
              </a:rPr>
              <a:t>998</a:t>
            </a:r>
          </a:p>
        </p:txBody>
      </p:sp>
      <p:sp>
        <p:nvSpPr>
          <p:cNvPr id="19" name="Rectangle: Rounded Corners 4">
            <a:extLst>
              <a:ext uri="{FF2B5EF4-FFF2-40B4-BE49-F238E27FC236}">
                <a16:creationId xmlns:a16="http://schemas.microsoft.com/office/drawing/2014/main" id="{0F18D778-9C1D-B6D4-3823-A5946D998D2D}"/>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2015</a:t>
            </a:r>
          </a:p>
        </p:txBody>
      </p:sp>
      <p:sp>
        <p:nvSpPr>
          <p:cNvPr id="20" name="Rectangle: Rounded Corners 2">
            <a:extLst>
              <a:ext uri="{FF2B5EF4-FFF2-40B4-BE49-F238E27FC236}">
                <a16:creationId xmlns:a16="http://schemas.microsoft.com/office/drawing/2014/main" id="{37BA928C-0F50-BD41-CB0D-4D5112F7FC67}"/>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2006</a:t>
            </a:r>
          </a:p>
        </p:txBody>
      </p:sp>
      <p:sp>
        <p:nvSpPr>
          <p:cNvPr id="21" name="Rectangle: Rounded Corners 4">
            <a:extLst>
              <a:ext uri="{FF2B5EF4-FFF2-40B4-BE49-F238E27FC236}">
                <a16:creationId xmlns:a16="http://schemas.microsoft.com/office/drawing/2014/main" id="{B9F16AD2-CD91-4366-AA90-6516F4E02066}"/>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2022</a:t>
            </a:r>
          </a:p>
        </p:txBody>
      </p:sp>
      <p:sp>
        <p:nvSpPr>
          <p:cNvPr id="5" name="Title 12">
            <a:extLst>
              <a:ext uri="{FF2B5EF4-FFF2-40B4-BE49-F238E27FC236}">
                <a16:creationId xmlns:a16="http://schemas.microsoft.com/office/drawing/2014/main" id="{A3F1BE6A-36EF-98D1-7C0A-CBC80F2176A3}"/>
              </a:ext>
            </a:extLst>
          </p:cNvPr>
          <p:cNvSpPr>
            <a:spLocks noGrp="1"/>
          </p:cNvSpPr>
          <p:nvPr>
            <p:ph type="title"/>
          </p:nvPr>
        </p:nvSpPr>
        <p:spPr>
          <a:xfrm>
            <a:off x="5311873" y="924020"/>
            <a:ext cx="3344446" cy="1091205"/>
          </a:xfrm>
        </p:spPr>
        <p:txBody>
          <a:bodyPr/>
          <a:lstStyle/>
          <a:p>
            <a:pPr>
              <a:lnSpc>
                <a:spcPct val="90000"/>
              </a:lnSpc>
            </a:pPr>
            <a:r>
              <a:rPr lang="en-GB" sz="2000"/>
              <a:t>W</a:t>
            </a:r>
            <a:r>
              <a:rPr lang="en-US" sz="2000"/>
              <a:t>hen was the first biosimilar medicine approved in Europe?</a:t>
            </a:r>
          </a:p>
        </p:txBody>
      </p:sp>
      <p:sp>
        <p:nvSpPr>
          <p:cNvPr id="2" name="Slide Number Placeholder 89">
            <a:extLst>
              <a:ext uri="{FF2B5EF4-FFF2-40B4-BE49-F238E27FC236}">
                <a16:creationId xmlns:a16="http://schemas.microsoft.com/office/drawing/2014/main" id="{0CC30A2C-06AA-EA30-D0D4-5263F1669CFD}"/>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8</a:t>
            </a:fld>
            <a:endParaRPr lang="en-GB"/>
          </a:p>
        </p:txBody>
      </p:sp>
    </p:spTree>
    <p:extLst>
      <p:ext uri="{BB962C8B-B14F-4D97-AF65-F5344CB8AC3E}">
        <p14:creationId xmlns:p14="http://schemas.microsoft.com/office/powerpoint/2010/main" val="7391091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04D7BCBA-DEB0-5D26-BED0-2B5DF8080E55}"/>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6</a:t>
            </a:r>
          </a:p>
        </p:txBody>
      </p:sp>
      <p:cxnSp>
        <p:nvCxnSpPr>
          <p:cNvPr id="16" name="Straight Connector 15">
            <a:extLst>
              <a:ext uri="{FF2B5EF4-FFF2-40B4-BE49-F238E27FC236}">
                <a16:creationId xmlns:a16="http://schemas.microsoft.com/office/drawing/2014/main" id="{DC98E16D-DA26-8735-0E9D-E9A94E6B1101}"/>
              </a:ext>
            </a:extLst>
          </p:cNvPr>
          <p:cNvCxnSpPr>
            <a:cxnSpLocks/>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Rounded Corners 2">
            <a:extLst>
              <a:ext uri="{FF2B5EF4-FFF2-40B4-BE49-F238E27FC236}">
                <a16:creationId xmlns:a16="http://schemas.microsoft.com/office/drawing/2014/main" id="{9406DC1A-1A62-E2F3-8830-3FBF38429B82}"/>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1998</a:t>
            </a:r>
          </a:p>
        </p:txBody>
      </p:sp>
      <p:sp>
        <p:nvSpPr>
          <p:cNvPr id="19" name="Rectangle: Rounded Corners 2">
            <a:extLst>
              <a:ext uri="{FF2B5EF4-FFF2-40B4-BE49-F238E27FC236}">
                <a16:creationId xmlns:a16="http://schemas.microsoft.com/office/drawing/2014/main" id="{8AB27B48-EBD0-25EF-46D6-480EBD9A50A1}"/>
              </a:ext>
            </a:extLst>
          </p:cNvPr>
          <p:cNvSpPr/>
          <p:nvPr/>
        </p:nvSpPr>
        <p:spPr>
          <a:xfrm>
            <a:off x="5311872" y="2629531"/>
            <a:ext cx="3486681"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b="1">
                <a:solidFill>
                  <a:schemeClr val="bg2"/>
                </a:solidFill>
              </a:rPr>
              <a:t>2006</a:t>
            </a:r>
          </a:p>
        </p:txBody>
      </p:sp>
      <p:sp>
        <p:nvSpPr>
          <p:cNvPr id="20" name="Rectangle: Rounded Corners 4">
            <a:hlinkClick r:id="rId2" action="ppaction://hlinksldjump"/>
            <a:extLst>
              <a:ext uri="{FF2B5EF4-FFF2-40B4-BE49-F238E27FC236}">
                <a16:creationId xmlns:a16="http://schemas.microsoft.com/office/drawing/2014/main" id="{6A875FCB-BDC7-195E-84B6-A4D082BDDABA}"/>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2022</a:t>
            </a:r>
          </a:p>
        </p:txBody>
      </p:sp>
      <p:sp>
        <p:nvSpPr>
          <p:cNvPr id="21" name="Oval 20">
            <a:extLst>
              <a:ext uri="{FF2B5EF4-FFF2-40B4-BE49-F238E27FC236}">
                <a16:creationId xmlns:a16="http://schemas.microsoft.com/office/drawing/2014/main" id="{E61B22AA-67B4-1C70-F97C-5F2261DFC87B}"/>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3" action="ppaction://hlinksldjump"/>
            <a:extLst>
              <a:ext uri="{FF2B5EF4-FFF2-40B4-BE49-F238E27FC236}">
                <a16:creationId xmlns:a16="http://schemas.microsoft.com/office/drawing/2014/main" id="{EE39E337-CF45-1D4D-D043-C2C6838B85C2}"/>
              </a:ext>
            </a:extLst>
          </p:cNvPr>
          <p:cNvSpPr/>
          <p:nvPr/>
        </p:nvSpPr>
        <p:spPr>
          <a:xfrm>
            <a:off x="4821924" y="4163707"/>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2C21EC55-9EEE-073E-E808-AD3F6B3AEF42}"/>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4D38EDD4-3B5F-792B-C19C-6001537E84E9}"/>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7EB7EE9-B6B9-036B-67AF-1B3F5E2A17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8" name="Title 12">
            <a:extLst>
              <a:ext uri="{FF2B5EF4-FFF2-40B4-BE49-F238E27FC236}">
                <a16:creationId xmlns:a16="http://schemas.microsoft.com/office/drawing/2014/main" id="{9EC83178-9BCC-0D77-E906-105CAD689F3B}"/>
              </a:ext>
            </a:extLst>
          </p:cNvPr>
          <p:cNvSpPr>
            <a:spLocks noGrp="1"/>
          </p:cNvSpPr>
          <p:nvPr>
            <p:ph type="title"/>
          </p:nvPr>
        </p:nvSpPr>
        <p:spPr>
          <a:xfrm>
            <a:off x="5311873" y="924020"/>
            <a:ext cx="3344446" cy="1091205"/>
          </a:xfrm>
        </p:spPr>
        <p:txBody>
          <a:bodyPr/>
          <a:lstStyle/>
          <a:p>
            <a:pPr>
              <a:lnSpc>
                <a:spcPct val="90000"/>
              </a:lnSpc>
            </a:pPr>
            <a:r>
              <a:rPr lang="en-GB" sz="2000"/>
              <a:t>W</a:t>
            </a:r>
            <a:r>
              <a:rPr lang="en-US" sz="2000"/>
              <a:t>hen was the first biosimilar medicine approved in Europe?</a:t>
            </a:r>
          </a:p>
        </p:txBody>
      </p:sp>
      <p:sp>
        <p:nvSpPr>
          <p:cNvPr id="5" name="Rectangle: Rounded Corners 4">
            <a:extLst>
              <a:ext uri="{FF2B5EF4-FFF2-40B4-BE49-F238E27FC236}">
                <a16:creationId xmlns:a16="http://schemas.microsoft.com/office/drawing/2014/main" id="{ADF8D4D4-F351-02F8-06D7-9F800663BD6F}"/>
              </a:ext>
            </a:extLst>
          </p:cNvPr>
          <p:cNvSpPr/>
          <p:nvPr/>
        </p:nvSpPr>
        <p:spPr>
          <a:xfrm>
            <a:off x="5311873" y="3162798"/>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a:solidFill>
                  <a:schemeClr val="accent3"/>
                </a:solidFill>
              </a:rPr>
              <a:t>2015</a:t>
            </a:r>
          </a:p>
        </p:txBody>
      </p:sp>
      <p:sp>
        <p:nvSpPr>
          <p:cNvPr id="6" name="Slide Number Placeholder 89">
            <a:extLst>
              <a:ext uri="{FF2B5EF4-FFF2-40B4-BE49-F238E27FC236}">
                <a16:creationId xmlns:a16="http://schemas.microsoft.com/office/drawing/2014/main" id="{3BB8994F-B696-B0B8-34A2-AAFE8E9137FE}"/>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39</a:t>
            </a:fld>
            <a:endParaRPr lang="en-GB"/>
          </a:p>
        </p:txBody>
      </p:sp>
    </p:spTree>
    <p:extLst>
      <p:ext uri="{BB962C8B-B14F-4D97-AF65-F5344CB8AC3E}">
        <p14:creationId xmlns:p14="http://schemas.microsoft.com/office/powerpoint/2010/main" val="36269635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hlinkClick r:id="rId3" action="ppaction://hlinksldjump"/>
            <a:extLst>
              <a:ext uri="{FF2B5EF4-FFF2-40B4-BE49-F238E27FC236}">
                <a16:creationId xmlns:a16="http://schemas.microsoft.com/office/drawing/2014/main" id="{509A40A3-2316-294C-8C7B-006826DC5106}"/>
              </a:ext>
            </a:extLst>
          </p:cNvPr>
          <p:cNvSpPr txBox="1"/>
          <p:nvPr/>
        </p:nvSpPr>
        <p:spPr>
          <a:xfrm>
            <a:off x="760428" y="2532270"/>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The development and approval of biosimilar medicines</a:t>
            </a:r>
            <a:endParaRPr lang="en-GB" sz="1200" b="1">
              <a:solidFill>
                <a:schemeClr val="tx2"/>
              </a:solidFill>
              <a:latin typeface="Arial" panose="020B0604020202020204"/>
            </a:endParaRPr>
          </a:p>
        </p:txBody>
      </p:sp>
      <p:sp>
        <p:nvSpPr>
          <p:cNvPr id="55" name="TextBox 54">
            <a:hlinkClick r:id="rId4" action="ppaction://hlinksldjump"/>
            <a:extLst>
              <a:ext uri="{FF2B5EF4-FFF2-40B4-BE49-F238E27FC236}">
                <a16:creationId xmlns:a16="http://schemas.microsoft.com/office/drawing/2014/main" id="{DB48BD5C-E41E-C74C-BE36-37B8CB117FF6}"/>
              </a:ext>
            </a:extLst>
          </p:cNvPr>
          <p:cNvSpPr txBox="1"/>
          <p:nvPr/>
        </p:nvSpPr>
        <p:spPr>
          <a:xfrm>
            <a:off x="774358" y="1346804"/>
            <a:ext cx="6322794"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marL="9525">
              <a:defRPr/>
            </a:pPr>
            <a:r>
              <a:rPr lang="en-US" sz="1200" b="1">
                <a:solidFill>
                  <a:schemeClr val="tx2"/>
                </a:solidFill>
                <a:latin typeface="Arial" panose="020B0604020202020204"/>
              </a:rPr>
              <a:t>Treatment groups in MS: A closer look at biologic reference and biosimilar medicines</a:t>
            </a:r>
            <a:endParaRPr lang="en-GB" sz="1200" b="1">
              <a:solidFill>
                <a:schemeClr val="tx2"/>
              </a:solidFill>
              <a:latin typeface="Arial" panose="020B0604020202020204"/>
            </a:endParaRPr>
          </a:p>
        </p:txBody>
      </p:sp>
      <p:sp>
        <p:nvSpPr>
          <p:cNvPr id="2" name="Title 1">
            <a:extLst>
              <a:ext uri="{FF2B5EF4-FFF2-40B4-BE49-F238E27FC236}">
                <a16:creationId xmlns:a16="http://schemas.microsoft.com/office/drawing/2014/main" id="{D6364C51-F0FF-4152-A506-D184B151BACE}"/>
              </a:ext>
            </a:extLst>
          </p:cNvPr>
          <p:cNvSpPr>
            <a:spLocks noGrp="1"/>
          </p:cNvSpPr>
          <p:nvPr>
            <p:ph type="title"/>
          </p:nvPr>
        </p:nvSpPr>
        <p:spPr/>
        <p:txBody>
          <a:bodyPr>
            <a:normAutofit/>
          </a:bodyPr>
          <a:lstStyle/>
          <a:p>
            <a:r>
              <a:rPr lang="en-US"/>
              <a:t>Overview</a:t>
            </a:r>
          </a:p>
        </p:txBody>
      </p:sp>
      <p:sp>
        <p:nvSpPr>
          <p:cNvPr id="3" name="Slide Number Placeholder 2">
            <a:extLst>
              <a:ext uri="{FF2B5EF4-FFF2-40B4-BE49-F238E27FC236}">
                <a16:creationId xmlns:a16="http://schemas.microsoft.com/office/drawing/2014/main" id="{59782B8E-750C-4787-3D18-67C8382099B6}"/>
              </a:ext>
            </a:extLst>
          </p:cNvPr>
          <p:cNvSpPr>
            <a:spLocks noGrp="1"/>
          </p:cNvSpPr>
          <p:nvPr>
            <p:ph type="sldNum" sz="quarter" idx="12"/>
          </p:nvPr>
        </p:nvSpPr>
        <p:spPr/>
        <p:txBody>
          <a:bodyPr/>
          <a:lstStyle/>
          <a:p>
            <a:fld id="{47547CF9-5B10-D24F-A8D7-45A9778164F7}" type="slidenum">
              <a:rPr lang="uk-UA" smtClean="0"/>
              <a:pPr/>
              <a:t>4</a:t>
            </a:fld>
            <a:endParaRPr lang="uk-UA"/>
          </a:p>
        </p:txBody>
      </p:sp>
      <p:sp>
        <p:nvSpPr>
          <p:cNvPr id="112" name="TextBox 111">
            <a:hlinkClick r:id="rId5" action="ppaction://hlinksldjump"/>
            <a:extLst>
              <a:ext uri="{FF2B5EF4-FFF2-40B4-BE49-F238E27FC236}">
                <a16:creationId xmlns:a16="http://schemas.microsoft.com/office/drawing/2014/main" id="{18F28DF3-33F6-DCCD-0F3D-8CF94900D76B}"/>
              </a:ext>
            </a:extLst>
          </p:cNvPr>
          <p:cNvSpPr txBox="1"/>
          <p:nvPr/>
        </p:nvSpPr>
        <p:spPr>
          <a:xfrm>
            <a:off x="771413" y="3119610"/>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Key takeaways</a:t>
            </a:r>
            <a:endParaRPr lang="en-GB" sz="1200" b="1">
              <a:solidFill>
                <a:schemeClr val="tx2"/>
              </a:solidFill>
              <a:latin typeface="Arial" panose="020B0604020202020204"/>
            </a:endParaRPr>
          </a:p>
        </p:txBody>
      </p:sp>
      <p:sp>
        <p:nvSpPr>
          <p:cNvPr id="11" name="TextBox 10">
            <a:hlinkClick r:id="rId6" action="ppaction://hlinksldjump"/>
            <a:extLst>
              <a:ext uri="{FF2B5EF4-FFF2-40B4-BE49-F238E27FC236}">
                <a16:creationId xmlns:a16="http://schemas.microsoft.com/office/drawing/2014/main" id="{80439805-52F5-2F56-A278-4B39ABCE8173}"/>
              </a:ext>
            </a:extLst>
          </p:cNvPr>
          <p:cNvSpPr txBox="1"/>
          <p:nvPr/>
        </p:nvSpPr>
        <p:spPr>
          <a:xfrm>
            <a:off x="771412" y="3702558"/>
            <a:ext cx="6319850"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How much do you know about biologic and biosimilar medicines now? </a:t>
            </a:r>
            <a:br>
              <a:rPr lang="en-US" sz="1200" b="1">
                <a:solidFill>
                  <a:schemeClr val="tx2"/>
                </a:solidFill>
                <a:latin typeface="Arial" panose="020B0604020202020204"/>
              </a:rPr>
            </a:br>
            <a:r>
              <a:rPr lang="en-US" sz="1200" b="1" i="1">
                <a:solidFill>
                  <a:schemeClr val="tx2"/>
                </a:solidFill>
                <a:latin typeface="Arial" panose="020B0604020202020204"/>
              </a:rPr>
              <a:t>Try the self-assessment quiz to test your knowledge!</a:t>
            </a:r>
          </a:p>
        </p:txBody>
      </p:sp>
      <p:sp>
        <p:nvSpPr>
          <p:cNvPr id="7" name="Content Placeholder 3">
            <a:extLst>
              <a:ext uri="{FF2B5EF4-FFF2-40B4-BE49-F238E27FC236}">
                <a16:creationId xmlns:a16="http://schemas.microsoft.com/office/drawing/2014/main" id="{D7FE509F-E366-BE0E-01DB-98C30F306AE8}"/>
              </a:ext>
            </a:extLst>
          </p:cNvPr>
          <p:cNvSpPr>
            <a:spLocks noGrp="1"/>
          </p:cNvSpPr>
          <p:nvPr>
            <p:ph idx="1"/>
          </p:nvPr>
        </p:nvSpPr>
        <p:spPr>
          <a:xfrm>
            <a:off x="243000" y="1010048"/>
            <a:ext cx="8660494" cy="316200"/>
          </a:xfrm>
        </p:spPr>
        <p:txBody>
          <a:bodyPr>
            <a:normAutofit/>
          </a:bodyPr>
          <a:lstStyle/>
          <a:p>
            <a:r>
              <a:rPr lang="en-US" sz="1600" b="1">
                <a:solidFill>
                  <a:schemeClr val="tx1"/>
                </a:solidFill>
              </a:rPr>
              <a:t>Click</a:t>
            </a:r>
            <a:r>
              <a:rPr lang="en-US" sz="1600">
                <a:solidFill>
                  <a:schemeClr val="tx1"/>
                </a:solidFill>
              </a:rPr>
              <a:t> on each title below to view the corresponding section</a:t>
            </a:r>
            <a:endParaRPr lang="en-GB" sz="1600">
              <a:solidFill>
                <a:schemeClr val="tx1"/>
              </a:solidFill>
            </a:endParaRPr>
          </a:p>
        </p:txBody>
      </p:sp>
      <p:sp>
        <p:nvSpPr>
          <p:cNvPr id="32" name="Rectangle 31">
            <a:extLst>
              <a:ext uri="{FF2B5EF4-FFF2-40B4-BE49-F238E27FC236}">
                <a16:creationId xmlns:a16="http://schemas.microsoft.com/office/drawing/2014/main" id="{0C180195-AC59-4BCE-85DF-4B6B1B5895D0}"/>
              </a:ext>
            </a:extLst>
          </p:cNvPr>
          <p:cNvSpPr>
            <a:spLocks noChangeAspect="1"/>
          </p:cNvSpPr>
          <p:nvPr/>
        </p:nvSpPr>
        <p:spPr>
          <a:xfrm>
            <a:off x="264028" y="1343887"/>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6" name="Rectangle 35">
            <a:extLst>
              <a:ext uri="{FF2B5EF4-FFF2-40B4-BE49-F238E27FC236}">
                <a16:creationId xmlns:a16="http://schemas.microsoft.com/office/drawing/2014/main" id="{BC00DD09-D3D3-30B0-8EAA-5B1E4793EF95}"/>
              </a:ext>
            </a:extLst>
          </p:cNvPr>
          <p:cNvSpPr>
            <a:spLocks noChangeAspect="1"/>
          </p:cNvSpPr>
          <p:nvPr/>
        </p:nvSpPr>
        <p:spPr>
          <a:xfrm>
            <a:off x="261083" y="3702558"/>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3" name="Rectangle 32">
            <a:extLst>
              <a:ext uri="{FF2B5EF4-FFF2-40B4-BE49-F238E27FC236}">
                <a16:creationId xmlns:a16="http://schemas.microsoft.com/office/drawing/2014/main" id="{393BABC5-97F3-0913-0922-4414F45B2651}"/>
              </a:ext>
            </a:extLst>
          </p:cNvPr>
          <p:cNvSpPr>
            <a:spLocks noChangeAspect="1"/>
          </p:cNvSpPr>
          <p:nvPr/>
        </p:nvSpPr>
        <p:spPr>
          <a:xfrm>
            <a:off x="250098" y="2534722"/>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5" name="Rectangle 34">
            <a:extLst>
              <a:ext uri="{FF2B5EF4-FFF2-40B4-BE49-F238E27FC236}">
                <a16:creationId xmlns:a16="http://schemas.microsoft.com/office/drawing/2014/main" id="{5D03C758-C6E6-9D83-95DB-9C18E6FF45CF}"/>
              </a:ext>
            </a:extLst>
          </p:cNvPr>
          <p:cNvSpPr>
            <a:spLocks noChangeAspect="1"/>
          </p:cNvSpPr>
          <p:nvPr/>
        </p:nvSpPr>
        <p:spPr>
          <a:xfrm>
            <a:off x="261083" y="3114240"/>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27" name="Graphic 26">
            <a:extLst>
              <a:ext uri="{FF2B5EF4-FFF2-40B4-BE49-F238E27FC236}">
                <a16:creationId xmlns:a16="http://schemas.microsoft.com/office/drawing/2014/main" id="{B5F093A3-46CE-CC53-7831-1B8E23340F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14212" y="3148232"/>
            <a:ext cx="350942" cy="350942"/>
          </a:xfrm>
          <a:prstGeom prst="rect">
            <a:avLst/>
          </a:prstGeom>
        </p:spPr>
      </p:pic>
      <p:pic>
        <p:nvPicPr>
          <p:cNvPr id="29" name="Graphic 28">
            <a:extLst>
              <a:ext uri="{FF2B5EF4-FFF2-40B4-BE49-F238E27FC236}">
                <a16:creationId xmlns:a16="http://schemas.microsoft.com/office/drawing/2014/main" id="{10864330-2804-EAB7-B20A-04266BF398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5949" y="2572710"/>
            <a:ext cx="365498" cy="365498"/>
          </a:xfrm>
          <a:prstGeom prst="rect">
            <a:avLst/>
          </a:prstGeom>
        </p:spPr>
      </p:pic>
      <p:pic>
        <p:nvPicPr>
          <p:cNvPr id="31" name="Graphic 30">
            <a:extLst>
              <a:ext uri="{FF2B5EF4-FFF2-40B4-BE49-F238E27FC236}">
                <a16:creationId xmlns:a16="http://schemas.microsoft.com/office/drawing/2014/main" id="{6D1F5CDE-F497-097B-CC35-F49A0CF5A4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16867" y="3744082"/>
            <a:ext cx="345633" cy="345633"/>
          </a:xfrm>
          <a:prstGeom prst="rect">
            <a:avLst/>
          </a:prstGeom>
        </p:spPr>
      </p:pic>
      <p:sp>
        <p:nvSpPr>
          <p:cNvPr id="37" name="Rectangle 36">
            <a:hlinkClick r:id="rId4" action="ppaction://hlinksldjump"/>
            <a:extLst>
              <a:ext uri="{FF2B5EF4-FFF2-40B4-BE49-F238E27FC236}">
                <a16:creationId xmlns:a16="http://schemas.microsoft.com/office/drawing/2014/main" id="{41013645-0227-A852-701A-F92B7DCE2E5D}"/>
              </a:ext>
            </a:extLst>
          </p:cNvPr>
          <p:cNvSpPr/>
          <p:nvPr/>
        </p:nvSpPr>
        <p:spPr>
          <a:xfrm>
            <a:off x="264029" y="1328972"/>
            <a:ext cx="6882360"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38" name="Rectangle 37">
            <a:hlinkClick r:id="rId3" action="ppaction://hlinksldjump"/>
            <a:extLst>
              <a:ext uri="{FF2B5EF4-FFF2-40B4-BE49-F238E27FC236}">
                <a16:creationId xmlns:a16="http://schemas.microsoft.com/office/drawing/2014/main" id="{D45BE0C1-9FDA-48D6-EF82-8EC9B20CBC1E}"/>
              </a:ext>
            </a:extLst>
          </p:cNvPr>
          <p:cNvSpPr/>
          <p:nvPr/>
        </p:nvSpPr>
        <p:spPr>
          <a:xfrm>
            <a:off x="229070" y="2524089"/>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40" name="Rectangle 39">
            <a:hlinkClick r:id="rId5" action="ppaction://hlinksldjump"/>
            <a:extLst>
              <a:ext uri="{FF2B5EF4-FFF2-40B4-BE49-F238E27FC236}">
                <a16:creationId xmlns:a16="http://schemas.microsoft.com/office/drawing/2014/main" id="{2D0D5927-8B03-A9F5-6037-CB429C424B1F}"/>
              </a:ext>
            </a:extLst>
          </p:cNvPr>
          <p:cNvSpPr/>
          <p:nvPr/>
        </p:nvSpPr>
        <p:spPr>
          <a:xfrm>
            <a:off x="261082" y="3119610"/>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41" name="Rectangle 40">
            <a:hlinkClick r:id="rId13" action="ppaction://hlinksldjump"/>
            <a:extLst>
              <a:ext uri="{FF2B5EF4-FFF2-40B4-BE49-F238E27FC236}">
                <a16:creationId xmlns:a16="http://schemas.microsoft.com/office/drawing/2014/main" id="{88B7DD74-18DC-D9C1-6C61-C4B9666DA2A4}"/>
              </a:ext>
            </a:extLst>
          </p:cNvPr>
          <p:cNvSpPr/>
          <p:nvPr/>
        </p:nvSpPr>
        <p:spPr>
          <a:xfrm>
            <a:off x="261083" y="3704275"/>
            <a:ext cx="685120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4" name="Picture 3">
            <a:extLst>
              <a:ext uri="{FF2B5EF4-FFF2-40B4-BE49-F238E27FC236}">
                <a16:creationId xmlns:a16="http://schemas.microsoft.com/office/drawing/2014/main" id="{166FA243-965E-571F-B4C2-58052E13A4DF}"/>
              </a:ext>
            </a:extLst>
          </p:cNvPr>
          <p:cNvPicPr>
            <a:picLocks noChangeAspect="1"/>
          </p:cNvPicPr>
          <p:nvPr/>
        </p:nvPicPr>
        <p:blipFill>
          <a:blip r:embed="rId14">
            <a:duotone>
              <a:prstClr val="black"/>
              <a:schemeClr val="bg2">
                <a:tint val="45000"/>
                <a:satMod val="400000"/>
              </a:schemeClr>
            </a:duotone>
          </a:blip>
          <a:stretch>
            <a:fillRect/>
          </a:stretch>
        </p:blipFill>
        <p:spPr>
          <a:xfrm>
            <a:off x="364771" y="1369300"/>
            <a:ext cx="241300" cy="393700"/>
          </a:xfrm>
          <a:prstGeom prst="rect">
            <a:avLst/>
          </a:prstGeom>
        </p:spPr>
      </p:pic>
      <p:sp>
        <p:nvSpPr>
          <p:cNvPr id="6" name="TextBox 5">
            <a:hlinkClick r:id="rId15" action="ppaction://hlinksldjump"/>
            <a:extLst>
              <a:ext uri="{FF2B5EF4-FFF2-40B4-BE49-F238E27FC236}">
                <a16:creationId xmlns:a16="http://schemas.microsoft.com/office/drawing/2014/main" id="{8058FFE5-C47A-93CE-DC7D-4501C5E60CB3}"/>
              </a:ext>
            </a:extLst>
          </p:cNvPr>
          <p:cNvSpPr txBox="1"/>
          <p:nvPr/>
        </p:nvSpPr>
        <p:spPr>
          <a:xfrm>
            <a:off x="768468" y="1934071"/>
            <a:ext cx="6322794" cy="457200"/>
          </a:xfrm>
          <a:prstGeom prst="rect">
            <a:avLst/>
          </a:prstGeom>
          <a:solidFill>
            <a:schemeClr val="bg1"/>
          </a:solidFill>
          <a:ln w="12700">
            <a:solidFill>
              <a:schemeClr val="accent2"/>
            </a:solidFill>
          </a:ln>
          <a:effectLst/>
        </p:spPr>
        <p:style>
          <a:lnRef idx="0">
            <a:scrgbClr r="0" g="0" b="0"/>
          </a:lnRef>
          <a:fillRef idx="0">
            <a:scrgbClr r="0" g="0" b="0"/>
          </a:fillRef>
          <a:effectRef idx="0">
            <a:scrgbClr r="0" g="0" b="0"/>
          </a:effectRef>
          <a:fontRef idx="minor">
            <a:schemeClr val="lt1"/>
          </a:fontRef>
        </p:style>
        <p:txBody>
          <a:bodyPr spcFirstLastPara="0" vert="horz" wrap="square" lIns="81000" tIns="54000" rIns="54000" bIns="54000" numCol="1" spcCol="1270" anchor="ctr" anchorCtr="0">
            <a:noAutofit/>
          </a:bodyPr>
          <a:lstStyle/>
          <a:p>
            <a:pPr>
              <a:defRPr/>
            </a:pPr>
            <a:r>
              <a:rPr lang="en-US" sz="1200" b="1">
                <a:solidFill>
                  <a:schemeClr val="tx2"/>
                </a:solidFill>
                <a:latin typeface="Arial" panose="020B0604020202020204"/>
              </a:rPr>
              <a:t>Biosimilar medicines: How long have they been around and why are they used?</a:t>
            </a:r>
            <a:endParaRPr lang="en-GB" sz="1200" b="1">
              <a:solidFill>
                <a:schemeClr val="tx2"/>
              </a:solidFill>
              <a:latin typeface="Arial" panose="020B0604020202020204"/>
            </a:endParaRPr>
          </a:p>
        </p:txBody>
      </p:sp>
      <p:sp>
        <p:nvSpPr>
          <p:cNvPr id="8" name="Rectangle 7">
            <a:extLst>
              <a:ext uri="{FF2B5EF4-FFF2-40B4-BE49-F238E27FC236}">
                <a16:creationId xmlns:a16="http://schemas.microsoft.com/office/drawing/2014/main" id="{8B3BDCC9-125B-71A5-C53F-6FA0EEDE871F}"/>
              </a:ext>
            </a:extLst>
          </p:cNvPr>
          <p:cNvSpPr>
            <a:spLocks noChangeAspect="1"/>
          </p:cNvSpPr>
          <p:nvPr/>
        </p:nvSpPr>
        <p:spPr>
          <a:xfrm>
            <a:off x="250099" y="1940593"/>
            <a:ext cx="457200" cy="4572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9" name="Rectangle 8">
            <a:hlinkClick r:id="rId15" action="ppaction://hlinksldjump"/>
            <a:extLst>
              <a:ext uri="{FF2B5EF4-FFF2-40B4-BE49-F238E27FC236}">
                <a16:creationId xmlns:a16="http://schemas.microsoft.com/office/drawing/2014/main" id="{BA31102E-9AB6-89F8-722D-C939A6E195F4}"/>
              </a:ext>
            </a:extLst>
          </p:cNvPr>
          <p:cNvSpPr/>
          <p:nvPr/>
        </p:nvSpPr>
        <p:spPr>
          <a:xfrm>
            <a:off x="229070" y="1945775"/>
            <a:ext cx="6865137" cy="4572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pic>
        <p:nvPicPr>
          <p:cNvPr id="10" name="Graphic 9">
            <a:extLst>
              <a:ext uri="{FF2B5EF4-FFF2-40B4-BE49-F238E27FC236}">
                <a16:creationId xmlns:a16="http://schemas.microsoft.com/office/drawing/2014/main" id="{1ED23CEF-C209-1285-ED21-C07951932B3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03228" y="1992397"/>
            <a:ext cx="358220" cy="358220"/>
          </a:xfrm>
          <a:prstGeom prst="rect">
            <a:avLst/>
          </a:prstGeom>
        </p:spPr>
      </p:pic>
      <p:sp>
        <p:nvSpPr>
          <p:cNvPr id="12" name="TextBox 11">
            <a:extLst>
              <a:ext uri="{FF2B5EF4-FFF2-40B4-BE49-F238E27FC236}">
                <a16:creationId xmlns:a16="http://schemas.microsoft.com/office/drawing/2014/main" id="{AE4B5337-BE06-D2D1-802A-0102B8CFD562}"/>
              </a:ext>
            </a:extLst>
          </p:cNvPr>
          <p:cNvSpPr txBox="1"/>
          <p:nvPr/>
        </p:nvSpPr>
        <p:spPr>
          <a:xfrm>
            <a:off x="7185589" y="1328711"/>
            <a:ext cx="1311435" cy="363131"/>
          </a:xfrm>
          <a:prstGeom prst="rect">
            <a:avLst/>
          </a:prstGeom>
          <a:noFill/>
        </p:spPr>
        <p:txBody>
          <a:bodyPr wrap="square" lIns="0" tIns="0" rIns="0" bIns="0" rtlCol="0">
            <a:noAutofit/>
          </a:bodyPr>
          <a:lstStyle/>
          <a:p>
            <a:pPr algn="l"/>
            <a:r>
              <a:rPr lang="en-GB" sz="1000" b="1" i="1" spc="-10" dirty="0">
                <a:solidFill>
                  <a:schemeClr val="accent2"/>
                </a:solidFill>
              </a:rPr>
              <a:t>15 min</a:t>
            </a:r>
            <a:endParaRPr lang="en-US" sz="1000" b="1" i="1" spc="-10" dirty="0">
              <a:solidFill>
                <a:schemeClr val="accent2"/>
              </a:solidFill>
            </a:endParaRPr>
          </a:p>
        </p:txBody>
      </p:sp>
      <p:sp>
        <p:nvSpPr>
          <p:cNvPr id="13" name="TextBox 12">
            <a:extLst>
              <a:ext uri="{FF2B5EF4-FFF2-40B4-BE49-F238E27FC236}">
                <a16:creationId xmlns:a16="http://schemas.microsoft.com/office/drawing/2014/main" id="{895475CD-1871-115E-E7F7-959FB92B5159}"/>
              </a:ext>
            </a:extLst>
          </p:cNvPr>
          <p:cNvSpPr txBox="1"/>
          <p:nvPr/>
        </p:nvSpPr>
        <p:spPr>
          <a:xfrm>
            <a:off x="7196574" y="1948585"/>
            <a:ext cx="1534081" cy="463722"/>
          </a:xfrm>
          <a:prstGeom prst="rect">
            <a:avLst/>
          </a:prstGeom>
          <a:noFill/>
        </p:spPr>
        <p:txBody>
          <a:bodyPr wrap="square" lIns="0" tIns="0" rIns="0" bIns="0" rtlCol="0">
            <a:noAutofit/>
          </a:bodyPr>
          <a:lstStyle/>
          <a:p>
            <a:pPr algn="l"/>
            <a:r>
              <a:rPr lang="en-GB" sz="1000" b="1" i="1" spc="-10" dirty="0">
                <a:solidFill>
                  <a:schemeClr val="accent2"/>
                </a:solidFill>
              </a:rPr>
              <a:t>10 min</a:t>
            </a:r>
            <a:endParaRPr lang="en-US" sz="1000" b="1" i="1" spc="-10" dirty="0">
              <a:solidFill>
                <a:schemeClr val="accent2"/>
              </a:solidFill>
            </a:endParaRPr>
          </a:p>
        </p:txBody>
      </p:sp>
      <p:sp>
        <p:nvSpPr>
          <p:cNvPr id="14" name="TextBox 13">
            <a:extLst>
              <a:ext uri="{FF2B5EF4-FFF2-40B4-BE49-F238E27FC236}">
                <a16:creationId xmlns:a16="http://schemas.microsoft.com/office/drawing/2014/main" id="{AC2583BF-9145-A09F-34F5-C206A91130B4}"/>
              </a:ext>
            </a:extLst>
          </p:cNvPr>
          <p:cNvSpPr txBox="1"/>
          <p:nvPr/>
        </p:nvSpPr>
        <p:spPr>
          <a:xfrm>
            <a:off x="7185589" y="2553003"/>
            <a:ext cx="1311435" cy="463722"/>
          </a:xfrm>
          <a:prstGeom prst="rect">
            <a:avLst/>
          </a:prstGeom>
          <a:noFill/>
        </p:spPr>
        <p:txBody>
          <a:bodyPr wrap="square" lIns="0" tIns="0" rIns="0" bIns="0" rtlCol="0">
            <a:noAutofit/>
          </a:bodyPr>
          <a:lstStyle/>
          <a:p>
            <a:pPr algn="l"/>
            <a:r>
              <a:rPr lang="en-GB" sz="1000" b="1" i="1" spc="-10" dirty="0">
                <a:solidFill>
                  <a:schemeClr val="accent2"/>
                </a:solidFill>
              </a:rPr>
              <a:t>20 min</a:t>
            </a:r>
            <a:endParaRPr lang="en-US" sz="1000" b="1" i="1" spc="-10" dirty="0">
              <a:solidFill>
                <a:schemeClr val="accent2"/>
              </a:solidFill>
            </a:endParaRPr>
          </a:p>
        </p:txBody>
      </p:sp>
      <p:sp>
        <p:nvSpPr>
          <p:cNvPr id="15" name="TextBox 14">
            <a:extLst>
              <a:ext uri="{FF2B5EF4-FFF2-40B4-BE49-F238E27FC236}">
                <a16:creationId xmlns:a16="http://schemas.microsoft.com/office/drawing/2014/main" id="{E641398B-B8A2-E6B7-F2F7-E95B31702EAC}"/>
              </a:ext>
            </a:extLst>
          </p:cNvPr>
          <p:cNvSpPr txBox="1"/>
          <p:nvPr/>
        </p:nvSpPr>
        <p:spPr>
          <a:xfrm>
            <a:off x="7196574" y="3143016"/>
            <a:ext cx="1311435" cy="435624"/>
          </a:xfrm>
          <a:prstGeom prst="rect">
            <a:avLst/>
          </a:prstGeom>
          <a:noFill/>
        </p:spPr>
        <p:txBody>
          <a:bodyPr wrap="square" lIns="0" tIns="0" rIns="0" bIns="0" rtlCol="0">
            <a:noAutofit/>
          </a:bodyPr>
          <a:lstStyle/>
          <a:p>
            <a:pPr algn="l"/>
            <a:r>
              <a:rPr lang="en-GB" sz="1000" b="1" i="1" spc="-10" dirty="0">
                <a:solidFill>
                  <a:schemeClr val="accent2"/>
                </a:solidFill>
              </a:rPr>
              <a:t>05 min</a:t>
            </a:r>
            <a:endParaRPr lang="en-US" sz="1000" b="1" i="1" spc="-10" dirty="0">
              <a:solidFill>
                <a:schemeClr val="accent2"/>
              </a:solidFill>
            </a:endParaRPr>
          </a:p>
        </p:txBody>
      </p:sp>
      <p:sp>
        <p:nvSpPr>
          <p:cNvPr id="16" name="TextBox 15">
            <a:extLst>
              <a:ext uri="{FF2B5EF4-FFF2-40B4-BE49-F238E27FC236}">
                <a16:creationId xmlns:a16="http://schemas.microsoft.com/office/drawing/2014/main" id="{5A7EFB36-DF15-FD00-1813-637E4E78CD42}"/>
              </a:ext>
            </a:extLst>
          </p:cNvPr>
          <p:cNvSpPr txBox="1"/>
          <p:nvPr/>
        </p:nvSpPr>
        <p:spPr>
          <a:xfrm>
            <a:off x="7196574" y="3727705"/>
            <a:ext cx="1311435" cy="457200"/>
          </a:xfrm>
          <a:prstGeom prst="rect">
            <a:avLst/>
          </a:prstGeom>
          <a:noFill/>
        </p:spPr>
        <p:txBody>
          <a:bodyPr wrap="square" lIns="0" tIns="0" rIns="0" bIns="0" rtlCol="0">
            <a:noAutofit/>
          </a:bodyPr>
          <a:lstStyle/>
          <a:p>
            <a:pPr algn="l"/>
            <a:r>
              <a:rPr lang="en-GB" sz="1000" b="1" i="1" spc="-10" dirty="0">
                <a:solidFill>
                  <a:schemeClr val="accent2"/>
                </a:solidFill>
              </a:rPr>
              <a:t>10 min</a:t>
            </a:r>
            <a:endParaRPr lang="en-US" sz="1000" b="1" i="1" spc="-10" dirty="0">
              <a:solidFill>
                <a:schemeClr val="accent2"/>
              </a:solidFill>
            </a:endParaRPr>
          </a:p>
        </p:txBody>
      </p:sp>
      <p:sp>
        <p:nvSpPr>
          <p:cNvPr id="17" name="TextBox 16">
            <a:extLst>
              <a:ext uri="{FF2B5EF4-FFF2-40B4-BE49-F238E27FC236}">
                <a16:creationId xmlns:a16="http://schemas.microsoft.com/office/drawing/2014/main" id="{E94DDDD9-EFCE-34DB-1EDF-7CB86E782CC9}"/>
              </a:ext>
            </a:extLst>
          </p:cNvPr>
          <p:cNvSpPr txBox="1"/>
          <p:nvPr/>
        </p:nvSpPr>
        <p:spPr>
          <a:xfrm>
            <a:off x="7146389" y="938638"/>
            <a:ext cx="1594266" cy="363131"/>
          </a:xfrm>
          <a:prstGeom prst="rect">
            <a:avLst/>
          </a:prstGeom>
          <a:noFill/>
        </p:spPr>
        <p:txBody>
          <a:bodyPr wrap="square" lIns="0" tIns="0" rIns="0" bIns="0" rtlCol="0">
            <a:noAutofit/>
          </a:bodyPr>
          <a:lstStyle/>
          <a:p>
            <a:pPr algn="l"/>
            <a:r>
              <a:rPr lang="en-GB" sz="1000" b="1" i="1" spc="-10" dirty="0">
                <a:solidFill>
                  <a:schemeClr val="accent2"/>
                </a:solidFill>
              </a:rPr>
              <a:t>Total estimated completion time</a:t>
            </a:r>
            <a:r>
              <a:rPr lang="en-GB" sz="1000" b="1" i="1" spc="-10">
                <a:solidFill>
                  <a:schemeClr val="accent2"/>
                </a:solidFill>
              </a:rPr>
              <a:t>: 60 </a:t>
            </a:r>
            <a:r>
              <a:rPr lang="en-GB" sz="1000" b="1" i="1" spc="-10" dirty="0">
                <a:solidFill>
                  <a:schemeClr val="accent2"/>
                </a:solidFill>
              </a:rPr>
              <a:t>min </a:t>
            </a:r>
            <a:endParaRPr lang="en-US" sz="1000" b="1" i="1" spc="-10" dirty="0">
              <a:solidFill>
                <a:schemeClr val="accent2"/>
              </a:solidFill>
            </a:endParaRPr>
          </a:p>
        </p:txBody>
      </p:sp>
    </p:spTree>
    <p:extLst>
      <p:ext uri="{BB962C8B-B14F-4D97-AF65-F5344CB8AC3E}">
        <p14:creationId xmlns:p14="http://schemas.microsoft.com/office/powerpoint/2010/main" val="5142373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60EC5DA2-8D35-79A5-F5C9-0B2C025DAFD7}"/>
              </a:ext>
            </a:extLst>
          </p:cNvPr>
          <p:cNvSpPr txBox="1"/>
          <p:nvPr/>
        </p:nvSpPr>
        <p:spPr>
          <a:xfrm>
            <a:off x="7451547" y="2970499"/>
            <a:ext cx="1468043" cy="157777"/>
          </a:xfrm>
          <a:prstGeom prst="rect">
            <a:avLst/>
          </a:prstGeom>
          <a:noFill/>
        </p:spPr>
        <p:txBody>
          <a:bodyPr wrap="none" lIns="0" tIns="0" rIns="0" bIns="0" rtlCol="0">
            <a:noAutofit/>
          </a:bodyPr>
          <a:lstStyle/>
          <a:p>
            <a:pPr algn="ctr"/>
            <a:r>
              <a:rPr lang="en-US" sz="700"/>
              <a:t>None of the above</a:t>
            </a:r>
            <a:endParaRPr lang="en-GB" sz="700"/>
          </a:p>
        </p:txBody>
      </p:sp>
      <p:sp>
        <p:nvSpPr>
          <p:cNvPr id="36" name="Slide Number Placeholder 35">
            <a:extLst>
              <a:ext uri="{FF2B5EF4-FFF2-40B4-BE49-F238E27FC236}">
                <a16:creationId xmlns:a16="http://schemas.microsoft.com/office/drawing/2014/main" id="{8480FBE9-2499-8324-9CE4-CD1A4DB03586}"/>
              </a:ext>
            </a:extLst>
          </p:cNvPr>
          <p:cNvSpPr>
            <a:spLocks noGrp="1"/>
          </p:cNvSpPr>
          <p:nvPr>
            <p:ph type="sldNum" sz="quarter" idx="4294967295"/>
          </p:nvPr>
        </p:nvSpPr>
        <p:spPr>
          <a:xfrm>
            <a:off x="0" y="4827588"/>
            <a:ext cx="149225" cy="134937"/>
          </a:xfrm>
        </p:spPr>
        <p:txBody>
          <a:bodyPr/>
          <a:lstStyle/>
          <a:p>
            <a:fld id="{A31C51CB-94C2-40E2-B070-08CEE3D6A386}" type="slidenum">
              <a:rPr lang="en-GB" smtClean="0"/>
              <a:t>40</a:t>
            </a:fld>
            <a:endParaRPr lang="en-GB"/>
          </a:p>
        </p:txBody>
      </p:sp>
      <p:sp>
        <p:nvSpPr>
          <p:cNvPr id="2" name="Rectangle: Rounded Corners 2">
            <a:extLst>
              <a:ext uri="{FF2B5EF4-FFF2-40B4-BE49-F238E27FC236}">
                <a16:creationId xmlns:a16="http://schemas.microsoft.com/office/drawing/2014/main" id="{F9D0E7D9-BDA8-275D-145B-CB4B16F2DEF1}"/>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Clinical, analytical, PK/PD, preclinical / toxicity assessment</a:t>
            </a:r>
          </a:p>
        </p:txBody>
      </p:sp>
      <p:sp>
        <p:nvSpPr>
          <p:cNvPr id="4" name="Rectangle: Rounded Corners 2">
            <a:extLst>
              <a:ext uri="{FF2B5EF4-FFF2-40B4-BE49-F238E27FC236}">
                <a16:creationId xmlns:a16="http://schemas.microsoft.com/office/drawing/2014/main" id="{10493D8A-FD4F-A578-7C62-C202BC8FB2E9}"/>
              </a:ext>
            </a:extLst>
          </p:cNvPr>
          <p:cNvSpPr/>
          <p:nvPr/>
        </p:nvSpPr>
        <p:spPr>
          <a:xfrm>
            <a:off x="5311872" y="262953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Analytical, preclinical / toxicity assessment, PK/PD, clinical</a:t>
            </a:r>
          </a:p>
        </p:txBody>
      </p:sp>
      <p:sp>
        <p:nvSpPr>
          <p:cNvPr id="16" name="Rectangle: Rounded Corners 4">
            <a:extLst>
              <a:ext uri="{FF2B5EF4-FFF2-40B4-BE49-F238E27FC236}">
                <a16:creationId xmlns:a16="http://schemas.microsoft.com/office/drawing/2014/main" id="{80382C59-AFA1-1301-225A-B83E61BB462C}"/>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a:solidFill>
                  <a:schemeClr val="accent3"/>
                </a:solidFill>
              </a:rPr>
              <a:t>None of the above</a:t>
            </a:r>
          </a:p>
        </p:txBody>
      </p:sp>
      <p:sp>
        <p:nvSpPr>
          <p:cNvPr id="17" name="Rectangle: Rounded Corners 2">
            <a:extLst>
              <a:ext uri="{FF2B5EF4-FFF2-40B4-BE49-F238E27FC236}">
                <a16:creationId xmlns:a16="http://schemas.microsoft.com/office/drawing/2014/main" id="{90B6E59D-AF54-8DD2-CFDA-90771F1599A1}"/>
              </a:ext>
            </a:extLst>
          </p:cNvPr>
          <p:cNvSpPr/>
          <p:nvPr/>
        </p:nvSpPr>
        <p:spPr>
          <a:xfrm>
            <a:off x="5311871" y="316702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Preclinical / toxicity assessment, PK/PD, analytical, clinical</a:t>
            </a:r>
          </a:p>
        </p:txBody>
      </p:sp>
      <p:sp>
        <p:nvSpPr>
          <p:cNvPr id="6" name="Oval 5">
            <a:extLst>
              <a:ext uri="{FF2B5EF4-FFF2-40B4-BE49-F238E27FC236}">
                <a16:creationId xmlns:a16="http://schemas.microsoft.com/office/drawing/2014/main" id="{5E50CB1D-6A48-18ED-5AC7-016157FBFDFB}"/>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7</a:t>
            </a:r>
          </a:p>
        </p:txBody>
      </p:sp>
      <p:cxnSp>
        <p:nvCxnSpPr>
          <p:cNvPr id="7" name="Straight Connector 6">
            <a:extLst>
              <a:ext uri="{FF2B5EF4-FFF2-40B4-BE49-F238E27FC236}">
                <a16:creationId xmlns:a16="http://schemas.microsoft.com/office/drawing/2014/main" id="{86B65A74-D755-2FBC-704D-86D0E47A8ED8}"/>
              </a:ext>
            </a:extLst>
          </p:cNvPr>
          <p:cNvCxnSpPr>
            <a:cxnSpLocks/>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itle 12">
            <a:extLst>
              <a:ext uri="{FF2B5EF4-FFF2-40B4-BE49-F238E27FC236}">
                <a16:creationId xmlns:a16="http://schemas.microsoft.com/office/drawing/2014/main" id="{ADF09789-56F6-11CB-A3A2-F0AF0CD005A1}"/>
              </a:ext>
            </a:extLst>
          </p:cNvPr>
          <p:cNvSpPr>
            <a:spLocks noGrp="1"/>
          </p:cNvSpPr>
          <p:nvPr>
            <p:ph type="title"/>
          </p:nvPr>
        </p:nvSpPr>
        <p:spPr>
          <a:xfrm>
            <a:off x="5311873" y="924020"/>
            <a:ext cx="3344446" cy="1091205"/>
          </a:xfrm>
        </p:spPr>
        <p:txBody>
          <a:bodyPr/>
          <a:lstStyle/>
          <a:p>
            <a:pPr>
              <a:lnSpc>
                <a:spcPct val="90000"/>
              </a:lnSpc>
            </a:pPr>
            <a:r>
              <a:rPr lang="en-US" sz="2000" spc="0" dirty="0"/>
              <a:t>Choose the correct order for the development process of biosimilar medicines</a:t>
            </a:r>
          </a:p>
        </p:txBody>
      </p:sp>
      <p:sp>
        <p:nvSpPr>
          <p:cNvPr id="5" name="Rectangle 4">
            <a:extLst>
              <a:ext uri="{FF2B5EF4-FFF2-40B4-BE49-F238E27FC236}">
                <a16:creationId xmlns:a16="http://schemas.microsoft.com/office/drawing/2014/main" id="{E46A7C3E-72D2-2DB1-02D3-FC1D8B5C9398}"/>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PD, pharmacodynamic; PK, pharmacokinetic.</a:t>
            </a:r>
          </a:p>
        </p:txBody>
      </p:sp>
      <p:sp>
        <p:nvSpPr>
          <p:cNvPr id="8" name="Slide Number Placeholder 89">
            <a:extLst>
              <a:ext uri="{FF2B5EF4-FFF2-40B4-BE49-F238E27FC236}">
                <a16:creationId xmlns:a16="http://schemas.microsoft.com/office/drawing/2014/main" id="{FE738315-9AD1-6878-6221-BDE8A4401459}"/>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0</a:t>
            </a:fld>
            <a:endParaRPr lang="en-GB"/>
          </a:p>
        </p:txBody>
      </p:sp>
    </p:spTree>
    <p:extLst>
      <p:ext uri="{BB962C8B-B14F-4D97-AF65-F5344CB8AC3E}">
        <p14:creationId xmlns:p14="http://schemas.microsoft.com/office/powerpoint/2010/main" val="4000444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60EC5DA2-8D35-79A5-F5C9-0B2C025DAFD7}"/>
              </a:ext>
            </a:extLst>
          </p:cNvPr>
          <p:cNvSpPr txBox="1"/>
          <p:nvPr/>
        </p:nvSpPr>
        <p:spPr>
          <a:xfrm>
            <a:off x="7451547" y="2970499"/>
            <a:ext cx="1468043" cy="157777"/>
          </a:xfrm>
          <a:prstGeom prst="rect">
            <a:avLst/>
          </a:prstGeom>
          <a:noFill/>
        </p:spPr>
        <p:txBody>
          <a:bodyPr wrap="none" lIns="0" tIns="0" rIns="0" bIns="0" rtlCol="0">
            <a:noAutofit/>
          </a:bodyPr>
          <a:lstStyle/>
          <a:p>
            <a:pPr algn="ctr"/>
            <a:r>
              <a:rPr lang="en-US" sz="700"/>
              <a:t>None of the above</a:t>
            </a:r>
            <a:endParaRPr lang="en-GB" sz="700"/>
          </a:p>
        </p:txBody>
      </p:sp>
      <p:sp>
        <p:nvSpPr>
          <p:cNvPr id="36" name="Slide Number Placeholder 35">
            <a:extLst>
              <a:ext uri="{FF2B5EF4-FFF2-40B4-BE49-F238E27FC236}">
                <a16:creationId xmlns:a16="http://schemas.microsoft.com/office/drawing/2014/main" id="{8480FBE9-2499-8324-9CE4-CD1A4DB03586}"/>
              </a:ext>
            </a:extLst>
          </p:cNvPr>
          <p:cNvSpPr>
            <a:spLocks noGrp="1"/>
          </p:cNvSpPr>
          <p:nvPr>
            <p:ph type="sldNum" sz="quarter" idx="4294967295"/>
          </p:nvPr>
        </p:nvSpPr>
        <p:spPr>
          <a:xfrm>
            <a:off x="0" y="4827588"/>
            <a:ext cx="149225" cy="134937"/>
          </a:xfrm>
        </p:spPr>
        <p:txBody>
          <a:bodyPr/>
          <a:lstStyle/>
          <a:p>
            <a:fld id="{A31C51CB-94C2-40E2-B070-08CEE3D6A386}" type="slidenum">
              <a:rPr lang="en-GB" smtClean="0"/>
              <a:t>41</a:t>
            </a:fld>
            <a:endParaRPr lang="en-GB"/>
          </a:p>
        </p:txBody>
      </p:sp>
      <p:sp>
        <p:nvSpPr>
          <p:cNvPr id="2" name="Rectangle: Rounded Corners 2">
            <a:extLst>
              <a:ext uri="{FF2B5EF4-FFF2-40B4-BE49-F238E27FC236}">
                <a16:creationId xmlns:a16="http://schemas.microsoft.com/office/drawing/2014/main" id="{F9D0E7D9-BDA8-275D-145B-CB4B16F2DEF1}"/>
              </a:ext>
            </a:extLst>
          </p:cNvPr>
          <p:cNvSpPr/>
          <p:nvPr/>
        </p:nvSpPr>
        <p:spPr>
          <a:xfrm>
            <a:off x="5311873" y="2096264"/>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Clinical, analytical, PK/PD, preclinical / toxicity assessment</a:t>
            </a:r>
          </a:p>
        </p:txBody>
      </p:sp>
      <p:sp>
        <p:nvSpPr>
          <p:cNvPr id="4" name="Rectangle: Rounded Corners 2">
            <a:extLst>
              <a:ext uri="{FF2B5EF4-FFF2-40B4-BE49-F238E27FC236}">
                <a16:creationId xmlns:a16="http://schemas.microsoft.com/office/drawing/2014/main" id="{10493D8A-FD4F-A578-7C62-C202BC8FB2E9}"/>
              </a:ext>
            </a:extLst>
          </p:cNvPr>
          <p:cNvSpPr/>
          <p:nvPr/>
        </p:nvSpPr>
        <p:spPr>
          <a:xfrm>
            <a:off x="5311872" y="2629531"/>
            <a:ext cx="3486681" cy="4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bg1"/>
                </a:solidFill>
              </a:rPr>
              <a:t>Analytical, preclinical / toxicity assessment, PK/PD, clinical</a:t>
            </a:r>
          </a:p>
        </p:txBody>
      </p:sp>
      <p:sp>
        <p:nvSpPr>
          <p:cNvPr id="16" name="Rectangle: Rounded Corners 4">
            <a:extLst>
              <a:ext uri="{FF2B5EF4-FFF2-40B4-BE49-F238E27FC236}">
                <a16:creationId xmlns:a16="http://schemas.microsoft.com/office/drawing/2014/main" id="{80382C59-AFA1-1301-225A-B83E61BB462C}"/>
              </a:ext>
            </a:extLst>
          </p:cNvPr>
          <p:cNvSpPr/>
          <p:nvPr/>
        </p:nvSpPr>
        <p:spPr>
          <a:xfrm>
            <a:off x="5311872" y="3696066"/>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80000"/>
              </a:lnSpc>
            </a:pPr>
            <a:r>
              <a:rPr lang="en-US" sz="1600" spc="-30" dirty="0">
                <a:solidFill>
                  <a:schemeClr val="accent3"/>
                </a:solidFill>
              </a:rPr>
              <a:t>None of the above</a:t>
            </a:r>
          </a:p>
        </p:txBody>
      </p:sp>
      <p:sp>
        <p:nvSpPr>
          <p:cNvPr id="17" name="Rectangle: Rounded Corners 2">
            <a:extLst>
              <a:ext uri="{FF2B5EF4-FFF2-40B4-BE49-F238E27FC236}">
                <a16:creationId xmlns:a16="http://schemas.microsoft.com/office/drawing/2014/main" id="{90B6E59D-AF54-8DD2-CFDA-90771F1599A1}"/>
              </a:ext>
            </a:extLst>
          </p:cNvPr>
          <p:cNvSpPr/>
          <p:nvPr/>
        </p:nvSpPr>
        <p:spPr>
          <a:xfrm>
            <a:off x="5311871" y="3167021"/>
            <a:ext cx="3486681" cy="452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600" dirty="0">
                <a:solidFill>
                  <a:schemeClr val="accent3"/>
                </a:solidFill>
              </a:rPr>
              <a:t>Preclinical / toxicity assessment, PK/PD, analytical, clinical</a:t>
            </a:r>
          </a:p>
        </p:txBody>
      </p:sp>
      <p:sp>
        <p:nvSpPr>
          <p:cNvPr id="6" name="Oval 5">
            <a:extLst>
              <a:ext uri="{FF2B5EF4-FFF2-40B4-BE49-F238E27FC236}">
                <a16:creationId xmlns:a16="http://schemas.microsoft.com/office/drawing/2014/main" id="{5E50CB1D-6A48-18ED-5AC7-016157FBFDFB}"/>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7</a:t>
            </a:r>
          </a:p>
        </p:txBody>
      </p:sp>
      <p:cxnSp>
        <p:nvCxnSpPr>
          <p:cNvPr id="7" name="Straight Connector 6">
            <a:extLst>
              <a:ext uri="{FF2B5EF4-FFF2-40B4-BE49-F238E27FC236}">
                <a16:creationId xmlns:a16="http://schemas.microsoft.com/office/drawing/2014/main" id="{86B65A74-D755-2FBC-704D-86D0E47A8ED8}"/>
              </a:ext>
            </a:extLst>
          </p:cNvPr>
          <p:cNvCxnSpPr>
            <a:cxnSpLocks/>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555D4B3F-707E-9B28-4929-2B4CAD103646}"/>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1" name="Rectangle 10">
            <a:hlinkClick r:id="rId2" action="ppaction://hlinksldjump"/>
            <a:extLst>
              <a:ext uri="{FF2B5EF4-FFF2-40B4-BE49-F238E27FC236}">
                <a16:creationId xmlns:a16="http://schemas.microsoft.com/office/drawing/2014/main" id="{4DEF90D4-F522-F036-E099-37359384F64C}"/>
              </a:ext>
            </a:extLst>
          </p:cNvPr>
          <p:cNvSpPr/>
          <p:nvPr/>
        </p:nvSpPr>
        <p:spPr>
          <a:xfrm>
            <a:off x="4873406" y="4127588"/>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12" name="Group 11">
            <a:extLst>
              <a:ext uri="{FF2B5EF4-FFF2-40B4-BE49-F238E27FC236}">
                <a16:creationId xmlns:a16="http://schemas.microsoft.com/office/drawing/2014/main" id="{12D07326-F72A-1E0E-AFCD-BE0ED0344233}"/>
              </a:ext>
            </a:extLst>
          </p:cNvPr>
          <p:cNvGrpSpPr/>
          <p:nvPr/>
        </p:nvGrpSpPr>
        <p:grpSpPr>
          <a:xfrm>
            <a:off x="4873406" y="4270307"/>
            <a:ext cx="3911809" cy="438470"/>
            <a:chOff x="138971" y="3753538"/>
            <a:chExt cx="3911809" cy="438470"/>
          </a:xfrm>
        </p:grpSpPr>
        <p:sp>
          <p:nvSpPr>
            <p:cNvPr id="13" name="Rectangle 12">
              <a:extLst>
                <a:ext uri="{FF2B5EF4-FFF2-40B4-BE49-F238E27FC236}">
                  <a16:creationId xmlns:a16="http://schemas.microsoft.com/office/drawing/2014/main" id="{FC666129-9C61-5BEB-3B2F-B048A4B2634E}"/>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14" name="Graphic 13" descr="Cursor outline">
              <a:extLst>
                <a:ext uri="{FF2B5EF4-FFF2-40B4-BE49-F238E27FC236}">
                  <a16:creationId xmlns:a16="http://schemas.microsoft.com/office/drawing/2014/main" id="{0A14B386-8970-8E1C-134A-BD22CB087B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5" name="Title 12">
            <a:extLst>
              <a:ext uri="{FF2B5EF4-FFF2-40B4-BE49-F238E27FC236}">
                <a16:creationId xmlns:a16="http://schemas.microsoft.com/office/drawing/2014/main" id="{73A791E5-728A-2C46-997D-B40FDE9F4CFD}"/>
              </a:ext>
            </a:extLst>
          </p:cNvPr>
          <p:cNvSpPr>
            <a:spLocks noGrp="1"/>
          </p:cNvSpPr>
          <p:nvPr>
            <p:ph type="title"/>
          </p:nvPr>
        </p:nvSpPr>
        <p:spPr>
          <a:xfrm>
            <a:off x="5311873" y="924020"/>
            <a:ext cx="3344446" cy="1091205"/>
          </a:xfrm>
        </p:spPr>
        <p:txBody>
          <a:bodyPr/>
          <a:lstStyle/>
          <a:p>
            <a:pPr>
              <a:lnSpc>
                <a:spcPct val="90000"/>
              </a:lnSpc>
            </a:pPr>
            <a:r>
              <a:rPr lang="en-US" sz="2000" spc="0" dirty="0"/>
              <a:t>Choose the correct order for the development process of biosimilar medicines</a:t>
            </a:r>
          </a:p>
        </p:txBody>
      </p:sp>
      <p:sp>
        <p:nvSpPr>
          <p:cNvPr id="8" name="Rectangle 7">
            <a:extLst>
              <a:ext uri="{FF2B5EF4-FFF2-40B4-BE49-F238E27FC236}">
                <a16:creationId xmlns:a16="http://schemas.microsoft.com/office/drawing/2014/main" id="{C78BF270-7C1F-EC62-636E-0AD6AE80239A}"/>
              </a:ext>
            </a:extLst>
          </p:cNvPr>
          <p:cNvSpPr/>
          <p:nvPr/>
        </p:nvSpPr>
        <p:spPr>
          <a:xfrm>
            <a:off x="5351631" y="4870021"/>
            <a:ext cx="2654449" cy="92333"/>
          </a:xfrm>
          <a:prstGeom prst="rect">
            <a:avLst/>
          </a:prstGeom>
        </p:spPr>
        <p:txBody>
          <a:bodyPr vert="horz" lIns="0" tIns="0" rIns="0" bIns="45720" rtlCol="0" anchor="b" anchorCtr="0"/>
          <a:lstStyle/>
          <a:p>
            <a:r>
              <a:rPr lang="fr-FR" sz="600">
                <a:solidFill>
                  <a:srgbClr val="4D4D57"/>
                </a:solidFill>
                <a:latin typeface="Arial" panose="020B0604020202020204"/>
              </a:rPr>
              <a:t>PD, pharmacodynamic; PK, pharmacokinetic.</a:t>
            </a:r>
          </a:p>
        </p:txBody>
      </p:sp>
      <p:sp>
        <p:nvSpPr>
          <p:cNvPr id="9" name="Slide Number Placeholder 89">
            <a:extLst>
              <a:ext uri="{FF2B5EF4-FFF2-40B4-BE49-F238E27FC236}">
                <a16:creationId xmlns:a16="http://schemas.microsoft.com/office/drawing/2014/main" id="{7314287B-9ECA-14D9-2900-12FA80E0B2E6}"/>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1</a:t>
            </a:fld>
            <a:endParaRPr lang="en-GB"/>
          </a:p>
        </p:txBody>
      </p:sp>
    </p:spTree>
    <p:extLst>
      <p:ext uri="{BB962C8B-B14F-4D97-AF65-F5344CB8AC3E}">
        <p14:creationId xmlns:p14="http://schemas.microsoft.com/office/powerpoint/2010/main" val="3680280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2">
            <a:extLst>
              <a:ext uri="{FF2B5EF4-FFF2-40B4-BE49-F238E27FC236}">
                <a16:creationId xmlns:a16="http://schemas.microsoft.com/office/drawing/2014/main" id="{1A3F4E06-9D9E-5A54-2F65-D4C63F5DC867}"/>
              </a:ext>
            </a:extLst>
          </p:cNvPr>
          <p:cNvSpPr/>
          <p:nvPr/>
        </p:nvSpPr>
        <p:spPr>
          <a:xfrm>
            <a:off x="5311873" y="1308543"/>
            <a:ext cx="3486681" cy="8023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scientific process of granting clinical indication to a biosimilar medicine on the basis of a clinical safety and efficacy study to support that indication</a:t>
            </a:r>
          </a:p>
        </p:txBody>
      </p:sp>
      <p:sp>
        <p:nvSpPr>
          <p:cNvPr id="9" name="Oval 8">
            <a:extLst>
              <a:ext uri="{FF2B5EF4-FFF2-40B4-BE49-F238E27FC236}">
                <a16:creationId xmlns:a16="http://schemas.microsoft.com/office/drawing/2014/main" id="{95338CC4-B271-F026-77C5-BB2E8C379586}"/>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8</a:t>
            </a:r>
          </a:p>
        </p:txBody>
      </p:sp>
      <p:cxnSp>
        <p:nvCxnSpPr>
          <p:cNvPr id="10" name="Straight Connector 9">
            <a:extLst>
              <a:ext uri="{FF2B5EF4-FFF2-40B4-BE49-F238E27FC236}">
                <a16:creationId xmlns:a16="http://schemas.microsoft.com/office/drawing/2014/main" id="{E5269DE9-4EB3-839B-D9EB-A9CEBFF6251B}"/>
              </a:ext>
            </a:extLst>
          </p:cNvPr>
          <p:cNvCxnSpPr>
            <a:cxnSpLocks/>
          </p:cNvCxnSpPr>
          <p:nvPr/>
        </p:nvCxnSpPr>
        <p:spPr>
          <a:xfrm>
            <a:off x="5090367" y="750179"/>
            <a:ext cx="0" cy="339811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Rounded Corners 2">
            <a:extLst>
              <a:ext uri="{FF2B5EF4-FFF2-40B4-BE49-F238E27FC236}">
                <a16:creationId xmlns:a16="http://schemas.microsoft.com/office/drawing/2014/main" id="{3C0E71EC-A7AB-FC91-C91D-254FE87D6E06}"/>
              </a:ext>
            </a:extLst>
          </p:cNvPr>
          <p:cNvSpPr/>
          <p:nvPr/>
        </p:nvSpPr>
        <p:spPr>
          <a:xfrm>
            <a:off x="5311873" y="2189066"/>
            <a:ext cx="3486681" cy="63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process where a prescriber decides to </a:t>
            </a:r>
            <a:br>
              <a:rPr lang="en-US" sz="1200">
                <a:solidFill>
                  <a:schemeClr val="accent3"/>
                </a:solidFill>
              </a:rPr>
            </a:br>
            <a:r>
              <a:rPr lang="en-US" sz="1200">
                <a:solidFill>
                  <a:schemeClr val="accent3"/>
                </a:solidFill>
              </a:rPr>
              <a:t>change their patient’s therapy from one treatment </a:t>
            </a:r>
            <a:br>
              <a:rPr lang="en-US" sz="1200">
                <a:solidFill>
                  <a:schemeClr val="accent3"/>
                </a:solidFill>
              </a:rPr>
            </a:br>
            <a:r>
              <a:rPr lang="en-US" sz="1200">
                <a:solidFill>
                  <a:schemeClr val="accent3"/>
                </a:solidFill>
              </a:rPr>
              <a:t>to another that has the same therapeutic intent</a:t>
            </a:r>
          </a:p>
        </p:txBody>
      </p:sp>
      <p:sp>
        <p:nvSpPr>
          <p:cNvPr id="17" name="Rectangle: Rounded Corners 2">
            <a:extLst>
              <a:ext uri="{FF2B5EF4-FFF2-40B4-BE49-F238E27FC236}">
                <a16:creationId xmlns:a16="http://schemas.microsoft.com/office/drawing/2014/main" id="{A7F958F9-D53B-7B9E-6E5A-9D371C809922}"/>
              </a:ext>
            </a:extLst>
          </p:cNvPr>
          <p:cNvSpPr/>
          <p:nvPr/>
        </p:nvSpPr>
        <p:spPr>
          <a:xfrm>
            <a:off x="5311873" y="2903537"/>
            <a:ext cx="3486681" cy="855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scientific and regulatory process of </a:t>
            </a:r>
            <a:br>
              <a:rPr lang="en-US" sz="1200">
                <a:solidFill>
                  <a:schemeClr val="accent3"/>
                </a:solidFill>
              </a:rPr>
            </a:br>
            <a:r>
              <a:rPr lang="en-US" sz="1200">
                <a:solidFill>
                  <a:schemeClr val="accent3"/>
                </a:solidFill>
              </a:rPr>
              <a:t>granting clinical indication to a biosimilar </a:t>
            </a:r>
            <a:br>
              <a:rPr lang="en-US" sz="1200">
                <a:solidFill>
                  <a:schemeClr val="accent3"/>
                </a:solidFill>
              </a:rPr>
            </a:br>
            <a:r>
              <a:rPr lang="en-US" sz="1200">
                <a:solidFill>
                  <a:schemeClr val="accent3"/>
                </a:solidFill>
              </a:rPr>
              <a:t>medicine without conducting a clinical safety </a:t>
            </a:r>
            <a:br>
              <a:rPr lang="en-US" sz="1200">
                <a:solidFill>
                  <a:schemeClr val="accent3"/>
                </a:solidFill>
              </a:rPr>
            </a:br>
            <a:r>
              <a:rPr lang="en-US" sz="1200">
                <a:solidFill>
                  <a:schemeClr val="accent3"/>
                </a:solidFill>
              </a:rPr>
              <a:t>and efficacy study to support that indication</a:t>
            </a:r>
          </a:p>
        </p:txBody>
      </p:sp>
      <p:sp>
        <p:nvSpPr>
          <p:cNvPr id="18" name="Rectangle: Rounded Corners 2">
            <a:extLst>
              <a:ext uri="{FF2B5EF4-FFF2-40B4-BE49-F238E27FC236}">
                <a16:creationId xmlns:a16="http://schemas.microsoft.com/office/drawing/2014/main" id="{A60652F1-2A02-31BD-8B40-B4F39B575481}"/>
              </a:ext>
            </a:extLst>
          </p:cNvPr>
          <p:cNvSpPr/>
          <p:nvPr/>
        </p:nvSpPr>
        <p:spPr>
          <a:xfrm>
            <a:off x="5311873" y="3836791"/>
            <a:ext cx="348668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sp>
        <p:nvSpPr>
          <p:cNvPr id="6" name="Title 12">
            <a:extLst>
              <a:ext uri="{FF2B5EF4-FFF2-40B4-BE49-F238E27FC236}">
                <a16:creationId xmlns:a16="http://schemas.microsoft.com/office/drawing/2014/main" id="{0199153C-9C3D-9223-03B3-8F5F3F21F5A1}"/>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extrapolation?</a:t>
            </a:r>
            <a:endParaRPr lang="en-US" sz="2000" spc="0"/>
          </a:p>
        </p:txBody>
      </p:sp>
      <p:sp>
        <p:nvSpPr>
          <p:cNvPr id="2" name="Slide Number Placeholder 89">
            <a:extLst>
              <a:ext uri="{FF2B5EF4-FFF2-40B4-BE49-F238E27FC236}">
                <a16:creationId xmlns:a16="http://schemas.microsoft.com/office/drawing/2014/main" id="{91616FF2-7AFB-36DA-4797-5B8133E8435F}"/>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2</a:t>
            </a:fld>
            <a:endParaRPr lang="en-GB"/>
          </a:p>
        </p:txBody>
      </p:sp>
    </p:spTree>
    <p:extLst>
      <p:ext uri="{BB962C8B-B14F-4D97-AF65-F5344CB8AC3E}">
        <p14:creationId xmlns:p14="http://schemas.microsoft.com/office/powerpoint/2010/main" val="39513896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95338CC4-B271-F026-77C5-BB2E8C379586}"/>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8</a:t>
            </a:r>
          </a:p>
        </p:txBody>
      </p:sp>
      <p:cxnSp>
        <p:nvCxnSpPr>
          <p:cNvPr id="10" name="Straight Connector 9">
            <a:extLst>
              <a:ext uri="{FF2B5EF4-FFF2-40B4-BE49-F238E27FC236}">
                <a16:creationId xmlns:a16="http://schemas.microsoft.com/office/drawing/2014/main" id="{E5269DE9-4EB3-839B-D9EB-A9CEBFF6251B}"/>
              </a:ext>
            </a:extLst>
          </p:cNvPr>
          <p:cNvCxnSpPr>
            <a:cxnSpLocks/>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64B72D5F-4710-AFA7-3E08-2FCC175490DF}"/>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5" name="Rectangle 14">
            <a:hlinkClick r:id="rId2" action="ppaction://hlinksldjump"/>
            <a:extLst>
              <a:ext uri="{FF2B5EF4-FFF2-40B4-BE49-F238E27FC236}">
                <a16:creationId xmlns:a16="http://schemas.microsoft.com/office/drawing/2014/main" id="{5B23171A-CDBE-153A-9786-71AD8CCF66C1}"/>
              </a:ext>
            </a:extLst>
          </p:cNvPr>
          <p:cNvSpPr/>
          <p:nvPr/>
        </p:nvSpPr>
        <p:spPr>
          <a:xfrm>
            <a:off x="4852470" y="4167453"/>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19" name="Rectangle: Rounded Corners 2">
            <a:extLst>
              <a:ext uri="{FF2B5EF4-FFF2-40B4-BE49-F238E27FC236}">
                <a16:creationId xmlns:a16="http://schemas.microsoft.com/office/drawing/2014/main" id="{C091406C-94C8-7535-010F-1450FED3B9C5}"/>
              </a:ext>
            </a:extLst>
          </p:cNvPr>
          <p:cNvSpPr/>
          <p:nvPr/>
        </p:nvSpPr>
        <p:spPr>
          <a:xfrm>
            <a:off x="5311873" y="1308543"/>
            <a:ext cx="3486681" cy="8023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scientific process of granting clinical indication to a biosimilar medicine on the basis of a clinical safety and efficacy study to support that indication</a:t>
            </a:r>
          </a:p>
        </p:txBody>
      </p:sp>
      <p:sp>
        <p:nvSpPr>
          <p:cNvPr id="20" name="Rectangle: Rounded Corners 2">
            <a:extLst>
              <a:ext uri="{FF2B5EF4-FFF2-40B4-BE49-F238E27FC236}">
                <a16:creationId xmlns:a16="http://schemas.microsoft.com/office/drawing/2014/main" id="{52772276-69F2-D061-102B-8E94BFC1B0AC}"/>
              </a:ext>
            </a:extLst>
          </p:cNvPr>
          <p:cNvSpPr/>
          <p:nvPr/>
        </p:nvSpPr>
        <p:spPr>
          <a:xfrm>
            <a:off x="5311873" y="2189066"/>
            <a:ext cx="3486681" cy="636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The process where a prescriber decides to </a:t>
            </a:r>
            <a:br>
              <a:rPr lang="en-US" sz="1200">
                <a:solidFill>
                  <a:schemeClr val="accent3"/>
                </a:solidFill>
              </a:rPr>
            </a:br>
            <a:r>
              <a:rPr lang="en-US" sz="1200">
                <a:solidFill>
                  <a:schemeClr val="accent3"/>
                </a:solidFill>
              </a:rPr>
              <a:t>change their patient’s therapy from one treatment </a:t>
            </a:r>
            <a:br>
              <a:rPr lang="en-US" sz="1200">
                <a:solidFill>
                  <a:schemeClr val="accent3"/>
                </a:solidFill>
              </a:rPr>
            </a:br>
            <a:r>
              <a:rPr lang="en-US" sz="1200">
                <a:solidFill>
                  <a:schemeClr val="accent3"/>
                </a:solidFill>
              </a:rPr>
              <a:t>to another that has the same therapeutic intent</a:t>
            </a:r>
          </a:p>
        </p:txBody>
      </p:sp>
      <p:sp>
        <p:nvSpPr>
          <p:cNvPr id="21" name="Rectangle: Rounded Corners 2">
            <a:extLst>
              <a:ext uri="{FF2B5EF4-FFF2-40B4-BE49-F238E27FC236}">
                <a16:creationId xmlns:a16="http://schemas.microsoft.com/office/drawing/2014/main" id="{8D211F72-E46D-8406-970F-74512A7C8D82}"/>
              </a:ext>
            </a:extLst>
          </p:cNvPr>
          <p:cNvSpPr/>
          <p:nvPr/>
        </p:nvSpPr>
        <p:spPr>
          <a:xfrm>
            <a:off x="5311873" y="2903537"/>
            <a:ext cx="3486681" cy="8550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b="1">
                <a:solidFill>
                  <a:schemeClr val="bg2"/>
                </a:solidFill>
              </a:rPr>
              <a:t>The scientific and regulatory process of granting clinical indication to a biosimilar medicine without conducting a clinical safety and efficacy study to support that indication</a:t>
            </a:r>
          </a:p>
        </p:txBody>
      </p:sp>
      <p:sp>
        <p:nvSpPr>
          <p:cNvPr id="22" name="Rectangle: Rounded Corners 2">
            <a:extLst>
              <a:ext uri="{FF2B5EF4-FFF2-40B4-BE49-F238E27FC236}">
                <a16:creationId xmlns:a16="http://schemas.microsoft.com/office/drawing/2014/main" id="{CF5D02F6-D1EA-AFDF-3FE5-C4ACC7822500}"/>
              </a:ext>
            </a:extLst>
          </p:cNvPr>
          <p:cNvSpPr/>
          <p:nvPr/>
        </p:nvSpPr>
        <p:spPr>
          <a:xfrm>
            <a:off x="5311873" y="3836791"/>
            <a:ext cx="348668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grpSp>
        <p:nvGrpSpPr>
          <p:cNvPr id="2" name="Group 1">
            <a:extLst>
              <a:ext uri="{FF2B5EF4-FFF2-40B4-BE49-F238E27FC236}">
                <a16:creationId xmlns:a16="http://schemas.microsoft.com/office/drawing/2014/main" id="{B2701B97-DD35-B000-B398-2B2F4DA36CCC}"/>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EFB95CB3-071D-8CB4-ACF1-5985807C717D}"/>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50B53E70-1C26-55B8-5971-841471D12B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2" name="Title 12">
            <a:extLst>
              <a:ext uri="{FF2B5EF4-FFF2-40B4-BE49-F238E27FC236}">
                <a16:creationId xmlns:a16="http://schemas.microsoft.com/office/drawing/2014/main" id="{3663DB4A-EF4D-22CF-3A4F-CC9960CAC387}"/>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extrapolation?</a:t>
            </a:r>
            <a:endParaRPr lang="en-US" sz="2000" spc="0"/>
          </a:p>
        </p:txBody>
      </p:sp>
      <p:sp>
        <p:nvSpPr>
          <p:cNvPr id="5" name="Slide Number Placeholder 89">
            <a:extLst>
              <a:ext uri="{FF2B5EF4-FFF2-40B4-BE49-F238E27FC236}">
                <a16:creationId xmlns:a16="http://schemas.microsoft.com/office/drawing/2014/main" id="{8FA40B81-59A9-D52F-27C8-AA078668B91A}"/>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3</a:t>
            </a:fld>
            <a:endParaRPr lang="en-GB"/>
          </a:p>
        </p:txBody>
      </p:sp>
    </p:spTree>
    <p:extLst>
      <p:ext uri="{BB962C8B-B14F-4D97-AF65-F5344CB8AC3E}">
        <p14:creationId xmlns:p14="http://schemas.microsoft.com/office/powerpoint/2010/main" val="19068338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20">
            <a:extLst>
              <a:ext uri="{FF2B5EF4-FFF2-40B4-BE49-F238E27FC236}">
                <a16:creationId xmlns:a16="http://schemas.microsoft.com/office/drawing/2014/main" id="{632D241A-3012-5DEB-7743-C0A094D3DA0C}"/>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44</a:t>
            </a:fld>
            <a:endParaRPr lang="en-GB" sz="600" b="1">
              <a:solidFill>
                <a:schemeClr val="accent2"/>
              </a:solidFill>
            </a:endParaRPr>
          </a:p>
        </p:txBody>
      </p:sp>
      <p:sp>
        <p:nvSpPr>
          <p:cNvPr id="6" name="Oval 5">
            <a:extLst>
              <a:ext uri="{FF2B5EF4-FFF2-40B4-BE49-F238E27FC236}">
                <a16:creationId xmlns:a16="http://schemas.microsoft.com/office/drawing/2014/main" id="{16C4A72E-D2A7-728E-B7EA-7B8466DC038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9</a:t>
            </a:r>
          </a:p>
        </p:txBody>
      </p:sp>
      <p:cxnSp>
        <p:nvCxnSpPr>
          <p:cNvPr id="7" name="Straight Connector 6">
            <a:extLst>
              <a:ext uri="{FF2B5EF4-FFF2-40B4-BE49-F238E27FC236}">
                <a16:creationId xmlns:a16="http://schemas.microsoft.com/office/drawing/2014/main" id="{C3CF8029-798A-69B0-6606-C27BB3236BB4}"/>
              </a:ext>
            </a:extLst>
          </p:cNvPr>
          <p:cNvCxnSpPr>
            <a:cxnSpLocks/>
            <a:stCxn id="6"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71C8F7B-D9A1-F508-1110-AE65FA8187E7}"/>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3" name="Rectangle: Rounded Corners 4">
            <a:extLst>
              <a:ext uri="{FF2B5EF4-FFF2-40B4-BE49-F238E27FC236}">
                <a16:creationId xmlns:a16="http://schemas.microsoft.com/office/drawing/2014/main" id="{AFA85841-4925-04B2-8E2D-CB397E31F57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2" name="Slide Number Placeholder 89">
            <a:extLst>
              <a:ext uri="{FF2B5EF4-FFF2-40B4-BE49-F238E27FC236}">
                <a16:creationId xmlns:a16="http://schemas.microsoft.com/office/drawing/2014/main" id="{713C751D-F433-605F-8236-3D38DF569D58}"/>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4</a:t>
            </a:fld>
            <a:endParaRPr lang="en-GB"/>
          </a:p>
        </p:txBody>
      </p:sp>
      <p:sp>
        <p:nvSpPr>
          <p:cNvPr id="8" name="Title 17">
            <a:extLst>
              <a:ext uri="{FF2B5EF4-FFF2-40B4-BE49-F238E27FC236}">
                <a16:creationId xmlns:a16="http://schemas.microsoft.com/office/drawing/2014/main" id="{0FE00A85-057E-64CB-7990-0625AC8DED2E}"/>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Switching from a reference to biosimilar medicine is expected to impact treatment efficacy and safety</a:t>
            </a:r>
          </a:p>
        </p:txBody>
      </p:sp>
    </p:spTree>
    <p:extLst>
      <p:ext uri="{BB962C8B-B14F-4D97-AF65-F5344CB8AC3E}">
        <p14:creationId xmlns:p14="http://schemas.microsoft.com/office/powerpoint/2010/main" val="27412212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20">
            <a:extLst>
              <a:ext uri="{FF2B5EF4-FFF2-40B4-BE49-F238E27FC236}">
                <a16:creationId xmlns:a16="http://schemas.microsoft.com/office/drawing/2014/main" id="{6067E575-0C5F-0FD6-3E4C-B9B1E8A8B0F1}"/>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45</a:t>
            </a:fld>
            <a:endParaRPr lang="en-GB" sz="600" b="1">
              <a:solidFill>
                <a:schemeClr val="accent2"/>
              </a:solidFill>
            </a:endParaRPr>
          </a:p>
        </p:txBody>
      </p:sp>
      <p:sp>
        <p:nvSpPr>
          <p:cNvPr id="6" name="Oval 5">
            <a:extLst>
              <a:ext uri="{FF2B5EF4-FFF2-40B4-BE49-F238E27FC236}">
                <a16:creationId xmlns:a16="http://schemas.microsoft.com/office/drawing/2014/main" id="{A87BCE0A-17AA-8E49-E3B1-7FF0E3C9275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R" b="1">
                <a:solidFill>
                  <a:schemeClr val="bg2"/>
                </a:solidFill>
              </a:rPr>
              <a:t>9</a:t>
            </a:r>
          </a:p>
        </p:txBody>
      </p:sp>
      <p:cxnSp>
        <p:nvCxnSpPr>
          <p:cNvPr id="7" name="Straight Connector 6">
            <a:extLst>
              <a:ext uri="{FF2B5EF4-FFF2-40B4-BE49-F238E27FC236}">
                <a16:creationId xmlns:a16="http://schemas.microsoft.com/office/drawing/2014/main" id="{BFA14323-125C-DB7B-912A-3C5E57F2A5D5}"/>
              </a:ext>
            </a:extLst>
          </p:cNvPr>
          <p:cNvCxnSpPr>
            <a:cxnSpLocks/>
            <a:stCxn id="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Rectangle: Rounded Corners 2">
            <a:extLst>
              <a:ext uri="{FF2B5EF4-FFF2-40B4-BE49-F238E27FC236}">
                <a16:creationId xmlns:a16="http://schemas.microsoft.com/office/drawing/2014/main" id="{7C76ACE6-0D4B-C35B-028F-874943C431B0}"/>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9" name="Rectangle: Rounded Corners 4">
            <a:extLst>
              <a:ext uri="{FF2B5EF4-FFF2-40B4-BE49-F238E27FC236}">
                <a16:creationId xmlns:a16="http://schemas.microsoft.com/office/drawing/2014/main" id="{2C68CCF5-6057-0F2E-DCB2-0783F7BA14AC}"/>
              </a:ext>
            </a:extLst>
          </p:cNvPr>
          <p:cNvSpPr/>
          <p:nvPr/>
        </p:nvSpPr>
        <p:spPr>
          <a:xfrm>
            <a:off x="5311875" y="3371198"/>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False</a:t>
            </a:r>
            <a:endParaRPr lang="en-GB" sz="2000" b="1" spc="150">
              <a:solidFill>
                <a:schemeClr val="bg2"/>
              </a:solidFill>
            </a:endParaRPr>
          </a:p>
        </p:txBody>
      </p:sp>
      <p:sp>
        <p:nvSpPr>
          <p:cNvPr id="11" name="Oval 10">
            <a:extLst>
              <a:ext uri="{FF2B5EF4-FFF2-40B4-BE49-F238E27FC236}">
                <a16:creationId xmlns:a16="http://schemas.microsoft.com/office/drawing/2014/main" id="{EEE231B9-7565-4237-3D5A-9474B28F4D6A}"/>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2" action="ppaction://hlinksldjump"/>
            <a:extLst>
              <a:ext uri="{FF2B5EF4-FFF2-40B4-BE49-F238E27FC236}">
                <a16:creationId xmlns:a16="http://schemas.microsoft.com/office/drawing/2014/main" id="{D288BA68-53B5-BAF8-B700-B09B33CD2EF6}"/>
              </a:ext>
            </a:extLst>
          </p:cNvPr>
          <p:cNvSpPr/>
          <p:nvPr/>
        </p:nvSpPr>
        <p:spPr>
          <a:xfrm>
            <a:off x="4821924" y="41333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DE8593E5-AD6E-3A98-7C72-F34B162598D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3F14E98E-13AA-AD10-3B0D-6EE10647663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3DB8DA0-6123-149B-FE33-24D20E917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5" name="Slide Number Placeholder 89">
            <a:extLst>
              <a:ext uri="{FF2B5EF4-FFF2-40B4-BE49-F238E27FC236}">
                <a16:creationId xmlns:a16="http://schemas.microsoft.com/office/drawing/2014/main" id="{3CD70F9E-0F1F-4100-3B2C-B8DC9013C77A}"/>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5</a:t>
            </a:fld>
            <a:endParaRPr lang="en-GB"/>
          </a:p>
        </p:txBody>
      </p:sp>
      <p:sp>
        <p:nvSpPr>
          <p:cNvPr id="15" name="Title 17">
            <a:extLst>
              <a:ext uri="{FF2B5EF4-FFF2-40B4-BE49-F238E27FC236}">
                <a16:creationId xmlns:a16="http://schemas.microsoft.com/office/drawing/2014/main" id="{2AC77358-CCD6-76CB-5F55-0D49DBA71774}"/>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Switching from a reference to biosimilar medicine is expected to impact treatment efficacy and safety</a:t>
            </a:r>
          </a:p>
        </p:txBody>
      </p:sp>
    </p:spTree>
    <p:extLst>
      <p:ext uri="{BB962C8B-B14F-4D97-AF65-F5344CB8AC3E}">
        <p14:creationId xmlns:p14="http://schemas.microsoft.com/office/powerpoint/2010/main" val="15208452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32CE277E-6082-008C-03FF-526D77BB10A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46800" rIns="0" rtlCol="0" anchor="ctr"/>
          <a:lstStyle/>
          <a:p>
            <a:pPr algn="ctr"/>
            <a:r>
              <a:rPr lang="en-AR" b="1">
                <a:solidFill>
                  <a:schemeClr val="bg2"/>
                </a:solidFill>
              </a:rPr>
              <a:t>10</a:t>
            </a:r>
          </a:p>
        </p:txBody>
      </p:sp>
      <p:cxnSp>
        <p:nvCxnSpPr>
          <p:cNvPr id="7" name="Straight Connector 6">
            <a:extLst>
              <a:ext uri="{FF2B5EF4-FFF2-40B4-BE49-F238E27FC236}">
                <a16:creationId xmlns:a16="http://schemas.microsoft.com/office/drawing/2014/main" id="{5D1886B6-742E-7586-ABF8-597790AEE630}"/>
              </a:ext>
            </a:extLst>
          </p:cNvPr>
          <p:cNvCxnSpPr>
            <a:cxnSpLocks/>
          </p:cNvCxnSpPr>
          <p:nvPr/>
        </p:nvCxnSpPr>
        <p:spPr>
          <a:xfrm>
            <a:off x="5090367" y="750179"/>
            <a:ext cx="0" cy="357058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Rectangle: Rounded Corners 2">
            <a:extLst>
              <a:ext uri="{FF2B5EF4-FFF2-40B4-BE49-F238E27FC236}">
                <a16:creationId xmlns:a16="http://schemas.microsoft.com/office/drawing/2014/main" id="{1540A4C3-7BBC-2806-3835-356B2C4C59F5}"/>
              </a:ext>
            </a:extLst>
          </p:cNvPr>
          <p:cNvSpPr/>
          <p:nvPr/>
        </p:nvSpPr>
        <p:spPr>
          <a:xfrm>
            <a:off x="5311873" y="1308542"/>
            <a:ext cx="3618479"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dirty="0">
                <a:solidFill>
                  <a:schemeClr val="accent3"/>
                </a:solidFill>
              </a:rPr>
              <a:t>It is an effect where a patient’s positive expectations, beliefs, or mindset about a new treatment can lead to improvement in side effects </a:t>
            </a:r>
            <a:br>
              <a:rPr lang="en-US" sz="1200" dirty="0">
                <a:solidFill>
                  <a:schemeClr val="accent3"/>
                </a:solidFill>
              </a:rPr>
            </a:br>
            <a:r>
              <a:rPr lang="en-US" sz="1200" dirty="0">
                <a:solidFill>
                  <a:schemeClr val="accent3"/>
                </a:solidFill>
              </a:rPr>
              <a:t>or symptoms</a:t>
            </a:r>
          </a:p>
        </p:txBody>
      </p:sp>
      <p:sp>
        <p:nvSpPr>
          <p:cNvPr id="4" name="Rectangle: Rounded Corners 2">
            <a:extLst>
              <a:ext uri="{FF2B5EF4-FFF2-40B4-BE49-F238E27FC236}">
                <a16:creationId xmlns:a16="http://schemas.microsoft.com/office/drawing/2014/main" id="{457B975B-04B5-9514-D5E6-F96FC430524F}"/>
              </a:ext>
            </a:extLst>
          </p:cNvPr>
          <p:cNvSpPr/>
          <p:nvPr/>
        </p:nvSpPr>
        <p:spPr>
          <a:xfrm>
            <a:off x="5311872" y="2155395"/>
            <a:ext cx="3618480"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negative expectations, beliefs, stress, or anxiety about a new treatment will not have an impact on side effects or symptoms</a:t>
            </a:r>
          </a:p>
        </p:txBody>
      </p:sp>
      <p:sp>
        <p:nvSpPr>
          <p:cNvPr id="12" name="Rectangle: Rounded Corners 2">
            <a:extLst>
              <a:ext uri="{FF2B5EF4-FFF2-40B4-BE49-F238E27FC236}">
                <a16:creationId xmlns:a16="http://schemas.microsoft.com/office/drawing/2014/main" id="{B362173C-236B-CDDF-7722-999B62F86894}"/>
              </a:ext>
            </a:extLst>
          </p:cNvPr>
          <p:cNvSpPr/>
          <p:nvPr/>
        </p:nvSpPr>
        <p:spPr>
          <a:xfrm>
            <a:off x="5311873" y="3002248"/>
            <a:ext cx="3618481" cy="89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negative expectations, beliefs, stress, or anxiety about a </a:t>
            </a:r>
            <a:br>
              <a:rPr lang="en-US" sz="1200">
                <a:solidFill>
                  <a:schemeClr val="accent3"/>
                </a:solidFill>
              </a:rPr>
            </a:br>
            <a:r>
              <a:rPr lang="en-US" sz="1200">
                <a:solidFill>
                  <a:schemeClr val="accent3"/>
                </a:solidFill>
              </a:rPr>
              <a:t>new treatment can lead to side effects, worsened symptoms or loss of treatment efficacy</a:t>
            </a:r>
          </a:p>
        </p:txBody>
      </p:sp>
      <p:sp>
        <p:nvSpPr>
          <p:cNvPr id="13" name="Rectangle: Rounded Corners 2">
            <a:extLst>
              <a:ext uri="{FF2B5EF4-FFF2-40B4-BE49-F238E27FC236}">
                <a16:creationId xmlns:a16="http://schemas.microsoft.com/office/drawing/2014/main" id="{71C05908-E31B-59EC-24BC-EC8BE63B34FB}"/>
              </a:ext>
            </a:extLst>
          </p:cNvPr>
          <p:cNvSpPr/>
          <p:nvPr/>
        </p:nvSpPr>
        <p:spPr>
          <a:xfrm>
            <a:off x="5303330" y="3957364"/>
            <a:ext cx="362702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sp>
        <p:nvSpPr>
          <p:cNvPr id="11" name="Title 12">
            <a:extLst>
              <a:ext uri="{FF2B5EF4-FFF2-40B4-BE49-F238E27FC236}">
                <a16:creationId xmlns:a16="http://schemas.microsoft.com/office/drawing/2014/main" id="{22BC3173-C2F6-699A-5A23-45B463956895}"/>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the nocebo effect?</a:t>
            </a:r>
            <a:endParaRPr lang="en-US" sz="2000" spc="0"/>
          </a:p>
        </p:txBody>
      </p:sp>
      <p:sp>
        <p:nvSpPr>
          <p:cNvPr id="8" name="Slide Number Placeholder 89">
            <a:extLst>
              <a:ext uri="{FF2B5EF4-FFF2-40B4-BE49-F238E27FC236}">
                <a16:creationId xmlns:a16="http://schemas.microsoft.com/office/drawing/2014/main" id="{49CF6C5A-E8DA-CC46-334A-0A31C6D1C969}"/>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6</a:t>
            </a:fld>
            <a:endParaRPr lang="en-GB"/>
          </a:p>
        </p:txBody>
      </p:sp>
    </p:spTree>
    <p:extLst>
      <p:ext uri="{BB962C8B-B14F-4D97-AF65-F5344CB8AC3E}">
        <p14:creationId xmlns:p14="http://schemas.microsoft.com/office/powerpoint/2010/main" val="23354474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2">
            <a:extLst>
              <a:ext uri="{FF2B5EF4-FFF2-40B4-BE49-F238E27FC236}">
                <a16:creationId xmlns:a16="http://schemas.microsoft.com/office/drawing/2014/main" id="{7FC98369-CE56-5319-04C2-57616B60234F}"/>
              </a:ext>
            </a:extLst>
          </p:cNvPr>
          <p:cNvSpPr/>
          <p:nvPr/>
        </p:nvSpPr>
        <p:spPr>
          <a:xfrm>
            <a:off x="5311873" y="1308542"/>
            <a:ext cx="3618479"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positive expectations, beliefs, or mindset about a new treatment can lead to improvement in side effects </a:t>
            </a:r>
            <a:br>
              <a:rPr lang="en-US" sz="1200">
                <a:solidFill>
                  <a:schemeClr val="accent3"/>
                </a:solidFill>
              </a:rPr>
            </a:br>
            <a:r>
              <a:rPr lang="en-US" sz="1200">
                <a:solidFill>
                  <a:schemeClr val="accent3"/>
                </a:solidFill>
              </a:rPr>
              <a:t>or symptoms</a:t>
            </a:r>
          </a:p>
        </p:txBody>
      </p:sp>
      <p:sp>
        <p:nvSpPr>
          <p:cNvPr id="6" name="Oval 5">
            <a:extLst>
              <a:ext uri="{FF2B5EF4-FFF2-40B4-BE49-F238E27FC236}">
                <a16:creationId xmlns:a16="http://schemas.microsoft.com/office/drawing/2014/main" id="{32CE277E-6082-008C-03FF-526D77BB10A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46800" rIns="0" rtlCol="0" anchor="ctr"/>
          <a:lstStyle/>
          <a:p>
            <a:pPr algn="ctr"/>
            <a:r>
              <a:rPr lang="en-AR" b="1">
                <a:solidFill>
                  <a:schemeClr val="bg2"/>
                </a:solidFill>
              </a:rPr>
              <a:t>10</a:t>
            </a:r>
          </a:p>
        </p:txBody>
      </p:sp>
      <p:cxnSp>
        <p:nvCxnSpPr>
          <p:cNvPr id="7" name="Straight Connector 6">
            <a:extLst>
              <a:ext uri="{FF2B5EF4-FFF2-40B4-BE49-F238E27FC236}">
                <a16:creationId xmlns:a16="http://schemas.microsoft.com/office/drawing/2014/main" id="{5D1886B6-742E-7586-ABF8-597790AEE630}"/>
              </a:ext>
            </a:extLst>
          </p:cNvPr>
          <p:cNvCxnSpPr>
            <a:cxnSpLocks/>
          </p:cNvCxnSpPr>
          <p:nvPr/>
        </p:nvCxnSpPr>
        <p:spPr>
          <a:xfrm>
            <a:off x="5090367" y="750179"/>
            <a:ext cx="0" cy="357058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697EAAF3-F5AF-082A-C6E2-B5C701BCD65C}"/>
              </a:ext>
            </a:extLst>
          </p:cNvPr>
          <p:cNvSpPr/>
          <p:nvPr/>
        </p:nvSpPr>
        <p:spPr>
          <a:xfrm>
            <a:off x="5311872" y="2155395"/>
            <a:ext cx="3618480" cy="780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a:solidFill>
                  <a:schemeClr val="accent3"/>
                </a:solidFill>
              </a:rPr>
              <a:t>It is an effect where a patient’s negative expectations, beliefs, stress, or anxiety about a new treatment will not have an impact on side effects or symptoms</a:t>
            </a:r>
          </a:p>
        </p:txBody>
      </p:sp>
      <p:sp>
        <p:nvSpPr>
          <p:cNvPr id="10" name="Rectangle: Rounded Corners 2">
            <a:extLst>
              <a:ext uri="{FF2B5EF4-FFF2-40B4-BE49-F238E27FC236}">
                <a16:creationId xmlns:a16="http://schemas.microsoft.com/office/drawing/2014/main" id="{EDA9E74F-A8FF-B200-4D59-A5B9A3FC6D03}"/>
              </a:ext>
            </a:extLst>
          </p:cNvPr>
          <p:cNvSpPr/>
          <p:nvPr/>
        </p:nvSpPr>
        <p:spPr>
          <a:xfrm>
            <a:off x="5311873" y="3002248"/>
            <a:ext cx="3618481" cy="8944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b="1">
                <a:solidFill>
                  <a:schemeClr val="bg2"/>
                </a:solidFill>
              </a:rPr>
              <a:t>It is an effect where a patient’s negative expectations, beliefs, stress, or anxiety about a new treatment can lead to side effects, worsened symptoms or loss of treatment efficacy</a:t>
            </a:r>
          </a:p>
        </p:txBody>
      </p:sp>
      <p:sp>
        <p:nvSpPr>
          <p:cNvPr id="11" name="Rectangle: Rounded Corners 2">
            <a:extLst>
              <a:ext uri="{FF2B5EF4-FFF2-40B4-BE49-F238E27FC236}">
                <a16:creationId xmlns:a16="http://schemas.microsoft.com/office/drawing/2014/main" id="{512EFD6A-6FC2-C8DA-B265-F8080F4CD0DB}"/>
              </a:ext>
            </a:extLst>
          </p:cNvPr>
          <p:cNvSpPr/>
          <p:nvPr/>
        </p:nvSpPr>
        <p:spPr>
          <a:xfrm>
            <a:off x="5303330" y="3957364"/>
            <a:ext cx="3627021" cy="344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nSpc>
                <a:spcPct val="90000"/>
              </a:lnSpc>
            </a:pPr>
            <a:r>
              <a:rPr lang="en-US" sz="1200" spc="-30">
                <a:solidFill>
                  <a:schemeClr val="accent3"/>
                </a:solidFill>
              </a:rPr>
              <a:t>None of the above</a:t>
            </a:r>
            <a:endParaRPr lang="en-US" sz="1200">
              <a:solidFill>
                <a:schemeClr val="accent3"/>
              </a:solidFill>
            </a:endParaRPr>
          </a:p>
        </p:txBody>
      </p:sp>
      <p:sp>
        <p:nvSpPr>
          <p:cNvPr id="2" name="Oval 1">
            <a:extLst>
              <a:ext uri="{FF2B5EF4-FFF2-40B4-BE49-F238E27FC236}">
                <a16:creationId xmlns:a16="http://schemas.microsoft.com/office/drawing/2014/main" id="{684481D8-FB2B-0B01-B8FF-CC2D4652615A}"/>
              </a:ext>
            </a:extLst>
          </p:cNvPr>
          <p:cNvSpPr/>
          <p:nvPr/>
        </p:nvSpPr>
        <p:spPr>
          <a:xfrm>
            <a:off x="4821924" y="4325814"/>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14" name="Rectangle 13">
            <a:hlinkClick r:id="rId3" action="ppaction://hlinksldjump"/>
            <a:extLst>
              <a:ext uri="{FF2B5EF4-FFF2-40B4-BE49-F238E27FC236}">
                <a16:creationId xmlns:a16="http://schemas.microsoft.com/office/drawing/2014/main" id="{9AD1DCD1-6288-5282-9798-3349887A874D}"/>
              </a:ext>
            </a:extLst>
          </p:cNvPr>
          <p:cNvSpPr/>
          <p:nvPr/>
        </p:nvSpPr>
        <p:spPr>
          <a:xfrm>
            <a:off x="4848366" y="4247699"/>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15" name="Group 14">
            <a:extLst>
              <a:ext uri="{FF2B5EF4-FFF2-40B4-BE49-F238E27FC236}">
                <a16:creationId xmlns:a16="http://schemas.microsoft.com/office/drawing/2014/main" id="{67FF00AE-A639-912E-DF62-3B56633C1A2B}"/>
              </a:ext>
            </a:extLst>
          </p:cNvPr>
          <p:cNvGrpSpPr/>
          <p:nvPr/>
        </p:nvGrpSpPr>
        <p:grpSpPr>
          <a:xfrm>
            <a:off x="4864860" y="4372859"/>
            <a:ext cx="3911809" cy="438470"/>
            <a:chOff x="138971" y="3753538"/>
            <a:chExt cx="3911809" cy="438470"/>
          </a:xfrm>
        </p:grpSpPr>
        <p:sp>
          <p:nvSpPr>
            <p:cNvPr id="16" name="Rectangle 15">
              <a:extLst>
                <a:ext uri="{FF2B5EF4-FFF2-40B4-BE49-F238E27FC236}">
                  <a16:creationId xmlns:a16="http://schemas.microsoft.com/office/drawing/2014/main" id="{0CE7E0E6-7712-DB13-FDBD-EEAE225900F4}"/>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17" name="Graphic 16" descr="Cursor outline">
              <a:extLst>
                <a:ext uri="{FF2B5EF4-FFF2-40B4-BE49-F238E27FC236}">
                  <a16:creationId xmlns:a16="http://schemas.microsoft.com/office/drawing/2014/main" id="{B383B147-0094-D9E1-11C1-FA762058EF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971" y="3753538"/>
              <a:ext cx="438470" cy="438470"/>
            </a:xfrm>
            <a:prstGeom prst="rect">
              <a:avLst/>
            </a:prstGeom>
          </p:spPr>
        </p:pic>
      </p:grpSp>
      <p:sp>
        <p:nvSpPr>
          <p:cNvPr id="18" name="Title 12">
            <a:extLst>
              <a:ext uri="{FF2B5EF4-FFF2-40B4-BE49-F238E27FC236}">
                <a16:creationId xmlns:a16="http://schemas.microsoft.com/office/drawing/2014/main" id="{665FA9EC-03A6-EDE7-1D64-6A8F9B442748}"/>
              </a:ext>
            </a:extLst>
          </p:cNvPr>
          <p:cNvSpPr>
            <a:spLocks noGrp="1"/>
          </p:cNvSpPr>
          <p:nvPr>
            <p:ph type="title"/>
          </p:nvPr>
        </p:nvSpPr>
        <p:spPr>
          <a:xfrm>
            <a:off x="5311873" y="924020"/>
            <a:ext cx="3344446" cy="384523"/>
          </a:xfrm>
        </p:spPr>
        <p:txBody>
          <a:bodyPr/>
          <a:lstStyle/>
          <a:p>
            <a:pPr>
              <a:lnSpc>
                <a:spcPct val="90000"/>
              </a:lnSpc>
            </a:pPr>
            <a:r>
              <a:rPr lang="en-US" sz="2000" spc="0">
                <a:solidFill>
                  <a:schemeClr val="accent2"/>
                </a:solidFill>
              </a:rPr>
              <a:t>What is the nocebo effect?</a:t>
            </a:r>
            <a:endParaRPr lang="en-US" sz="2000" spc="0"/>
          </a:p>
        </p:txBody>
      </p:sp>
      <p:sp>
        <p:nvSpPr>
          <p:cNvPr id="8" name="Slide Number Placeholder 89">
            <a:extLst>
              <a:ext uri="{FF2B5EF4-FFF2-40B4-BE49-F238E27FC236}">
                <a16:creationId xmlns:a16="http://schemas.microsoft.com/office/drawing/2014/main" id="{BB0F564E-D034-F692-7CEB-484E291DE637}"/>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7</a:t>
            </a:fld>
            <a:endParaRPr lang="en-GB"/>
          </a:p>
        </p:txBody>
      </p:sp>
    </p:spTree>
    <p:extLst>
      <p:ext uri="{BB962C8B-B14F-4D97-AF65-F5344CB8AC3E}">
        <p14:creationId xmlns:p14="http://schemas.microsoft.com/office/powerpoint/2010/main" val="20228719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16C4A72E-D2A7-728E-B7EA-7B8466DC0383}"/>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b="1">
                <a:solidFill>
                  <a:schemeClr val="bg2"/>
                </a:solidFill>
              </a:rPr>
              <a:t>11</a:t>
            </a:r>
            <a:endParaRPr lang="en-AR" b="1">
              <a:solidFill>
                <a:schemeClr val="bg2"/>
              </a:solidFill>
            </a:endParaRPr>
          </a:p>
        </p:txBody>
      </p:sp>
      <p:cxnSp>
        <p:nvCxnSpPr>
          <p:cNvPr id="7" name="Straight Connector 6">
            <a:extLst>
              <a:ext uri="{FF2B5EF4-FFF2-40B4-BE49-F238E27FC236}">
                <a16:creationId xmlns:a16="http://schemas.microsoft.com/office/drawing/2014/main" id="{C3CF8029-798A-69B0-6606-C27BB3236BB4}"/>
              </a:ext>
            </a:extLst>
          </p:cNvPr>
          <p:cNvCxnSpPr>
            <a:cxnSpLocks/>
            <a:stCxn id="6" idx="4"/>
          </p:cNvCxnSpPr>
          <p:nvPr/>
        </p:nvCxnSpPr>
        <p:spPr>
          <a:xfrm>
            <a:off x="5090367" y="750179"/>
            <a:ext cx="0" cy="328954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Rectangle: Rounded Corners 2">
            <a:extLst>
              <a:ext uri="{FF2B5EF4-FFF2-40B4-BE49-F238E27FC236}">
                <a16:creationId xmlns:a16="http://schemas.microsoft.com/office/drawing/2014/main" id="{B71C8F7B-D9A1-F508-1110-AE65FA8187E7}"/>
              </a:ext>
            </a:extLst>
          </p:cNvPr>
          <p:cNvSpPr/>
          <p:nvPr/>
        </p:nvSpPr>
        <p:spPr>
          <a:xfrm>
            <a:off x="5311875" y="2587835"/>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True</a:t>
            </a:r>
            <a:endParaRPr lang="en-GB" sz="2000" spc="150">
              <a:solidFill>
                <a:schemeClr val="accent3"/>
              </a:solidFill>
            </a:endParaRPr>
          </a:p>
        </p:txBody>
      </p:sp>
      <p:sp>
        <p:nvSpPr>
          <p:cNvPr id="13" name="Rectangle: Rounded Corners 4">
            <a:extLst>
              <a:ext uri="{FF2B5EF4-FFF2-40B4-BE49-F238E27FC236}">
                <a16:creationId xmlns:a16="http://schemas.microsoft.com/office/drawing/2014/main" id="{AFA85841-4925-04B2-8E2D-CB397E31F57E}"/>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8" name="Title 17">
            <a:extLst>
              <a:ext uri="{FF2B5EF4-FFF2-40B4-BE49-F238E27FC236}">
                <a16:creationId xmlns:a16="http://schemas.microsoft.com/office/drawing/2014/main" id="{5882A452-B817-C5E3-C8E9-D3C2067EEF33}"/>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The same treatment effect can be expected both when a patient is treated with a reference biologic or with its biosimilar medicine</a:t>
            </a:r>
          </a:p>
        </p:txBody>
      </p:sp>
      <p:sp>
        <p:nvSpPr>
          <p:cNvPr id="2" name="Slide Number Placeholder 89">
            <a:extLst>
              <a:ext uri="{FF2B5EF4-FFF2-40B4-BE49-F238E27FC236}">
                <a16:creationId xmlns:a16="http://schemas.microsoft.com/office/drawing/2014/main" id="{699ED29F-F2E7-E405-43AD-E686C5BBCA56}"/>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8</a:t>
            </a:fld>
            <a:endParaRPr lang="en-GB"/>
          </a:p>
        </p:txBody>
      </p:sp>
    </p:spTree>
    <p:extLst>
      <p:ext uri="{BB962C8B-B14F-4D97-AF65-F5344CB8AC3E}">
        <p14:creationId xmlns:p14="http://schemas.microsoft.com/office/powerpoint/2010/main" val="25615408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A87BCE0A-17AA-8E49-E3B1-7FF0E3C92752}"/>
              </a:ext>
            </a:extLst>
          </p:cNvPr>
          <p:cNvSpPr/>
          <p:nvPr/>
        </p:nvSpPr>
        <p:spPr>
          <a:xfrm>
            <a:off x="4821924" y="213293"/>
            <a:ext cx="536886" cy="53688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b="1">
                <a:solidFill>
                  <a:schemeClr val="bg2"/>
                </a:solidFill>
              </a:rPr>
              <a:t>11</a:t>
            </a:r>
            <a:endParaRPr lang="en-AR" b="1">
              <a:solidFill>
                <a:schemeClr val="bg2"/>
              </a:solidFill>
            </a:endParaRPr>
          </a:p>
        </p:txBody>
      </p:sp>
      <p:cxnSp>
        <p:nvCxnSpPr>
          <p:cNvPr id="7" name="Straight Connector 6">
            <a:extLst>
              <a:ext uri="{FF2B5EF4-FFF2-40B4-BE49-F238E27FC236}">
                <a16:creationId xmlns:a16="http://schemas.microsoft.com/office/drawing/2014/main" id="{BFA14323-125C-DB7B-912A-3C5E57F2A5D5}"/>
              </a:ext>
            </a:extLst>
          </p:cNvPr>
          <p:cNvCxnSpPr>
            <a:cxnSpLocks/>
            <a:stCxn id="6" idx="4"/>
          </p:cNvCxnSpPr>
          <p:nvPr/>
        </p:nvCxnSpPr>
        <p:spPr>
          <a:xfrm>
            <a:off x="5090367" y="750179"/>
            <a:ext cx="0" cy="346527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EE231B9-7565-4237-3D5A-9474B28F4D6A}"/>
              </a:ext>
            </a:extLst>
          </p:cNvPr>
          <p:cNvSpPr/>
          <p:nvPr/>
        </p:nvSpPr>
        <p:spPr>
          <a:xfrm>
            <a:off x="4821924" y="4215449"/>
            <a:ext cx="536886" cy="536886"/>
          </a:xfrm>
          <a:prstGeom prst="ellipse">
            <a:avLst/>
          </a:prstGeom>
          <a:solidFill>
            <a:schemeClr val="bg1"/>
          </a:solidFill>
          <a:ln w="254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b="1"/>
          </a:p>
        </p:txBody>
      </p:sp>
      <p:sp>
        <p:nvSpPr>
          <p:cNvPr id="25" name="Rectangle 24">
            <a:hlinkClick r:id="rId2" action="ppaction://hlinksldjump"/>
            <a:extLst>
              <a:ext uri="{FF2B5EF4-FFF2-40B4-BE49-F238E27FC236}">
                <a16:creationId xmlns:a16="http://schemas.microsoft.com/office/drawing/2014/main" id="{D288BA68-53B5-BAF8-B700-B09B33CD2EF6}"/>
              </a:ext>
            </a:extLst>
          </p:cNvPr>
          <p:cNvSpPr/>
          <p:nvPr/>
        </p:nvSpPr>
        <p:spPr>
          <a:xfrm>
            <a:off x="4821924" y="4133325"/>
            <a:ext cx="3803849" cy="7126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grpSp>
        <p:nvGrpSpPr>
          <p:cNvPr id="2" name="Group 1">
            <a:extLst>
              <a:ext uri="{FF2B5EF4-FFF2-40B4-BE49-F238E27FC236}">
                <a16:creationId xmlns:a16="http://schemas.microsoft.com/office/drawing/2014/main" id="{DE8593E5-AD6E-3A98-7C72-F34B162598D4}"/>
              </a:ext>
            </a:extLst>
          </p:cNvPr>
          <p:cNvGrpSpPr/>
          <p:nvPr/>
        </p:nvGrpSpPr>
        <p:grpSpPr>
          <a:xfrm>
            <a:off x="4873406" y="4270307"/>
            <a:ext cx="3911809" cy="438470"/>
            <a:chOff x="138971" y="3753538"/>
            <a:chExt cx="3911809" cy="438470"/>
          </a:xfrm>
        </p:grpSpPr>
        <p:sp>
          <p:nvSpPr>
            <p:cNvPr id="3" name="Rectangle 2">
              <a:extLst>
                <a:ext uri="{FF2B5EF4-FFF2-40B4-BE49-F238E27FC236}">
                  <a16:creationId xmlns:a16="http://schemas.microsoft.com/office/drawing/2014/main" id="{3F14E98E-13AA-AD10-3B0D-6EE106476637}"/>
                </a:ext>
              </a:extLst>
            </p:cNvPr>
            <p:cNvSpPr/>
            <p:nvPr/>
          </p:nvSpPr>
          <p:spPr>
            <a:xfrm>
              <a:off x="675857" y="3789089"/>
              <a:ext cx="3374923" cy="39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i="1">
                  <a:solidFill>
                    <a:schemeClr val="accent2"/>
                  </a:solidFill>
                </a:rPr>
                <a:t>Click here to re-review the content</a:t>
              </a:r>
              <a:endParaRPr lang="en-GB" sz="1600" b="1" i="1">
                <a:solidFill>
                  <a:schemeClr val="accent2"/>
                </a:solidFill>
              </a:endParaRPr>
            </a:p>
          </p:txBody>
        </p:sp>
        <p:pic>
          <p:nvPicPr>
            <p:cNvPr id="4" name="Graphic 3" descr="Cursor outline">
              <a:extLst>
                <a:ext uri="{FF2B5EF4-FFF2-40B4-BE49-F238E27FC236}">
                  <a16:creationId xmlns:a16="http://schemas.microsoft.com/office/drawing/2014/main" id="{23DB8DA0-6123-149B-FE33-24D20E91764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971" y="3753538"/>
              <a:ext cx="438470" cy="438470"/>
            </a:xfrm>
            <a:prstGeom prst="rect">
              <a:avLst/>
            </a:prstGeom>
          </p:spPr>
        </p:pic>
      </p:grpSp>
      <p:sp>
        <p:nvSpPr>
          <p:cNvPr id="15" name="Rectangle: Rounded Corners 2">
            <a:extLst>
              <a:ext uri="{FF2B5EF4-FFF2-40B4-BE49-F238E27FC236}">
                <a16:creationId xmlns:a16="http://schemas.microsoft.com/office/drawing/2014/main" id="{203169A3-538B-75B4-EA4C-AE71DDE08EE4}"/>
              </a:ext>
            </a:extLst>
          </p:cNvPr>
          <p:cNvSpPr/>
          <p:nvPr/>
        </p:nvSpPr>
        <p:spPr>
          <a:xfrm>
            <a:off x="5311875" y="2587835"/>
            <a:ext cx="3153902" cy="6685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spc="150">
                <a:solidFill>
                  <a:schemeClr val="bg2"/>
                </a:solidFill>
              </a:rPr>
              <a:t>True</a:t>
            </a:r>
            <a:endParaRPr lang="en-GB" sz="2000" b="1" spc="150">
              <a:solidFill>
                <a:schemeClr val="bg2"/>
              </a:solidFill>
            </a:endParaRPr>
          </a:p>
        </p:txBody>
      </p:sp>
      <p:sp>
        <p:nvSpPr>
          <p:cNvPr id="16" name="Rectangle: Rounded Corners 4">
            <a:extLst>
              <a:ext uri="{FF2B5EF4-FFF2-40B4-BE49-F238E27FC236}">
                <a16:creationId xmlns:a16="http://schemas.microsoft.com/office/drawing/2014/main" id="{24464D41-8B37-CA48-6285-0FE2F7CFBFD7}"/>
              </a:ext>
            </a:extLst>
          </p:cNvPr>
          <p:cNvSpPr/>
          <p:nvPr/>
        </p:nvSpPr>
        <p:spPr>
          <a:xfrm>
            <a:off x="5311875" y="3371198"/>
            <a:ext cx="3153902" cy="6685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spc="150">
                <a:solidFill>
                  <a:schemeClr val="accent3"/>
                </a:solidFill>
              </a:rPr>
              <a:t>False</a:t>
            </a:r>
            <a:endParaRPr lang="en-GB" sz="2000" spc="150">
              <a:solidFill>
                <a:schemeClr val="accent3"/>
              </a:solidFill>
            </a:endParaRPr>
          </a:p>
        </p:txBody>
      </p:sp>
      <p:sp>
        <p:nvSpPr>
          <p:cNvPr id="10" name="Title 17">
            <a:extLst>
              <a:ext uri="{FF2B5EF4-FFF2-40B4-BE49-F238E27FC236}">
                <a16:creationId xmlns:a16="http://schemas.microsoft.com/office/drawing/2014/main" id="{854E5734-517C-F7E1-B8DA-5BB79F55FECB}"/>
              </a:ext>
            </a:extLst>
          </p:cNvPr>
          <p:cNvSpPr>
            <a:spLocks noGrp="1"/>
          </p:cNvSpPr>
          <p:nvPr>
            <p:ph type="title"/>
          </p:nvPr>
        </p:nvSpPr>
        <p:spPr>
          <a:xfrm>
            <a:off x="5311875" y="894362"/>
            <a:ext cx="3454190" cy="346302"/>
          </a:xfrm>
        </p:spPr>
        <p:txBody>
          <a:bodyPr/>
          <a:lstStyle/>
          <a:p>
            <a:pPr>
              <a:lnSpc>
                <a:spcPct val="90000"/>
              </a:lnSpc>
              <a:tabLst>
                <a:tab pos="403225" algn="l"/>
              </a:tabLst>
            </a:pPr>
            <a:r>
              <a:rPr lang="en-US" sz="2000"/>
              <a:t>The same treatment effect can be expected both when a patient is treated with a reference biologic or with its biosimilar medicine</a:t>
            </a:r>
          </a:p>
        </p:txBody>
      </p:sp>
      <p:sp>
        <p:nvSpPr>
          <p:cNvPr id="5" name="Slide Number Placeholder 89">
            <a:extLst>
              <a:ext uri="{FF2B5EF4-FFF2-40B4-BE49-F238E27FC236}">
                <a16:creationId xmlns:a16="http://schemas.microsoft.com/office/drawing/2014/main" id="{C9B5B456-8325-D142-7C5C-1CEBD6B9F5B8}"/>
              </a:ext>
            </a:extLst>
          </p:cNvPr>
          <p:cNvSpPr txBox="1">
            <a:spLocks/>
          </p:cNvSpPr>
          <p:nvPr/>
        </p:nvSpPr>
        <p:spPr>
          <a:xfrm>
            <a:off x="243001" y="4827355"/>
            <a:ext cx="148500" cy="135000"/>
          </a:xfrm>
          <a:prstGeom prst="rect">
            <a:avLst/>
          </a:prstGeom>
        </p:spPr>
        <p:txBody>
          <a:bodyPr vert="horz" lIns="0" tIns="0" rIns="0" bIns="0" rtlCol="0" anchor="t" anchorCtr="0"/>
          <a:lstStyle>
            <a:defPPr>
              <a:defRPr lang="en-US"/>
            </a:defPPr>
            <a:lvl1pPr>
              <a:defRPr sz="600" b="1">
                <a:solidFill>
                  <a:schemeClr val="bg1"/>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mtClean="0"/>
              <a:pPr/>
              <a:t>49</a:t>
            </a:fld>
            <a:endParaRPr lang="en-GB"/>
          </a:p>
        </p:txBody>
      </p:sp>
    </p:spTree>
    <p:extLst>
      <p:ext uri="{BB962C8B-B14F-4D97-AF65-F5344CB8AC3E}">
        <p14:creationId xmlns:p14="http://schemas.microsoft.com/office/powerpoint/2010/main" val="3399424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3A3EA-6422-254D-C6B9-00EE3815CC0C}"/>
              </a:ext>
            </a:extLst>
          </p:cNvPr>
          <p:cNvSpPr>
            <a:spLocks noGrp="1"/>
          </p:cNvSpPr>
          <p:nvPr>
            <p:ph type="ctrTitle"/>
          </p:nvPr>
        </p:nvSpPr>
        <p:spPr>
          <a:xfrm>
            <a:off x="244075" y="1799666"/>
            <a:ext cx="6712201" cy="1544168"/>
          </a:xfrm>
        </p:spPr>
        <p:txBody>
          <a:bodyPr/>
          <a:lstStyle/>
          <a:p>
            <a:pPr>
              <a:spcBef>
                <a:spcPts val="1200"/>
              </a:spcBef>
            </a:pPr>
            <a:r>
              <a:rPr lang="en-US"/>
              <a:t>Treatment groups in MS:</a:t>
            </a:r>
            <a:br>
              <a:rPr lang="en-US"/>
            </a:br>
            <a:r>
              <a:rPr lang="en-US"/>
              <a:t>A closer look at biologic </a:t>
            </a:r>
            <a:br>
              <a:rPr lang="en-US"/>
            </a:br>
            <a:r>
              <a:rPr lang="en-US"/>
              <a:t>reference and biosimilar medicines</a:t>
            </a:r>
          </a:p>
        </p:txBody>
      </p:sp>
    </p:spTree>
    <p:extLst>
      <p:ext uri="{BB962C8B-B14F-4D97-AF65-F5344CB8AC3E}">
        <p14:creationId xmlns:p14="http://schemas.microsoft.com/office/powerpoint/2010/main" val="28325228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5EF7B-2F98-AF76-D516-D28FFA4448FB}"/>
              </a:ext>
            </a:extLst>
          </p:cNvPr>
          <p:cNvSpPr>
            <a:spLocks noGrp="1"/>
          </p:cNvSpPr>
          <p:nvPr>
            <p:ph type="ctrTitle"/>
          </p:nvPr>
        </p:nvSpPr>
        <p:spPr/>
        <p:txBody>
          <a:bodyPr/>
          <a:lstStyle/>
          <a:p>
            <a:r>
              <a:rPr lang="en-GB" dirty="0"/>
              <a:t>Bibliography</a:t>
            </a:r>
            <a:endParaRPr lang="en-US" dirty="0"/>
          </a:p>
        </p:txBody>
      </p:sp>
    </p:spTree>
    <p:extLst>
      <p:ext uri="{BB962C8B-B14F-4D97-AF65-F5344CB8AC3E}">
        <p14:creationId xmlns:p14="http://schemas.microsoft.com/office/powerpoint/2010/main" val="6992815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3"/>
            <a:ext cx="8450826" cy="3460758"/>
          </a:xfrm>
        </p:spPr>
        <p:txBody>
          <a:bodyPr numCol="2" spcCol="457200">
            <a:noAutofit/>
          </a:bodyPr>
          <a:lstStyle/>
          <a:p>
            <a:pPr>
              <a:lnSpc>
                <a:spcPct val="100000"/>
              </a:lnSpc>
              <a:spcBef>
                <a:spcPts val="0"/>
              </a:spcBef>
              <a:spcAft>
                <a:spcPts val="600"/>
              </a:spcAft>
            </a:pPr>
            <a:r>
              <a:rPr lang="en-GB" sz="900" dirty="0"/>
              <a:t>Bhat S, </a:t>
            </a:r>
            <a:r>
              <a:rPr lang="en-GB" sz="900" dirty="0" err="1"/>
              <a:t>Altajar</a:t>
            </a:r>
            <a:r>
              <a:rPr lang="en-GB" sz="900" dirty="0"/>
              <a:t> S, Shankar D, et al. </a:t>
            </a:r>
            <a:r>
              <a:rPr lang="en-US" sz="900" dirty="0"/>
              <a:t>Process and Clinical Outcomes of a Biosimilar Adoption Program with Infliximab-</a:t>
            </a:r>
            <a:r>
              <a:rPr lang="en-US" sz="900" dirty="0" err="1"/>
              <a:t>Dyyb</a:t>
            </a:r>
            <a:r>
              <a:rPr lang="en-US" sz="900" dirty="0"/>
              <a:t>. </a:t>
            </a:r>
            <a:r>
              <a:rPr lang="en-GB" sz="900" i="1" dirty="0"/>
              <a:t>J </a:t>
            </a:r>
            <a:r>
              <a:rPr lang="en-GB" sz="900" i="1" dirty="0" err="1"/>
              <a:t>Manag</a:t>
            </a:r>
            <a:r>
              <a:rPr lang="en-GB" sz="900" i="1" dirty="0"/>
              <a:t> Care Spec Pharm </a:t>
            </a:r>
            <a:r>
              <a:rPr lang="en-GB" sz="900" dirty="0"/>
              <a:t>2020;26(4):410–416</a:t>
            </a:r>
          </a:p>
          <a:p>
            <a:pPr>
              <a:lnSpc>
                <a:spcPct val="100000"/>
              </a:lnSpc>
              <a:spcBef>
                <a:spcPts val="0"/>
              </a:spcBef>
              <a:spcAft>
                <a:spcPts val="600"/>
              </a:spcAft>
            </a:pPr>
            <a:r>
              <a:rPr lang="en-GB" sz="900" dirty="0"/>
              <a:t>Biogen Inc. Tysabri</a:t>
            </a:r>
            <a:r>
              <a:rPr lang="en-GB" sz="900" baseline="30000" dirty="0"/>
              <a:t>®</a:t>
            </a:r>
            <a:r>
              <a:rPr lang="en-GB" sz="900" dirty="0"/>
              <a:t>. Prescribing Information. 2021. Available at: https://www.accessdata.fda.gov/drugsatfda_docs/label/2012/125104s0576lbl.pdf. Accessed December 2022</a:t>
            </a:r>
          </a:p>
          <a:p>
            <a:pPr>
              <a:lnSpc>
                <a:spcPct val="100000"/>
              </a:lnSpc>
              <a:spcBef>
                <a:spcPts val="0"/>
              </a:spcBef>
              <a:spcAft>
                <a:spcPts val="600"/>
              </a:spcAft>
            </a:pPr>
            <a:r>
              <a:rPr lang="en-GB" sz="900" dirty="0"/>
              <a:t>Biogen Netherlands B.V. Tysabri</a:t>
            </a:r>
            <a:r>
              <a:rPr lang="en-GB" sz="900" baseline="30000" dirty="0"/>
              <a:t>®</a:t>
            </a:r>
            <a:r>
              <a:rPr lang="en-GB" sz="900" dirty="0"/>
              <a:t>. Summary of Product Characteristics. 2022. Available at: https://www.medicines.org.uk/emc/product/12443/smpc. Accessed December 2023 </a:t>
            </a:r>
          </a:p>
          <a:p>
            <a:pPr>
              <a:lnSpc>
                <a:spcPct val="100000"/>
              </a:lnSpc>
              <a:spcBef>
                <a:spcPts val="0"/>
              </a:spcBef>
              <a:spcAft>
                <a:spcPts val="600"/>
              </a:spcAft>
            </a:pPr>
            <a:r>
              <a:rPr lang="nb-NO" sz="900" dirty="0"/>
              <a:t>Blackwell K, </a:t>
            </a:r>
            <a:r>
              <a:rPr lang="nb-NO" sz="900" dirty="0" err="1"/>
              <a:t>Semiglazov</a:t>
            </a:r>
            <a:r>
              <a:rPr lang="nb-NO" sz="900" dirty="0"/>
              <a:t> V, </a:t>
            </a:r>
            <a:r>
              <a:rPr lang="nb-NO" sz="900" dirty="0" err="1"/>
              <a:t>Krasnozhon</a:t>
            </a:r>
            <a:r>
              <a:rPr lang="nb-NO" sz="900" dirty="0"/>
              <a:t> D, et al. </a:t>
            </a:r>
            <a:r>
              <a:rPr lang="en-US" sz="900" dirty="0"/>
              <a:t>Comparison of EP2006, a filgrastim biosimilar, to the reference: a phase III, randomized, double-blind clinical study in the prevention of severe neutropenia in patients with breast cancer receiving myelosuppressive chemotherapy. </a:t>
            </a:r>
            <a:r>
              <a:rPr lang="nb-NO" sz="900" i="1" dirty="0"/>
              <a:t>Ann </a:t>
            </a:r>
            <a:r>
              <a:rPr lang="nb-NO" sz="900" i="1" dirty="0" err="1"/>
              <a:t>Oncol</a:t>
            </a:r>
            <a:r>
              <a:rPr lang="nb-NO" sz="900" i="1" dirty="0"/>
              <a:t> </a:t>
            </a:r>
            <a:r>
              <a:rPr lang="nb-NO" sz="900" dirty="0"/>
              <a:t>2015;26(9):1948–1953</a:t>
            </a:r>
            <a:endParaRPr lang="en-GB" sz="900" dirty="0"/>
          </a:p>
          <a:p>
            <a:pPr>
              <a:lnSpc>
                <a:spcPct val="100000"/>
              </a:lnSpc>
              <a:spcBef>
                <a:spcPts val="0"/>
              </a:spcBef>
              <a:spcAft>
                <a:spcPts val="600"/>
              </a:spcAft>
            </a:pPr>
            <a:r>
              <a:rPr lang="en-GB" sz="900" dirty="0"/>
              <a:t>Cohen HP, Blauvelt A, Rifkin RM, et al. </a:t>
            </a:r>
            <a:r>
              <a:rPr lang="en-US" sz="900" dirty="0"/>
              <a:t>Switching Reference Medicines to Biosimilars: A Systematic Literature Review of Clinical Outcomes. </a:t>
            </a:r>
            <a:r>
              <a:rPr lang="en-GB" sz="900" i="1" dirty="0"/>
              <a:t>Drugs</a:t>
            </a:r>
            <a:r>
              <a:rPr lang="en-GB" sz="900" dirty="0"/>
              <a:t> 2018;78(4):463–478</a:t>
            </a:r>
          </a:p>
          <a:p>
            <a:pPr>
              <a:lnSpc>
                <a:spcPct val="100000"/>
              </a:lnSpc>
              <a:spcBef>
                <a:spcPts val="0"/>
              </a:spcBef>
              <a:spcAft>
                <a:spcPts val="600"/>
              </a:spcAft>
            </a:pPr>
            <a:r>
              <a:rPr lang="en-GB" sz="900" dirty="0" err="1"/>
              <a:t>Colloca</a:t>
            </a:r>
            <a:r>
              <a:rPr lang="en-GB" sz="900" dirty="0"/>
              <a:t> L, </a:t>
            </a:r>
            <a:r>
              <a:rPr lang="en-GB" sz="900" dirty="0" err="1"/>
              <a:t>Panaccione</a:t>
            </a:r>
            <a:r>
              <a:rPr lang="en-GB" sz="900" dirty="0"/>
              <a:t> R, Murphy TK. </a:t>
            </a:r>
            <a:r>
              <a:rPr lang="en-US" sz="900" dirty="0"/>
              <a:t>The Clinical Implications of Nocebo Effects for Biosimilar Therapy. </a:t>
            </a:r>
            <a:r>
              <a:rPr lang="en-GB" sz="900" i="1" dirty="0"/>
              <a:t>Front </a:t>
            </a:r>
            <a:r>
              <a:rPr lang="en-GB" sz="900" i="1" dirty="0" err="1"/>
              <a:t>Pharmacol</a:t>
            </a:r>
            <a:r>
              <a:rPr lang="en-GB" sz="900" i="1" dirty="0"/>
              <a:t> </a:t>
            </a:r>
            <a:r>
              <a:rPr lang="en-GB" sz="900" dirty="0"/>
              <a:t>2019;10:1372</a:t>
            </a:r>
          </a:p>
          <a:p>
            <a:pPr>
              <a:lnSpc>
                <a:spcPct val="100000"/>
              </a:lnSpc>
              <a:spcBef>
                <a:spcPts val="0"/>
              </a:spcBef>
              <a:spcAft>
                <a:spcPts val="600"/>
              </a:spcAft>
            </a:pPr>
            <a:r>
              <a:rPr lang="en-GB" sz="900" dirty="0" err="1"/>
              <a:t>Cornes</a:t>
            </a:r>
            <a:r>
              <a:rPr lang="en-GB" sz="900" dirty="0"/>
              <a:t> P, Gascon P, </a:t>
            </a:r>
            <a:r>
              <a:rPr lang="en-GB" sz="900" dirty="0" err="1"/>
              <a:t>Vulto</a:t>
            </a:r>
            <a:r>
              <a:rPr lang="en-GB" sz="900" dirty="0"/>
              <a:t> AG, et al. </a:t>
            </a:r>
            <a:r>
              <a:rPr lang="en-US" sz="900" dirty="0"/>
              <a:t>Biosimilar </a:t>
            </a:r>
            <a:r>
              <a:rPr lang="en-US" sz="900" dirty="0" err="1"/>
              <a:t>Pegfilgrastim</a:t>
            </a:r>
            <a:r>
              <a:rPr lang="en-US" sz="900" dirty="0"/>
              <a:t>: Improving Access and </a:t>
            </a:r>
            <a:r>
              <a:rPr lang="en-US" sz="900" dirty="0" err="1"/>
              <a:t>Optimising</a:t>
            </a:r>
            <a:r>
              <a:rPr lang="en-US" sz="900" dirty="0"/>
              <a:t> Practice to Supportive Care that Enables Cure. </a:t>
            </a:r>
            <a:r>
              <a:rPr lang="en-GB" sz="900" i="1" dirty="0" err="1"/>
              <a:t>BioDrugs</a:t>
            </a:r>
            <a:r>
              <a:rPr lang="en-GB" sz="900" dirty="0"/>
              <a:t> 2020;34:255–263</a:t>
            </a:r>
          </a:p>
          <a:p>
            <a:pPr>
              <a:lnSpc>
                <a:spcPct val="100000"/>
              </a:lnSpc>
              <a:spcBef>
                <a:spcPts val="0"/>
              </a:spcBef>
              <a:spcAft>
                <a:spcPts val="600"/>
              </a:spcAft>
            </a:pPr>
            <a:r>
              <a:rPr lang="en-GB" sz="900" dirty="0"/>
              <a:t>Crommelin DJA, Shah VP, </a:t>
            </a:r>
            <a:r>
              <a:rPr lang="en-GB" sz="900" dirty="0" err="1"/>
              <a:t>Klebovich</a:t>
            </a:r>
            <a:r>
              <a:rPr lang="en-GB" sz="900" dirty="0"/>
              <a:t> SE, et al. The similarity question for biologicals and non-biological complex drugs. </a:t>
            </a:r>
            <a:r>
              <a:rPr lang="en-GB" sz="900" i="1" dirty="0" err="1"/>
              <a:t>Eur</a:t>
            </a:r>
            <a:r>
              <a:rPr lang="en-GB" sz="900" i="1" dirty="0"/>
              <a:t> J Pharm Sci </a:t>
            </a:r>
            <a:r>
              <a:rPr lang="en-GB" sz="900" dirty="0"/>
              <a:t>2015;76:10–17</a:t>
            </a:r>
          </a:p>
          <a:p>
            <a:pPr>
              <a:lnSpc>
                <a:spcPct val="100000"/>
              </a:lnSpc>
              <a:spcBef>
                <a:spcPts val="0"/>
              </a:spcBef>
              <a:spcAft>
                <a:spcPts val="600"/>
              </a:spcAft>
            </a:pPr>
            <a:r>
              <a:rPr lang="en-GB" sz="900" dirty="0"/>
              <a:t>D'Amico F, Pouillon L, </a:t>
            </a:r>
            <a:r>
              <a:rPr lang="en-GB" sz="900" dirty="0" err="1"/>
              <a:t>Argollo</a:t>
            </a:r>
            <a:r>
              <a:rPr lang="en-GB" sz="900" dirty="0"/>
              <a:t> M, et al. </a:t>
            </a:r>
            <a:r>
              <a:rPr lang="en-US" sz="900" dirty="0"/>
              <a:t>Multidisciplinary management of the nocebo effect in biosimilar-treated IBD patients: Results of a workshop from the NOCE-BIO consensus group. </a:t>
            </a:r>
            <a:r>
              <a:rPr lang="en-GB" sz="900" i="1" dirty="0"/>
              <a:t>Dig Liver Dis </a:t>
            </a:r>
            <a:r>
              <a:rPr lang="en-GB" sz="900" dirty="0"/>
              <a:t>2020;52:138–142</a:t>
            </a:r>
          </a:p>
          <a:p>
            <a:pPr>
              <a:lnSpc>
                <a:spcPct val="100000"/>
              </a:lnSpc>
              <a:spcBef>
                <a:spcPts val="0"/>
              </a:spcBef>
              <a:spcAft>
                <a:spcPts val="600"/>
              </a:spcAft>
            </a:pPr>
            <a:r>
              <a:rPr lang="en-GB" sz="900" dirty="0" err="1"/>
              <a:t>Declerck</a:t>
            </a:r>
            <a:r>
              <a:rPr lang="en-GB" sz="900" dirty="0"/>
              <a:t> PJ.</a:t>
            </a:r>
            <a:r>
              <a:rPr lang="en-US" sz="900" dirty="0"/>
              <a:t> Multidisciplinary management of the nocebo effect in biosimilar-treated IBD patients: Results of a workshop from the NOCE-BIO consensus group.</a:t>
            </a:r>
            <a:r>
              <a:rPr lang="en-GB" sz="900" dirty="0"/>
              <a:t> </a:t>
            </a:r>
            <a:r>
              <a:rPr lang="en-GB" sz="900" i="1" dirty="0" err="1"/>
              <a:t>GaBI</a:t>
            </a:r>
            <a:r>
              <a:rPr lang="en-GB" sz="900" i="1" dirty="0"/>
              <a:t> Journal </a:t>
            </a:r>
            <a:r>
              <a:rPr lang="en-GB" sz="900" dirty="0"/>
              <a:t>2012;1(1):13–16</a:t>
            </a:r>
          </a:p>
          <a:p>
            <a:pPr>
              <a:lnSpc>
                <a:spcPct val="100000"/>
              </a:lnSpc>
              <a:spcBef>
                <a:spcPts val="0"/>
              </a:spcBef>
              <a:spcAft>
                <a:spcPts val="600"/>
              </a:spcAft>
            </a:pPr>
            <a:r>
              <a:rPr lang="en-GB" sz="900" dirty="0" err="1"/>
              <a:t>Eaker</a:t>
            </a:r>
            <a:r>
              <a:rPr lang="en-GB" sz="900" dirty="0"/>
              <a:t> ED, Pinsky J, Castelli WP.</a:t>
            </a:r>
            <a:r>
              <a:rPr lang="en-US" sz="900" dirty="0"/>
              <a:t> Myocardial infarction and coronary death among women: psychosocial predictors from a 20-year follow-up of women in the Framingham Study.</a:t>
            </a:r>
            <a:r>
              <a:rPr lang="en-GB" sz="900" dirty="0"/>
              <a:t> </a:t>
            </a:r>
            <a:r>
              <a:rPr lang="en-GB" sz="900" i="1" dirty="0"/>
              <a:t>Am J </a:t>
            </a:r>
            <a:r>
              <a:rPr lang="en-GB" sz="900" i="1" dirty="0" err="1"/>
              <a:t>Epidemiol</a:t>
            </a:r>
            <a:r>
              <a:rPr lang="en-GB" sz="900" i="1"/>
              <a:t> </a:t>
            </a:r>
            <a:r>
              <a:rPr lang="en-GB" sz="900"/>
              <a:t>1992;135(8):854-64</a:t>
            </a:r>
            <a:endParaRPr lang="en-GB" sz="900" dirty="0"/>
          </a:p>
          <a:p>
            <a:pPr>
              <a:lnSpc>
                <a:spcPct val="100000"/>
              </a:lnSpc>
              <a:spcBef>
                <a:spcPts val="0"/>
              </a:spcBef>
              <a:spcAft>
                <a:spcPts val="600"/>
              </a:spcAft>
            </a:pPr>
            <a:r>
              <a:rPr lang="en-GB" sz="900" dirty="0"/>
              <a:t>EMA and EC. Biosimilars in the EU. 2019. Available at: https://www.ema.europa.eu/en/documents/leaflet/biosimilars-eu-information-guide-healthcare-professionals_en.pdf. Accessed August 2023</a:t>
            </a:r>
          </a:p>
          <a:p>
            <a:pPr>
              <a:lnSpc>
                <a:spcPct val="100000"/>
              </a:lnSpc>
              <a:spcBef>
                <a:spcPts val="0"/>
              </a:spcBef>
              <a:spcAft>
                <a:spcPts val="600"/>
              </a:spcAft>
            </a:pPr>
            <a:r>
              <a:rPr lang="en-GB" sz="900" dirty="0"/>
              <a:t>EMA. Biosimilar medicines: Overview. Available at: https://www.ema.europa.eu/en/human-regulatory/overview/biosimilar-medicines-overview. Accessed March 2023</a:t>
            </a:r>
          </a:p>
          <a:p>
            <a:pPr>
              <a:lnSpc>
                <a:spcPct val="100000"/>
              </a:lnSpc>
              <a:spcBef>
                <a:spcPts val="0"/>
              </a:spcBef>
              <a:spcAft>
                <a:spcPts val="600"/>
              </a:spcAft>
            </a:pPr>
            <a:r>
              <a:rPr lang="en-GB" sz="900" dirty="0"/>
              <a:t>EMA. Guideline on similar biological medicinal products. Available at: https://www.ema.europa.eu/en/documents/scientific-guideline/guideline-similar-biological-medicinal-products-rev1_en.pdf. Accessed </a:t>
            </a:r>
            <a:br>
              <a:rPr lang="en-GB" sz="900" dirty="0"/>
            </a:br>
            <a:r>
              <a:rPr lang="en-GB" sz="900" dirty="0"/>
              <a:t>August 2023</a:t>
            </a:r>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a:p>
            <a:pPr marL="0" indent="0">
              <a:lnSpc>
                <a:spcPct val="100000"/>
              </a:lnSpc>
              <a:spcBef>
                <a:spcPts val="0"/>
              </a:spcBef>
              <a:spcAft>
                <a:spcPts val="600"/>
              </a:spcAft>
              <a:buNone/>
            </a:pPr>
            <a:endParaRPr lang="en-GB" sz="900" dirty="0"/>
          </a:p>
        </p:txBody>
      </p:sp>
      <p:sp>
        <p:nvSpPr>
          <p:cNvPr id="6" name="Slide Number Placeholder 20">
            <a:extLst>
              <a:ext uri="{FF2B5EF4-FFF2-40B4-BE49-F238E27FC236}">
                <a16:creationId xmlns:a16="http://schemas.microsoft.com/office/drawing/2014/main" id="{52258D79-F967-2862-080F-93324F865C55}"/>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1</a:t>
            </a:fld>
            <a:endParaRPr lang="en-GB" sz="600" b="1">
              <a:solidFill>
                <a:schemeClr val="accent2"/>
              </a:solidFill>
            </a:endParaRPr>
          </a:p>
        </p:txBody>
      </p:sp>
    </p:spTree>
    <p:extLst>
      <p:ext uri="{BB962C8B-B14F-4D97-AF65-F5344CB8AC3E}">
        <p14:creationId xmlns:p14="http://schemas.microsoft.com/office/powerpoint/2010/main" val="42846869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3"/>
            <a:ext cx="8449056" cy="3452214"/>
          </a:xfrm>
        </p:spPr>
        <p:txBody>
          <a:bodyPr vert="horz" lIns="0" tIns="0" rIns="0" bIns="0" numCol="2" spcCol="457200" rtlCol="0">
            <a:noAutofit/>
          </a:bodyPr>
          <a:lstStyle/>
          <a:p>
            <a:pPr>
              <a:lnSpc>
                <a:spcPct val="100000"/>
              </a:lnSpc>
              <a:spcBef>
                <a:spcPts val="0"/>
              </a:spcBef>
              <a:spcAft>
                <a:spcPts val="600"/>
              </a:spcAft>
            </a:pPr>
            <a:r>
              <a:rPr lang="en-GB" sz="900" dirty="0"/>
              <a:t>EMA. </a:t>
            </a:r>
            <a:r>
              <a:rPr lang="en-GB" sz="900" dirty="0" err="1"/>
              <a:t>Omnitrope</a:t>
            </a:r>
            <a:r>
              <a:rPr lang="en-GB" sz="900" baseline="30000" dirty="0"/>
              <a:t>®</a:t>
            </a:r>
            <a:r>
              <a:rPr lang="en-GB" sz="900" dirty="0"/>
              <a:t> (somatropin). Summary of Product Characteristics, 2021. Available at: https://www.ema.europa.eu/en/documents/product-information/omnitrope-epar-product-information_en.pdf. Accessed March 2023 </a:t>
            </a:r>
          </a:p>
          <a:p>
            <a:pPr>
              <a:lnSpc>
                <a:spcPct val="100000"/>
              </a:lnSpc>
              <a:spcBef>
                <a:spcPts val="0"/>
              </a:spcBef>
              <a:spcAft>
                <a:spcPts val="600"/>
              </a:spcAft>
            </a:pPr>
            <a:r>
              <a:rPr lang="en-GB" sz="900" dirty="0"/>
              <a:t>ESN. Switch Management between Similar Biological Medicines. 2018. Available at: https://www.medicinesforeurope.com/wp-content/uploads/2018/06/biosimilar-nurses-guideline-final.pdf Accessed March 2023</a:t>
            </a:r>
          </a:p>
          <a:p>
            <a:pPr>
              <a:lnSpc>
                <a:spcPct val="100000"/>
              </a:lnSpc>
              <a:spcBef>
                <a:spcPts val="0"/>
              </a:spcBef>
              <a:spcAft>
                <a:spcPts val="600"/>
              </a:spcAft>
            </a:pPr>
            <a:r>
              <a:rPr lang="en-GB" sz="900" dirty="0"/>
              <a:t>European Commission. 2016. Consensus information paper. Available at: https://ec.europa.eu/docsroom/documents/26643. Accessed March 2023</a:t>
            </a:r>
          </a:p>
          <a:p>
            <a:pPr>
              <a:lnSpc>
                <a:spcPct val="100000"/>
              </a:lnSpc>
              <a:spcBef>
                <a:spcPts val="0"/>
              </a:spcBef>
              <a:spcAft>
                <a:spcPts val="600"/>
              </a:spcAft>
            </a:pPr>
            <a:r>
              <a:rPr lang="en-GB" sz="900" dirty="0"/>
              <a:t>European Commission. 2013. What you need to know about biosimilar medicinal products. Available at: https://ec.europa.eu/docsroom/documents/8242/attachments/1/translations/</a:t>
            </a:r>
            <a:br>
              <a:rPr lang="en-GB" sz="900" dirty="0"/>
            </a:br>
            <a:r>
              <a:rPr lang="en-GB" sz="900" dirty="0" err="1"/>
              <a:t>en</a:t>
            </a:r>
            <a:r>
              <a:rPr lang="en-GB" sz="900" dirty="0"/>
              <a:t>/renditions/pdf. Accessed December 2023</a:t>
            </a:r>
          </a:p>
          <a:p>
            <a:pPr>
              <a:lnSpc>
                <a:spcPct val="100000"/>
              </a:lnSpc>
              <a:spcBef>
                <a:spcPts val="0"/>
              </a:spcBef>
              <a:spcAft>
                <a:spcPts val="600"/>
              </a:spcAft>
            </a:pPr>
            <a:r>
              <a:rPr lang="en-GB" sz="900" dirty="0" err="1"/>
              <a:t>Faasse</a:t>
            </a:r>
            <a:r>
              <a:rPr lang="en-GB" sz="900" dirty="0"/>
              <a:t> K, Helfer SG, Barnes K, et al. </a:t>
            </a:r>
            <a:r>
              <a:rPr lang="en-US" sz="900" dirty="0"/>
              <a:t>Experimental Assessment of Nocebo Effects and Nocebo Side Effects: Definitions, Study Design, and Implications for Psychiatry and Beyond. </a:t>
            </a:r>
            <a:r>
              <a:rPr lang="en-GB" sz="900" i="1" dirty="0"/>
              <a:t>Front Psychiatry </a:t>
            </a:r>
            <a:r>
              <a:rPr lang="en-GB" sz="900" dirty="0"/>
              <a:t>2019;10:396 </a:t>
            </a:r>
          </a:p>
          <a:p>
            <a:pPr>
              <a:lnSpc>
                <a:spcPct val="100000"/>
              </a:lnSpc>
              <a:spcBef>
                <a:spcPts val="0"/>
              </a:spcBef>
              <a:spcAft>
                <a:spcPts val="600"/>
              </a:spcAft>
            </a:pPr>
            <a:r>
              <a:rPr lang="en-GB" sz="900" dirty="0"/>
              <a:t>Farhat F, Torres A, Park W, et al.</a:t>
            </a:r>
            <a:r>
              <a:rPr lang="en-US" sz="900" dirty="0"/>
              <a:t> The Concept of Biosimilars: From Characterization to Evolution—A Narrative Review</a:t>
            </a:r>
            <a:r>
              <a:rPr lang="en-GB" sz="900" dirty="0"/>
              <a:t> </a:t>
            </a:r>
            <a:r>
              <a:rPr lang="en-GB" sz="900" i="1" dirty="0"/>
              <a:t>Oncologist</a:t>
            </a:r>
            <a:r>
              <a:rPr lang="en-GB" sz="900" dirty="0"/>
              <a:t> 2018;23(3):346–352</a:t>
            </a:r>
          </a:p>
          <a:p>
            <a:pPr>
              <a:lnSpc>
                <a:spcPct val="100000"/>
              </a:lnSpc>
              <a:spcBef>
                <a:spcPts val="0"/>
              </a:spcBef>
              <a:spcAft>
                <a:spcPts val="600"/>
              </a:spcAft>
            </a:pPr>
            <a:r>
              <a:rPr lang="en-US" sz="900" dirty="0" err="1"/>
              <a:t>GaBi</a:t>
            </a:r>
            <a:r>
              <a:rPr lang="en-US" sz="900" dirty="0"/>
              <a:t>. Biosimilars approved in Europe. May 2023. Available at: https://www.gabionline.net/biosimilars/general/biosimilars-approved-in-Europe. Accessed October 2023</a:t>
            </a:r>
          </a:p>
          <a:p>
            <a:pPr>
              <a:lnSpc>
                <a:spcPct val="100000"/>
              </a:lnSpc>
              <a:spcBef>
                <a:spcPts val="0"/>
              </a:spcBef>
              <a:spcAft>
                <a:spcPts val="600"/>
              </a:spcAft>
            </a:pPr>
            <a:endParaRPr lang="en-US" sz="900" dirty="0"/>
          </a:p>
          <a:p>
            <a:pPr>
              <a:lnSpc>
                <a:spcPct val="100000"/>
              </a:lnSpc>
              <a:spcBef>
                <a:spcPts val="0"/>
              </a:spcBef>
              <a:spcAft>
                <a:spcPts val="600"/>
              </a:spcAft>
            </a:pPr>
            <a:endParaRPr lang="en-US" sz="900" dirty="0"/>
          </a:p>
          <a:p>
            <a:pPr>
              <a:lnSpc>
                <a:spcPct val="100000"/>
              </a:lnSpc>
              <a:spcBef>
                <a:spcPts val="0"/>
              </a:spcBef>
              <a:spcAft>
                <a:spcPts val="600"/>
              </a:spcAft>
            </a:pPr>
            <a:endParaRPr lang="en-US" sz="900" dirty="0"/>
          </a:p>
          <a:p>
            <a:pPr>
              <a:lnSpc>
                <a:spcPct val="100000"/>
              </a:lnSpc>
              <a:spcBef>
                <a:spcPts val="0"/>
              </a:spcBef>
              <a:spcAft>
                <a:spcPts val="600"/>
              </a:spcAft>
            </a:pPr>
            <a:endParaRPr lang="en-US" sz="900" dirty="0"/>
          </a:p>
          <a:p>
            <a:pPr>
              <a:lnSpc>
                <a:spcPct val="100000"/>
              </a:lnSpc>
              <a:spcBef>
                <a:spcPts val="0"/>
              </a:spcBef>
              <a:spcAft>
                <a:spcPts val="600"/>
              </a:spcAft>
            </a:pPr>
            <a:r>
              <a:rPr lang="en-US" sz="900" dirty="0"/>
              <a:t>Gascon P, </a:t>
            </a:r>
            <a:r>
              <a:rPr lang="en-US" sz="900" dirty="0" err="1"/>
              <a:t>Tesch</a:t>
            </a:r>
            <a:r>
              <a:rPr lang="en-US" sz="900" dirty="0"/>
              <a:t> H, </a:t>
            </a:r>
            <a:r>
              <a:rPr lang="en-US" sz="900" dirty="0" err="1"/>
              <a:t>Verpoort</a:t>
            </a:r>
            <a:r>
              <a:rPr lang="en-US" sz="900" dirty="0"/>
              <a:t> K, et al. Clinical experience with </a:t>
            </a:r>
            <a:r>
              <a:rPr lang="en-US" sz="900" dirty="0" err="1"/>
              <a:t>Zarzio</a:t>
            </a:r>
            <a:r>
              <a:rPr lang="en-US" sz="900" dirty="0"/>
              <a:t>® in Europe: what have we learned?. </a:t>
            </a:r>
            <a:r>
              <a:rPr lang="en-US" sz="900" i="1" dirty="0"/>
              <a:t>Support Care Cancer </a:t>
            </a:r>
            <a:r>
              <a:rPr lang="en-US" sz="900" dirty="0"/>
              <a:t>2013;21:2925–2931</a:t>
            </a:r>
          </a:p>
          <a:p>
            <a:pPr>
              <a:lnSpc>
                <a:spcPct val="100000"/>
              </a:lnSpc>
              <a:spcBef>
                <a:spcPts val="0"/>
              </a:spcBef>
              <a:spcAft>
                <a:spcPts val="600"/>
              </a:spcAft>
            </a:pPr>
            <a:r>
              <a:rPr lang="en-GB" sz="900" dirty="0"/>
              <a:t>Generics and Biosimilar Initiative. 2022. Available at: https://gabionline.net/biosimilars/general/. Accessed March 2022</a:t>
            </a:r>
          </a:p>
          <a:p>
            <a:pPr>
              <a:lnSpc>
                <a:spcPct val="100000"/>
              </a:lnSpc>
              <a:spcBef>
                <a:spcPts val="0"/>
              </a:spcBef>
              <a:spcAft>
                <a:spcPts val="600"/>
              </a:spcAft>
            </a:pPr>
            <a:r>
              <a:rPr lang="en-GB" sz="900" dirty="0"/>
              <a:t>Generics and Biosimilar Initiative. 2023. Available at: https://gabionline.net/biosimilars/general/. Accessed May 2023 </a:t>
            </a:r>
          </a:p>
          <a:p>
            <a:pPr>
              <a:lnSpc>
                <a:spcPct val="100000"/>
              </a:lnSpc>
              <a:spcBef>
                <a:spcPts val="0"/>
              </a:spcBef>
              <a:spcAft>
                <a:spcPts val="600"/>
              </a:spcAft>
            </a:pPr>
            <a:r>
              <a:rPr lang="en-GB" sz="900" dirty="0"/>
              <a:t>Genzyme Corporation (A Sanofi company). </a:t>
            </a:r>
            <a:r>
              <a:rPr lang="en-GB" sz="900" dirty="0" err="1"/>
              <a:t>Aubagio</a:t>
            </a:r>
            <a:r>
              <a:rPr lang="en-GB" sz="900" baseline="30000" dirty="0"/>
              <a:t>®</a:t>
            </a:r>
            <a:r>
              <a:rPr lang="en-GB" sz="900" dirty="0"/>
              <a:t>. PI. 2022. Available at: https://products.sanofi.us/aubagio/aubagio.pdf. Accessed January 2024.</a:t>
            </a:r>
          </a:p>
          <a:p>
            <a:pPr>
              <a:lnSpc>
                <a:spcPct val="100000"/>
              </a:lnSpc>
              <a:spcBef>
                <a:spcPts val="0"/>
              </a:spcBef>
              <a:spcAft>
                <a:spcPts val="600"/>
              </a:spcAft>
            </a:pPr>
            <a:r>
              <a:rPr lang="en-GB" sz="900" dirty="0" err="1"/>
              <a:t>Gherghescu</a:t>
            </a:r>
            <a:r>
              <a:rPr lang="en-GB" sz="900" dirty="0"/>
              <a:t> I, Delgado-Charro MB. </a:t>
            </a:r>
            <a:r>
              <a:rPr lang="en-US" sz="900" dirty="0"/>
              <a:t>The Biosimilar Landscape: An Overview of Regulatory Approvals by the EMA and FDA. </a:t>
            </a:r>
            <a:r>
              <a:rPr lang="en-GB" sz="900" i="1" dirty="0"/>
              <a:t>Pharmaceutics</a:t>
            </a:r>
            <a:r>
              <a:rPr lang="en-GB" sz="900" dirty="0"/>
              <a:t> 2021;13(1):48 </a:t>
            </a:r>
          </a:p>
          <a:p>
            <a:pPr>
              <a:lnSpc>
                <a:spcPct val="100000"/>
              </a:lnSpc>
              <a:spcBef>
                <a:spcPts val="0"/>
              </a:spcBef>
              <a:spcAft>
                <a:spcPts val="600"/>
              </a:spcAft>
            </a:pPr>
            <a:r>
              <a:rPr lang="en-GB" sz="900" dirty="0"/>
              <a:t>Grabowski T, Leuschner J, Gad S. </a:t>
            </a:r>
            <a:r>
              <a:rPr lang="en-US" sz="900" dirty="0"/>
              <a:t>4-Week toxicity study of biosimilar natalizumab in comparison to Tysabri</a:t>
            </a:r>
            <a:r>
              <a:rPr lang="en-US" sz="900" baseline="30000" dirty="0"/>
              <a:t>®</a:t>
            </a:r>
            <a:r>
              <a:rPr lang="en-US" sz="900" dirty="0"/>
              <a:t> by repeated intravenous infusion to cynomolgus monkeys. </a:t>
            </a:r>
            <a:r>
              <a:rPr lang="en-GB" sz="900" i="1" dirty="0"/>
              <a:t>Drug Chem </a:t>
            </a:r>
            <a:r>
              <a:rPr lang="en-GB" sz="900" i="1" dirty="0" err="1"/>
              <a:t>Toxicol</a:t>
            </a:r>
            <a:r>
              <a:rPr lang="en-GB" sz="900" i="1" dirty="0"/>
              <a:t> </a:t>
            </a:r>
            <a:r>
              <a:rPr lang="en-GB" sz="900" dirty="0"/>
              <a:t>2020;45:2,1–8</a:t>
            </a:r>
          </a:p>
          <a:p>
            <a:pPr>
              <a:lnSpc>
                <a:spcPct val="100000"/>
              </a:lnSpc>
              <a:spcBef>
                <a:spcPts val="0"/>
              </a:spcBef>
              <a:spcAft>
                <a:spcPts val="600"/>
              </a:spcAft>
            </a:pPr>
            <a:r>
              <a:rPr lang="en-GB" sz="900" dirty="0"/>
              <a:t>Greenberg B, Giovannoni G. </a:t>
            </a:r>
            <a:r>
              <a:rPr lang="en-US" sz="900" dirty="0"/>
              <a:t>A place for biosimilars in the changing multiple sclerosis treatment landscape. </a:t>
            </a:r>
            <a:r>
              <a:rPr lang="en-GB" sz="900" i="1" dirty="0"/>
              <a:t>Mult </a:t>
            </a:r>
            <a:r>
              <a:rPr lang="en-GB" sz="900" i="1" dirty="0" err="1"/>
              <a:t>Scler</a:t>
            </a:r>
            <a:r>
              <a:rPr lang="en-GB" sz="900" i="1" dirty="0"/>
              <a:t> </a:t>
            </a:r>
            <a:r>
              <a:rPr lang="en-GB" sz="900" i="1" dirty="0" err="1"/>
              <a:t>Relat</a:t>
            </a:r>
            <a:r>
              <a:rPr lang="en-GB" sz="900" i="1" dirty="0"/>
              <a:t> </a:t>
            </a:r>
            <a:r>
              <a:rPr lang="en-GB" sz="900" i="1" dirty="0" err="1"/>
              <a:t>Disord</a:t>
            </a:r>
            <a:r>
              <a:rPr lang="en-GB" sz="900" i="1" dirty="0"/>
              <a:t> </a:t>
            </a:r>
            <a:r>
              <a:rPr lang="en-GB" sz="900" dirty="0"/>
              <a:t>2023;77:1–13 </a:t>
            </a:r>
          </a:p>
          <a:p>
            <a:pPr>
              <a:lnSpc>
                <a:spcPct val="100000"/>
              </a:lnSpc>
              <a:spcBef>
                <a:spcPts val="0"/>
              </a:spcBef>
              <a:spcAft>
                <a:spcPts val="600"/>
              </a:spcAft>
            </a:pPr>
            <a:r>
              <a:rPr lang="en-US" sz="900" dirty="0"/>
              <a:t>Herndon TM, </a:t>
            </a:r>
            <a:r>
              <a:rPr lang="en-US" sz="900" dirty="0" err="1"/>
              <a:t>Ausin</a:t>
            </a:r>
            <a:r>
              <a:rPr lang="en-US" sz="900" dirty="0"/>
              <a:t> C, </a:t>
            </a:r>
            <a:r>
              <a:rPr lang="en-US" sz="900" dirty="0" err="1"/>
              <a:t>Brahme</a:t>
            </a:r>
            <a:r>
              <a:rPr lang="en-US" sz="900" dirty="0"/>
              <a:t> NN, et al. Safety outcomes when switching between biosimilars and reference biologics: A systematic review and meta-analysis. </a:t>
            </a:r>
            <a:r>
              <a:rPr lang="en-US" sz="900" i="1" dirty="0" err="1"/>
              <a:t>PLoS</a:t>
            </a:r>
            <a:r>
              <a:rPr lang="en-US" sz="900" i="1" dirty="0"/>
              <a:t> One</a:t>
            </a:r>
            <a:r>
              <a:rPr lang="en-US" sz="900" dirty="0"/>
              <a:t>. 2023 Oct 3;18(10):e0292231.</a:t>
            </a:r>
            <a:endParaRPr lang="en-GB" sz="900" dirty="0"/>
          </a:p>
          <a:p>
            <a:pPr>
              <a:lnSpc>
                <a:spcPct val="100000"/>
              </a:lnSpc>
              <a:spcBef>
                <a:spcPts val="0"/>
              </a:spcBef>
              <a:spcAft>
                <a:spcPts val="600"/>
              </a:spcAft>
            </a:pPr>
            <a:r>
              <a:rPr lang="en-US" sz="900" dirty="0" err="1"/>
              <a:t>Horien</a:t>
            </a:r>
            <a:r>
              <a:rPr lang="en-US" sz="900" dirty="0"/>
              <a:t> C and Yuan P. Drug Development. </a:t>
            </a:r>
            <a:r>
              <a:rPr lang="en-US" sz="900" i="1" dirty="0"/>
              <a:t>Yale J Biol Med </a:t>
            </a:r>
            <a:r>
              <a:rPr lang="en-US" sz="900" dirty="0"/>
              <a:t>2017;90(1):1–3</a:t>
            </a:r>
          </a:p>
          <a:p>
            <a:pPr>
              <a:lnSpc>
                <a:spcPct val="100000"/>
              </a:lnSpc>
              <a:spcBef>
                <a:spcPts val="0"/>
              </a:spcBef>
              <a:spcAft>
                <a:spcPts val="600"/>
              </a:spcAft>
            </a:pPr>
            <a:endParaRPr lang="en-US" sz="900" dirty="0"/>
          </a:p>
          <a:p>
            <a:pPr>
              <a:lnSpc>
                <a:spcPct val="100000"/>
              </a:lnSpc>
              <a:spcBef>
                <a:spcPts val="0"/>
              </a:spcBef>
              <a:spcAft>
                <a:spcPts val="600"/>
              </a:spcAft>
            </a:pPr>
            <a:endParaRPr lang="en-US" sz="900" dirty="0"/>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21FE8B91-3720-F3DD-E533-95A748DD8A25}"/>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2</a:t>
            </a:fld>
            <a:endParaRPr lang="en-GB" sz="600" b="1">
              <a:solidFill>
                <a:schemeClr val="accent2"/>
              </a:solidFill>
            </a:endParaRPr>
          </a:p>
        </p:txBody>
      </p:sp>
    </p:spTree>
    <p:extLst>
      <p:ext uri="{BB962C8B-B14F-4D97-AF65-F5344CB8AC3E}">
        <p14:creationId xmlns:p14="http://schemas.microsoft.com/office/powerpoint/2010/main" val="41879062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2"/>
            <a:ext cx="8449056" cy="4028206"/>
          </a:xfrm>
        </p:spPr>
        <p:txBody>
          <a:bodyPr vert="horz" lIns="0" tIns="0" rIns="0" bIns="0" numCol="2" spcCol="457200" rtlCol="0">
            <a:noAutofit/>
          </a:bodyPr>
          <a:lstStyle/>
          <a:p>
            <a:pPr>
              <a:lnSpc>
                <a:spcPct val="100000"/>
              </a:lnSpc>
              <a:spcBef>
                <a:spcPts val="0"/>
              </a:spcBef>
              <a:spcAft>
                <a:spcPts val="600"/>
              </a:spcAft>
            </a:pPr>
            <a:r>
              <a:rPr lang="en-GB" sz="900" dirty="0"/>
              <a:t>Kang HN, Thorpe R, </a:t>
            </a:r>
            <a:r>
              <a:rPr lang="en-GB" sz="900" dirty="0" err="1"/>
              <a:t>Knezevic</a:t>
            </a:r>
            <a:r>
              <a:rPr lang="en-GB" sz="900" dirty="0"/>
              <a:t> I, et al. </a:t>
            </a:r>
            <a:r>
              <a:rPr lang="en-US" sz="900" dirty="0"/>
              <a:t>The regulatory landscape of biosimilars: WHO efforts and progress made from 2009 to 2019. </a:t>
            </a:r>
            <a:r>
              <a:rPr lang="en-GB" sz="900" i="1" dirty="0"/>
              <a:t>Biologicals</a:t>
            </a:r>
            <a:r>
              <a:rPr lang="en-GB" sz="900" dirty="0"/>
              <a:t> 2020;65:1–9 </a:t>
            </a:r>
          </a:p>
          <a:p>
            <a:pPr>
              <a:lnSpc>
                <a:spcPct val="100000"/>
              </a:lnSpc>
              <a:spcBef>
                <a:spcPts val="0"/>
              </a:spcBef>
              <a:spcAft>
                <a:spcPts val="600"/>
              </a:spcAft>
            </a:pPr>
            <a:r>
              <a:rPr lang="en-GB" sz="900" dirty="0"/>
              <a:t>Kay JA. </a:t>
            </a:r>
            <a:r>
              <a:rPr lang="en-US" sz="900" dirty="0"/>
              <a:t>A ‘wind of change’ to biosimilars: The NOR-SWITCH trial and its extension. </a:t>
            </a:r>
            <a:r>
              <a:rPr lang="en-GB" sz="900" i="1" dirty="0"/>
              <a:t>J Intern Med </a:t>
            </a:r>
            <a:r>
              <a:rPr lang="en-GB" sz="900" dirty="0"/>
              <a:t>2019;285(6):693–695</a:t>
            </a:r>
          </a:p>
          <a:p>
            <a:pPr>
              <a:lnSpc>
                <a:spcPct val="100000"/>
              </a:lnSpc>
              <a:spcBef>
                <a:spcPts val="0"/>
              </a:spcBef>
              <a:spcAft>
                <a:spcPts val="600"/>
              </a:spcAft>
            </a:pPr>
            <a:r>
              <a:rPr lang="en-GB" sz="900" dirty="0" err="1"/>
              <a:t>Kravvariti</a:t>
            </a:r>
            <a:r>
              <a:rPr lang="en-GB" sz="900" dirty="0"/>
              <a:t> E, </a:t>
            </a:r>
            <a:r>
              <a:rPr lang="en-GB" sz="900" dirty="0" err="1"/>
              <a:t>Kitas</a:t>
            </a:r>
            <a:r>
              <a:rPr lang="en-GB" sz="900" dirty="0"/>
              <a:t> GD, </a:t>
            </a:r>
            <a:r>
              <a:rPr lang="en-GB" sz="900" dirty="0" err="1"/>
              <a:t>Mitsikostas</a:t>
            </a:r>
            <a:r>
              <a:rPr lang="en-GB" sz="900" dirty="0"/>
              <a:t> D, et al. </a:t>
            </a:r>
            <a:r>
              <a:rPr lang="en-US" sz="900" dirty="0" err="1"/>
              <a:t>Nocebos</a:t>
            </a:r>
            <a:r>
              <a:rPr lang="en-US" sz="900" dirty="0"/>
              <a:t> in rheumatology: emerging concepts and their implications for clinical practice. </a:t>
            </a:r>
            <a:r>
              <a:rPr lang="en-GB" sz="900" i="1" dirty="0"/>
              <a:t>Nat Rev </a:t>
            </a:r>
            <a:r>
              <a:rPr lang="en-GB" sz="900" i="1" dirty="0" err="1"/>
              <a:t>Rheumatol</a:t>
            </a:r>
            <a:r>
              <a:rPr lang="en-GB" sz="900" i="1" dirty="0"/>
              <a:t> </a:t>
            </a:r>
            <a:r>
              <a:rPr lang="en-GB" sz="900" dirty="0"/>
              <a:t>2018;14:727–40</a:t>
            </a:r>
          </a:p>
          <a:p>
            <a:pPr>
              <a:lnSpc>
                <a:spcPct val="100000"/>
              </a:lnSpc>
              <a:spcBef>
                <a:spcPts val="0"/>
              </a:spcBef>
              <a:spcAft>
                <a:spcPts val="600"/>
              </a:spcAft>
            </a:pPr>
            <a:r>
              <a:rPr lang="en-GB" sz="900" dirty="0" err="1"/>
              <a:t>Lembo</a:t>
            </a:r>
            <a:r>
              <a:rPr lang="en-GB" sz="900" dirty="0"/>
              <a:t> AJ. </a:t>
            </a:r>
            <a:r>
              <a:rPr lang="en-US" sz="900" dirty="0"/>
              <a:t>Understanding the Placebo and Nocebo Effects in Patients With Irritable Bowel Syndrome. </a:t>
            </a:r>
            <a:r>
              <a:rPr lang="en-GB" sz="900" i="1" dirty="0"/>
              <a:t>Gastroenterol and Hepatol </a:t>
            </a:r>
            <a:r>
              <a:rPr lang="en-GB" sz="900" dirty="0"/>
              <a:t>(NY) 2020;16(7):364–376</a:t>
            </a:r>
          </a:p>
          <a:p>
            <a:pPr>
              <a:lnSpc>
                <a:spcPct val="100000"/>
              </a:lnSpc>
              <a:spcBef>
                <a:spcPts val="0"/>
              </a:spcBef>
              <a:spcAft>
                <a:spcPts val="600"/>
              </a:spcAft>
            </a:pPr>
            <a:r>
              <a:rPr lang="en-US" sz="900" dirty="0"/>
              <a:t>McCamish M, Woollett G. The state of the art in the development of biosimilars. </a:t>
            </a:r>
            <a:r>
              <a:rPr lang="en-US" sz="900" i="1" dirty="0"/>
              <a:t>Clin </a:t>
            </a:r>
            <a:r>
              <a:rPr lang="en-US" sz="900" i="1" dirty="0" err="1"/>
              <a:t>Pharmacol</a:t>
            </a:r>
            <a:r>
              <a:rPr lang="en-US" sz="900" i="1" dirty="0"/>
              <a:t> </a:t>
            </a:r>
            <a:r>
              <a:rPr lang="en-US" sz="900" i="1" dirty="0" err="1"/>
              <a:t>Ther</a:t>
            </a:r>
            <a:r>
              <a:rPr lang="en-US" sz="900" dirty="0"/>
              <a:t>. 2012 Mar;91(3):405-17.</a:t>
            </a:r>
          </a:p>
          <a:p>
            <a:pPr>
              <a:lnSpc>
                <a:spcPct val="100000"/>
              </a:lnSpc>
              <a:spcBef>
                <a:spcPts val="0"/>
              </a:spcBef>
              <a:spcAft>
                <a:spcPts val="600"/>
              </a:spcAft>
            </a:pPr>
            <a:r>
              <a:rPr lang="en-GB" sz="900" dirty="0"/>
              <a:t>Medicines for Europe. Biosimilar medicine handbook. Available at: https://www.medicinesforeurope.com/wp-content/uploads/2016/04/Medicines-for-Europe_BIOSIMILARS_INT_web.pdf. Accessed August 2023</a:t>
            </a:r>
          </a:p>
          <a:p>
            <a:pPr>
              <a:lnSpc>
                <a:spcPct val="100000"/>
              </a:lnSpc>
              <a:spcBef>
                <a:spcPts val="0"/>
              </a:spcBef>
              <a:spcAft>
                <a:spcPts val="600"/>
              </a:spcAft>
            </a:pPr>
            <a:r>
              <a:rPr lang="en-US" sz="900" dirty="0"/>
              <a:t>Medicines for Europe. Factsheet on biosimilar medicine. Available at: https://www.medicinesforeurope.com/wp-content/uploads/2016/04/6.-Biosimilar-Medicines_On-Biosimilar-Medicines.pdf. Accessed December 2023</a:t>
            </a:r>
          </a:p>
          <a:p>
            <a:pPr>
              <a:lnSpc>
                <a:spcPct val="100000"/>
              </a:lnSpc>
              <a:spcBef>
                <a:spcPts val="0"/>
              </a:spcBef>
              <a:spcAft>
                <a:spcPts val="600"/>
              </a:spcAft>
            </a:pPr>
            <a:r>
              <a:rPr lang="en-US" sz="900" dirty="0" err="1"/>
              <a:t>Montalban</a:t>
            </a:r>
            <a:r>
              <a:rPr lang="en-US" sz="900" dirty="0"/>
              <a:t> X, Gold R, Thompson AJ, et al. ECTRIMS/EAN Guideline on the pharmacological treatment of people with multiple sclerosis. </a:t>
            </a:r>
            <a:r>
              <a:rPr lang="en-US" sz="900" i="1" dirty="0"/>
              <a:t>Mult </a:t>
            </a:r>
            <a:r>
              <a:rPr lang="en-US" sz="900" i="1" dirty="0" err="1"/>
              <a:t>Scler</a:t>
            </a:r>
            <a:r>
              <a:rPr lang="en-US" sz="900" i="1" dirty="0"/>
              <a:t> </a:t>
            </a:r>
            <a:r>
              <a:rPr lang="en-US" sz="900" dirty="0"/>
              <a:t>2018;24:96-120</a:t>
            </a:r>
          </a:p>
          <a:p>
            <a:pPr>
              <a:lnSpc>
                <a:spcPct val="100000"/>
              </a:lnSpc>
              <a:spcBef>
                <a:spcPts val="0"/>
              </a:spcBef>
              <a:spcAft>
                <a:spcPts val="600"/>
              </a:spcAft>
            </a:pPr>
            <a:r>
              <a:rPr lang="en-US" sz="900" dirty="0"/>
              <a:t>Mylan Pharmaceuticals Limited. Teriflunomide Mylan. Prescribing Information. 2022. Available at: https://dailymed.nlm.nih.gov/dailymed/getFile.cfm?setid=1824aae5-58af-43da-8231-435c8f118bc0&amp;type=pdf. Accessed January 2023</a:t>
            </a:r>
          </a:p>
          <a:p>
            <a:pPr>
              <a:lnSpc>
                <a:spcPct val="100000"/>
              </a:lnSpc>
              <a:spcBef>
                <a:spcPts val="0"/>
              </a:spcBef>
              <a:spcAft>
                <a:spcPts val="600"/>
              </a:spcAft>
            </a:pPr>
            <a:r>
              <a:rPr lang="en-US" sz="900" dirty="0"/>
              <a:t>Mylan Pharmaceuticals Limited. Teriflunomide Mylan. Summary of Product Characteristics . 2023. Available at: https://www.ema.europa.eu/en/documents/product-information/teriflunomide-mylan-epar-product-information_en.pdf. Accessed January 2023</a:t>
            </a:r>
          </a:p>
          <a:p>
            <a:pPr>
              <a:lnSpc>
                <a:spcPct val="100000"/>
              </a:lnSpc>
              <a:spcBef>
                <a:spcPts val="0"/>
              </a:spcBef>
              <a:spcAft>
                <a:spcPts val="600"/>
              </a:spcAft>
            </a:pPr>
            <a:r>
              <a:rPr lang="da-DK" sz="900" dirty="0" err="1"/>
              <a:t>Mysler</a:t>
            </a:r>
            <a:r>
              <a:rPr lang="da-DK" sz="900" dirty="0"/>
              <a:t> E, </a:t>
            </a:r>
            <a:r>
              <a:rPr lang="da-DK" sz="900" dirty="0" err="1"/>
              <a:t>Azevedo</a:t>
            </a:r>
            <a:r>
              <a:rPr lang="da-DK" sz="900" dirty="0"/>
              <a:t> VF, </a:t>
            </a:r>
            <a:r>
              <a:rPr lang="da-DK" sz="900" dirty="0" err="1"/>
              <a:t>Danese</a:t>
            </a:r>
            <a:r>
              <a:rPr lang="da-DK" sz="900" dirty="0"/>
              <a:t> S, et al. </a:t>
            </a:r>
            <a:r>
              <a:rPr lang="en-US" sz="900" dirty="0"/>
              <a:t>Biosimilar‑to‑Biosimilar Switching: What is the Rationale and Current Experience?. </a:t>
            </a:r>
            <a:r>
              <a:rPr lang="da-DK" sz="900" i="1" dirty="0"/>
              <a:t>Drugs</a:t>
            </a:r>
            <a:r>
              <a:rPr lang="da-DK" sz="900" dirty="0"/>
              <a:t> 2021;81(16):1859–1879</a:t>
            </a:r>
            <a:endParaRPr lang="en-GB" sz="900" dirty="0"/>
          </a:p>
          <a:p>
            <a:pPr>
              <a:lnSpc>
                <a:spcPct val="100000"/>
              </a:lnSpc>
              <a:spcBef>
                <a:spcPts val="0"/>
              </a:spcBef>
              <a:spcAft>
                <a:spcPts val="600"/>
              </a:spcAft>
            </a:pPr>
            <a:r>
              <a:rPr lang="en-GB" sz="900" dirty="0"/>
              <a:t>National Center for Biotechnology Information. PubChem Compound Summary for CID 1983, Acetaminophen. Available at: https://pubchem.ncbi.nlm.nih.gov/compound/Acetaminophen. Accessed September 2023</a:t>
            </a:r>
          </a:p>
          <a:p>
            <a:pPr>
              <a:lnSpc>
                <a:spcPct val="100000"/>
              </a:lnSpc>
              <a:spcBef>
                <a:spcPts val="0"/>
              </a:spcBef>
              <a:spcAft>
                <a:spcPts val="600"/>
              </a:spcAft>
            </a:pPr>
            <a:r>
              <a:rPr lang="es-ES" sz="900" dirty="0"/>
              <a:t>Oliva A, Llabrés M.</a:t>
            </a:r>
            <a:r>
              <a:rPr lang="en-US" sz="900" dirty="0"/>
              <a:t> New Quality-Range-Setting Method Based on Between- and Within-Batch Variability for </a:t>
            </a:r>
            <a:r>
              <a:rPr lang="en-US" sz="900" dirty="0" err="1"/>
              <a:t>Biosimilarity</a:t>
            </a:r>
            <a:r>
              <a:rPr lang="en-US" sz="900" dirty="0"/>
              <a:t> Assessment.</a:t>
            </a:r>
            <a:r>
              <a:rPr lang="es-ES" sz="900" dirty="0"/>
              <a:t> </a:t>
            </a:r>
            <a:r>
              <a:rPr lang="es-ES" sz="900" i="1" dirty="0" err="1"/>
              <a:t>Pharmaceuticals</a:t>
            </a:r>
            <a:r>
              <a:rPr lang="es-ES" sz="900" dirty="0"/>
              <a:t> 2021;14(527):1–10.</a:t>
            </a:r>
            <a:endParaRPr lang="en-US" sz="900" dirty="0"/>
          </a:p>
          <a:p>
            <a:pPr>
              <a:lnSpc>
                <a:spcPct val="100000"/>
              </a:lnSpc>
              <a:spcBef>
                <a:spcPts val="0"/>
              </a:spcBef>
              <a:spcAft>
                <a:spcPts val="600"/>
              </a:spcAft>
            </a:pPr>
            <a:r>
              <a:rPr lang="en-GB" sz="900" dirty="0"/>
              <a:t>Pouillon L, </a:t>
            </a:r>
            <a:r>
              <a:rPr lang="en-GB" sz="900" dirty="0" err="1"/>
              <a:t>Socha</a:t>
            </a:r>
            <a:r>
              <a:rPr lang="en-GB" sz="900" dirty="0"/>
              <a:t> M, </a:t>
            </a:r>
            <a:r>
              <a:rPr lang="en-GB" sz="900" dirty="0" err="1"/>
              <a:t>Demore</a:t>
            </a:r>
            <a:r>
              <a:rPr lang="en-GB" sz="900" dirty="0"/>
              <a:t> B, et al. </a:t>
            </a:r>
            <a:r>
              <a:rPr lang="en-US" sz="900" dirty="0"/>
              <a:t>The nocebo effect: a clinical challenge in the era of biosimilars. </a:t>
            </a:r>
            <a:r>
              <a:rPr lang="en-GB" sz="900" i="1" dirty="0"/>
              <a:t>Expert Rev Clin Immunol </a:t>
            </a:r>
            <a:r>
              <a:rPr lang="en-GB" sz="900" dirty="0"/>
              <a:t>2018;14:739–749</a:t>
            </a:r>
          </a:p>
          <a:p>
            <a:pPr>
              <a:lnSpc>
                <a:spcPct val="100000"/>
              </a:lnSpc>
              <a:spcBef>
                <a:spcPts val="0"/>
              </a:spcBef>
              <a:spcAft>
                <a:spcPts val="600"/>
              </a:spcAft>
            </a:pPr>
            <a:r>
              <a:rPr lang="en-GB" sz="900" dirty="0"/>
              <a:t>Qian J. </a:t>
            </a:r>
            <a:r>
              <a:rPr lang="en-US" sz="900" dirty="0"/>
              <a:t>Uptake and cost of biosimilar filgrastim among Medicare and Medicaid populations in 2015-2018. </a:t>
            </a:r>
            <a:r>
              <a:rPr lang="en-GB" sz="900" dirty="0"/>
              <a:t>J </a:t>
            </a:r>
            <a:r>
              <a:rPr lang="en-GB" sz="900" dirty="0" err="1"/>
              <a:t>Manag</a:t>
            </a:r>
            <a:r>
              <a:rPr lang="en-GB" sz="900" dirty="0"/>
              <a:t> Care Spec Pharm 2021;27(5):660–666 </a:t>
            </a:r>
          </a:p>
          <a:p>
            <a:pPr>
              <a:lnSpc>
                <a:spcPct val="100000"/>
              </a:lnSpc>
              <a:spcBef>
                <a:spcPts val="0"/>
              </a:spcBef>
              <a:spcAft>
                <a:spcPts val="600"/>
              </a:spcAft>
            </a:pPr>
            <a:r>
              <a:rPr lang="en-GB" sz="900" dirty="0"/>
              <a:t>Rojas-</a:t>
            </a:r>
            <a:r>
              <a:rPr lang="en-GB" sz="900" dirty="0" err="1"/>
              <a:t>Chavarro</a:t>
            </a:r>
            <a:r>
              <a:rPr lang="en-GB" sz="900" dirty="0"/>
              <a:t> LF, de Mora F. </a:t>
            </a:r>
            <a:r>
              <a:rPr lang="en-US" sz="900" dirty="0"/>
              <a:t>Extrapolation: Experience gained from original biologics. </a:t>
            </a:r>
            <a:r>
              <a:rPr lang="en-GB" sz="900" i="1" dirty="0"/>
              <a:t>Drug </a:t>
            </a:r>
            <a:r>
              <a:rPr lang="en-GB" sz="900" i="1" dirty="0" err="1"/>
              <a:t>Discov</a:t>
            </a:r>
            <a:r>
              <a:rPr lang="en-GB" sz="900" i="1" dirty="0"/>
              <a:t> Today </a:t>
            </a:r>
            <a:r>
              <a:rPr lang="en-GB" sz="900" dirty="0"/>
              <a:t>2021;26(8):2003-2013</a:t>
            </a:r>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9E9BEACE-B5CA-1E4D-9A04-66429423E897}"/>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3</a:t>
            </a:fld>
            <a:endParaRPr lang="en-GB" sz="600" b="1">
              <a:solidFill>
                <a:schemeClr val="accent2"/>
              </a:solidFill>
            </a:endParaRPr>
          </a:p>
        </p:txBody>
      </p:sp>
    </p:spTree>
    <p:extLst>
      <p:ext uri="{BB962C8B-B14F-4D97-AF65-F5344CB8AC3E}">
        <p14:creationId xmlns:p14="http://schemas.microsoft.com/office/powerpoint/2010/main" val="31568601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374" y="866692"/>
            <a:ext cx="8449056" cy="4241883"/>
          </a:xfrm>
        </p:spPr>
        <p:txBody>
          <a:bodyPr vert="horz" lIns="0" tIns="0" rIns="0" bIns="0" numCol="2" spcCol="457200" rtlCol="0">
            <a:noAutofit/>
          </a:bodyPr>
          <a:lstStyle/>
          <a:p>
            <a:pPr>
              <a:lnSpc>
                <a:spcPct val="100000"/>
              </a:lnSpc>
              <a:spcBef>
                <a:spcPts val="0"/>
              </a:spcBef>
              <a:spcAft>
                <a:spcPts val="600"/>
              </a:spcAft>
            </a:pPr>
            <a:r>
              <a:rPr lang="en-GB" sz="900" dirty="0" err="1"/>
              <a:t>Sacca</a:t>
            </a:r>
            <a:r>
              <a:rPr lang="en-GB" sz="900" dirty="0"/>
              <a:t> F, </a:t>
            </a:r>
            <a:r>
              <a:rPr lang="en-GB" sz="900" dirty="0" err="1"/>
              <a:t>Lanzillo</a:t>
            </a:r>
            <a:r>
              <a:rPr lang="en-GB" sz="900" dirty="0"/>
              <a:t> R, </a:t>
            </a:r>
            <a:r>
              <a:rPr lang="en-GB" sz="900" dirty="0" err="1"/>
              <a:t>Signori</a:t>
            </a:r>
            <a:r>
              <a:rPr lang="en-GB" sz="900" dirty="0"/>
              <a:t> A, et al. </a:t>
            </a:r>
            <a:r>
              <a:rPr lang="en-US" sz="900" dirty="0"/>
              <a:t>Determinants of therapy switch in multiple sclerosis treatment-naïve patients: A real-life study. </a:t>
            </a:r>
            <a:r>
              <a:rPr lang="en-US" sz="900" i="1" dirty="0"/>
              <a:t>Mult </a:t>
            </a:r>
            <a:r>
              <a:rPr lang="en-US" sz="900" i="1" dirty="0" err="1"/>
              <a:t>Scler</a:t>
            </a:r>
            <a:r>
              <a:rPr lang="en-US" sz="900" i="1" dirty="0"/>
              <a:t> </a:t>
            </a:r>
            <a:r>
              <a:rPr lang="en-US" sz="900" dirty="0"/>
              <a:t>2019;25: 1263-1272</a:t>
            </a:r>
            <a:endParaRPr lang="en-GB" sz="900" dirty="0"/>
          </a:p>
          <a:p>
            <a:pPr>
              <a:lnSpc>
                <a:spcPct val="100000"/>
              </a:lnSpc>
              <a:spcBef>
                <a:spcPts val="0"/>
              </a:spcBef>
              <a:spcAft>
                <a:spcPts val="600"/>
              </a:spcAft>
            </a:pPr>
            <a:r>
              <a:rPr lang="en-GB" sz="900" dirty="0"/>
              <a:t>Sandoz. Sandoz receives FDA approval for </a:t>
            </a:r>
            <a:r>
              <a:rPr lang="en-GB" sz="900" dirty="0" err="1"/>
              <a:t>Tyruko</a:t>
            </a:r>
            <a:r>
              <a:rPr lang="en-GB" sz="900" baseline="30000" dirty="0"/>
              <a:t>®</a:t>
            </a:r>
            <a:r>
              <a:rPr lang="en-GB" sz="900" dirty="0"/>
              <a:t> (natalizumab-</a:t>
            </a:r>
            <a:r>
              <a:rPr lang="en-GB" sz="900" dirty="0" err="1"/>
              <a:t>sztn</a:t>
            </a:r>
            <a:r>
              <a:rPr lang="en-GB" sz="900" dirty="0"/>
              <a:t>), first and only FDA-approved biosimilar for relapsing forms of multiple sclerosis. 2023. Accessed January 2024</a:t>
            </a:r>
          </a:p>
          <a:p>
            <a:pPr>
              <a:lnSpc>
                <a:spcPct val="100000"/>
              </a:lnSpc>
              <a:spcBef>
                <a:spcPts val="0"/>
              </a:spcBef>
              <a:spcAft>
                <a:spcPts val="600"/>
              </a:spcAft>
            </a:pPr>
            <a:r>
              <a:rPr lang="en-GB" sz="900" dirty="0"/>
              <a:t>Sandoz GmbH. </a:t>
            </a:r>
            <a:r>
              <a:rPr lang="en-GB" sz="900" dirty="0" err="1"/>
              <a:t>Tyruko</a:t>
            </a:r>
            <a:r>
              <a:rPr lang="en-GB" sz="900" baseline="30000" dirty="0"/>
              <a:t>®</a:t>
            </a:r>
            <a:r>
              <a:rPr lang="en-GB" sz="900" dirty="0"/>
              <a:t>. Summary of Product Characteristics. 2023. Available at: https://www.ema.europa.eu/en/documents/product-information/tyruko-epar-product-information_en.pdf. Accessed December 2023</a:t>
            </a:r>
          </a:p>
          <a:p>
            <a:pPr>
              <a:lnSpc>
                <a:spcPct val="100000"/>
              </a:lnSpc>
              <a:spcBef>
                <a:spcPts val="0"/>
              </a:spcBef>
              <a:spcAft>
                <a:spcPts val="600"/>
              </a:spcAft>
            </a:pPr>
            <a:r>
              <a:rPr lang="en-US" sz="900" dirty="0"/>
              <a:t>Sandoz Inc. </a:t>
            </a:r>
            <a:r>
              <a:rPr lang="en-US" sz="900" dirty="0" err="1"/>
              <a:t>Glatopa</a:t>
            </a:r>
            <a:r>
              <a:rPr lang="en-US" sz="900" baseline="30000" dirty="0"/>
              <a:t>®</a:t>
            </a:r>
            <a:r>
              <a:rPr lang="en-US" sz="900" dirty="0"/>
              <a:t>. Prescribing Information. 2023. Available at: https://dailymed.nlm.nih.gov/dailymed/drugInfo.cfm?setid=5f01e40a-b6f6-40fb-b37c-3d06f1428e86. Accessed December 2023</a:t>
            </a:r>
          </a:p>
          <a:p>
            <a:pPr>
              <a:lnSpc>
                <a:spcPct val="100000"/>
              </a:lnSpc>
              <a:spcBef>
                <a:spcPts val="0"/>
              </a:spcBef>
              <a:spcAft>
                <a:spcPts val="600"/>
              </a:spcAft>
            </a:pPr>
            <a:r>
              <a:rPr lang="en-GB" sz="900" dirty="0"/>
              <a:t>Sandoz. </a:t>
            </a:r>
            <a:r>
              <a:rPr lang="en-GB" sz="900" dirty="0" err="1"/>
              <a:t>Tyruko</a:t>
            </a:r>
            <a:r>
              <a:rPr lang="en-GB" sz="900" baseline="30000" dirty="0"/>
              <a:t>®</a:t>
            </a:r>
            <a:r>
              <a:rPr lang="en-GB" sz="900" dirty="0"/>
              <a:t>. Prescribing Information. 2023. Available at: https://www.accessdata.fda.gov/drugsatfda_docs/label/2023/761322s000lbl.pdf. Accessed December 2023</a:t>
            </a:r>
          </a:p>
          <a:p>
            <a:pPr>
              <a:lnSpc>
                <a:spcPct val="100000"/>
              </a:lnSpc>
              <a:spcBef>
                <a:spcPts val="0"/>
              </a:spcBef>
              <a:spcAft>
                <a:spcPts val="600"/>
              </a:spcAft>
            </a:pPr>
            <a:r>
              <a:rPr lang="en-GB" sz="900" dirty="0"/>
              <a:t>Sanofi Winthrop </a:t>
            </a:r>
            <a:r>
              <a:rPr lang="en-GB" sz="900" dirty="0" err="1"/>
              <a:t>Industrie</a:t>
            </a:r>
            <a:r>
              <a:rPr lang="en-GB" sz="900" dirty="0"/>
              <a:t>. </a:t>
            </a:r>
            <a:r>
              <a:rPr lang="en-GB" sz="900" dirty="0" err="1"/>
              <a:t>Aubagio</a:t>
            </a:r>
            <a:r>
              <a:rPr lang="en-GB" sz="900" baseline="30000" dirty="0"/>
              <a:t>®</a:t>
            </a:r>
            <a:r>
              <a:rPr lang="en-GB" sz="900" dirty="0"/>
              <a:t>. Summary of Product Characteristics. </a:t>
            </a:r>
            <a:r>
              <a:rPr lang="en-US" sz="900" dirty="0"/>
              <a:t>2023. Available at: https://www.ema.europa.eu/en/documents/product-information/aubagio-epar-product-information_en.pdf. Accessed January 2024</a:t>
            </a:r>
          </a:p>
          <a:p>
            <a:pPr>
              <a:lnSpc>
                <a:spcPct val="100000"/>
              </a:lnSpc>
              <a:spcBef>
                <a:spcPts val="0"/>
              </a:spcBef>
              <a:spcAft>
                <a:spcPts val="600"/>
              </a:spcAft>
            </a:pPr>
            <a:r>
              <a:rPr lang="nl-NL" sz="900" dirty="0"/>
              <a:t>Schiestl M, Stangler T, Torella C, et al. </a:t>
            </a:r>
            <a:r>
              <a:rPr lang="en-US" sz="900" dirty="0"/>
              <a:t>Acceptable changes in quality attributes of glycosylated biopharmaceuticals. </a:t>
            </a:r>
            <a:r>
              <a:rPr lang="nl-NL" sz="900" i="1" dirty="0"/>
              <a:t>Nat Biotechnol </a:t>
            </a:r>
            <a:r>
              <a:rPr lang="nl-NL" sz="900" dirty="0"/>
              <a:t>2011;29:310–312</a:t>
            </a:r>
          </a:p>
          <a:p>
            <a:pPr>
              <a:lnSpc>
                <a:spcPct val="100000"/>
              </a:lnSpc>
              <a:spcBef>
                <a:spcPts val="0"/>
              </a:spcBef>
              <a:spcAft>
                <a:spcPts val="600"/>
              </a:spcAft>
            </a:pPr>
            <a:r>
              <a:rPr lang="en-GB" sz="900" dirty="0" err="1"/>
              <a:t>Skingle</a:t>
            </a:r>
            <a:r>
              <a:rPr lang="en-GB" sz="900" dirty="0"/>
              <a:t> D. </a:t>
            </a:r>
            <a:r>
              <a:rPr lang="en-US" sz="900" dirty="0"/>
              <a:t>Biosimilars: what do patients need to consider? </a:t>
            </a:r>
            <a:r>
              <a:rPr lang="en-GB" sz="900" i="1" dirty="0"/>
              <a:t>RMD Open </a:t>
            </a:r>
            <a:r>
              <a:rPr lang="en-GB" sz="900" dirty="0"/>
              <a:t>2015;1(1):e000141</a:t>
            </a:r>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a:p>
            <a:pPr>
              <a:lnSpc>
                <a:spcPct val="100000"/>
              </a:lnSpc>
              <a:spcBef>
                <a:spcPts val="0"/>
              </a:spcBef>
              <a:spcAft>
                <a:spcPts val="600"/>
              </a:spcAft>
            </a:pPr>
            <a:r>
              <a:rPr lang="en-GB" sz="900" dirty="0"/>
              <a:t>Smolen JS, </a:t>
            </a:r>
            <a:r>
              <a:rPr lang="en-GB" sz="900" dirty="0" err="1"/>
              <a:t>Landewé</a:t>
            </a:r>
            <a:r>
              <a:rPr lang="en-GB" sz="900" dirty="0"/>
              <a:t> RBM, </a:t>
            </a:r>
            <a:r>
              <a:rPr lang="en-GB" sz="900" dirty="0" err="1"/>
              <a:t>Bijlsma</a:t>
            </a:r>
            <a:r>
              <a:rPr lang="en-GB" sz="900" dirty="0"/>
              <a:t> JWJ, et al</a:t>
            </a:r>
            <a:r>
              <a:rPr lang="en-US" sz="900" dirty="0"/>
              <a:t>. EULAR recommendations for the management of rheumatoid arthritis with synthetic and biological disease-modifying antirheumatic drugs: 2019 update. </a:t>
            </a:r>
            <a:r>
              <a:rPr lang="en-GB" sz="900" i="1" dirty="0"/>
              <a:t>Ann Rheum Dis </a:t>
            </a:r>
            <a:r>
              <a:rPr lang="en-GB" sz="900" dirty="0"/>
              <a:t>2020;79:685–699</a:t>
            </a:r>
          </a:p>
          <a:p>
            <a:pPr>
              <a:lnSpc>
                <a:spcPct val="100000"/>
              </a:lnSpc>
              <a:spcBef>
                <a:spcPts val="0"/>
              </a:spcBef>
              <a:spcAft>
                <a:spcPts val="600"/>
              </a:spcAft>
            </a:pPr>
            <a:r>
              <a:rPr lang="en-GB" sz="900" dirty="0"/>
              <a:t>Smolen JS, Goncalves J, Quinn M, et al. Era of biosimilars in rheumatology: reshaping the healthcare environment. </a:t>
            </a:r>
            <a:r>
              <a:rPr lang="en-GB" sz="900" i="1" dirty="0"/>
              <a:t>RMD Open </a:t>
            </a:r>
            <a:r>
              <a:rPr lang="en-GB" sz="900" dirty="0"/>
              <a:t>2019;5:e000900</a:t>
            </a:r>
          </a:p>
          <a:p>
            <a:pPr>
              <a:lnSpc>
                <a:spcPct val="100000"/>
              </a:lnSpc>
              <a:spcBef>
                <a:spcPts val="0"/>
              </a:spcBef>
              <a:spcAft>
                <a:spcPts val="600"/>
              </a:spcAft>
            </a:pPr>
            <a:r>
              <a:rPr lang="en-GB" sz="900" dirty="0" err="1"/>
              <a:t>Spanou</a:t>
            </a:r>
            <a:r>
              <a:rPr lang="en-GB" sz="900" dirty="0"/>
              <a:t> I, </a:t>
            </a:r>
            <a:r>
              <a:rPr lang="en-GB" sz="900" dirty="0" err="1"/>
              <a:t>Mavridis</a:t>
            </a:r>
            <a:r>
              <a:rPr lang="en-GB" sz="900" dirty="0"/>
              <a:t> T, </a:t>
            </a:r>
            <a:r>
              <a:rPr lang="en-GB" sz="900" dirty="0" err="1"/>
              <a:t>Mitsikostas</a:t>
            </a:r>
            <a:r>
              <a:rPr lang="en-GB" sz="900" dirty="0"/>
              <a:t> DD. </a:t>
            </a:r>
            <a:r>
              <a:rPr lang="en-US" sz="900" dirty="0"/>
              <a:t>Nocebo in Biosimilars and Generics in Neurology: A Systematic Review. </a:t>
            </a:r>
            <a:r>
              <a:rPr lang="en-GB" sz="900" i="1" dirty="0"/>
              <a:t>Front </a:t>
            </a:r>
            <a:r>
              <a:rPr lang="en-GB" sz="900" i="1" dirty="0" err="1"/>
              <a:t>Pharmacol</a:t>
            </a:r>
            <a:r>
              <a:rPr lang="en-GB" sz="900" i="1" dirty="0"/>
              <a:t> </a:t>
            </a:r>
            <a:r>
              <a:rPr lang="en-GB" sz="900" dirty="0"/>
              <a:t>2019;10:809 </a:t>
            </a:r>
          </a:p>
          <a:p>
            <a:pPr>
              <a:lnSpc>
                <a:spcPct val="100000"/>
              </a:lnSpc>
              <a:spcBef>
                <a:spcPts val="0"/>
              </a:spcBef>
              <a:spcAft>
                <a:spcPts val="600"/>
              </a:spcAft>
            </a:pPr>
            <a:r>
              <a:rPr lang="en-US" sz="900" dirty="0"/>
              <a:t>Teva Pharma B.V. Copaxone</a:t>
            </a:r>
            <a:r>
              <a:rPr lang="en-US" sz="900" baseline="30000" dirty="0"/>
              <a:t>®</a:t>
            </a:r>
            <a:r>
              <a:rPr lang="en-US" sz="900" dirty="0"/>
              <a:t>. Summary of Product Characteristics. 2022. Available at: https://www.medicines.org.uk/emc/product/183/smpc/. Accessed December 2023</a:t>
            </a:r>
            <a:endParaRPr lang="en-GB" sz="900" dirty="0"/>
          </a:p>
          <a:p>
            <a:pPr>
              <a:lnSpc>
                <a:spcPct val="100000"/>
              </a:lnSpc>
              <a:spcBef>
                <a:spcPts val="0"/>
              </a:spcBef>
              <a:spcAft>
                <a:spcPts val="600"/>
              </a:spcAft>
            </a:pPr>
            <a:r>
              <a:rPr lang="en-GB" sz="900" dirty="0"/>
              <a:t>Teva Neuroscience, Inc. Copaxone</a:t>
            </a:r>
            <a:r>
              <a:rPr lang="en-GB" sz="900" baseline="30000" dirty="0"/>
              <a:t>®</a:t>
            </a:r>
            <a:r>
              <a:rPr lang="en-GB" sz="900" dirty="0"/>
              <a:t>. Prescribing Information. 2023. Available at: https://www.copaxone.com/globalassets/copaxone/prescribing-information.pdf. Accessed December 2023</a:t>
            </a:r>
          </a:p>
          <a:p>
            <a:pPr>
              <a:lnSpc>
                <a:spcPct val="100000"/>
              </a:lnSpc>
              <a:spcBef>
                <a:spcPts val="0"/>
              </a:spcBef>
              <a:spcAft>
                <a:spcPts val="600"/>
              </a:spcAft>
            </a:pPr>
            <a:r>
              <a:rPr lang="en-US" sz="900" dirty="0"/>
              <a:t>US FDA. 100 Years of Insulin. 2022. Available at: https://www.fda.gov/about-fda/fda-history-exhibits/100-years-insulin. Accessed December 2023</a:t>
            </a:r>
          </a:p>
          <a:p>
            <a:pPr>
              <a:lnSpc>
                <a:spcPct val="100000"/>
              </a:lnSpc>
              <a:spcBef>
                <a:spcPts val="0"/>
              </a:spcBef>
              <a:spcAft>
                <a:spcPts val="600"/>
              </a:spcAft>
            </a:pPr>
            <a:r>
              <a:rPr lang="en-US" sz="900" dirty="0"/>
              <a:t>US FDA. 9 Things to Know About Biosimilars and Interchangeable Biosimilars. 2024 Available at: https://www.fda.gov/drugs/things-know-about/9-things-know-about-biosimilars-and-interchangeable-biosimilars. Accessed June 2024</a:t>
            </a:r>
            <a:endParaRPr lang="en-GB" sz="900" dirty="0"/>
          </a:p>
          <a:p>
            <a:pPr>
              <a:lnSpc>
                <a:spcPct val="100000"/>
              </a:lnSpc>
              <a:spcBef>
                <a:spcPts val="0"/>
              </a:spcBef>
              <a:spcAft>
                <a:spcPts val="600"/>
              </a:spcAft>
            </a:pPr>
            <a:r>
              <a:rPr lang="en-US" sz="900" dirty="0"/>
              <a:t>US FDA. Biological product definition. Available at: https://www.fda.gov/files/drugs/published/Biological-Product-Definitions.pdf. Accessed June 2024</a:t>
            </a:r>
          </a:p>
          <a:p>
            <a:pPr>
              <a:lnSpc>
                <a:spcPct val="100000"/>
              </a:lnSpc>
              <a:spcBef>
                <a:spcPts val="0"/>
              </a:spcBef>
              <a:spcAft>
                <a:spcPts val="600"/>
              </a:spcAft>
            </a:pPr>
            <a:r>
              <a:rPr lang="en-US" sz="900" dirty="0"/>
              <a:t>US FDA. Biosimilars Basics for Patients. Available at: https://www.fda.gov/drugs/biosimilars/biosimilars-basics-patients. Accessed June 2024.</a:t>
            </a:r>
          </a:p>
          <a:p>
            <a:pPr>
              <a:lnSpc>
                <a:spcPct val="100000"/>
              </a:lnSpc>
              <a:spcBef>
                <a:spcPts val="0"/>
              </a:spcBef>
              <a:spcAft>
                <a:spcPts val="600"/>
              </a:spcAft>
            </a:pPr>
            <a:endParaRPr lang="en-US" sz="900" dirty="0"/>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E073E778-597D-81A9-EC68-472BA3347DC8}"/>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4</a:t>
            </a:fld>
            <a:endParaRPr lang="en-GB" sz="600" b="1">
              <a:solidFill>
                <a:schemeClr val="accent2"/>
              </a:solidFill>
            </a:endParaRPr>
          </a:p>
        </p:txBody>
      </p:sp>
    </p:spTree>
    <p:extLst>
      <p:ext uri="{BB962C8B-B14F-4D97-AF65-F5344CB8AC3E}">
        <p14:creationId xmlns:p14="http://schemas.microsoft.com/office/powerpoint/2010/main" val="37835703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50B79-495D-6A29-F483-9354F25B3EA1}"/>
              </a:ext>
            </a:extLst>
          </p:cNvPr>
          <p:cNvSpPr>
            <a:spLocks noGrp="1"/>
          </p:cNvSpPr>
          <p:nvPr>
            <p:ph type="title"/>
          </p:nvPr>
        </p:nvSpPr>
        <p:spPr>
          <a:xfrm>
            <a:off x="457200" y="342901"/>
            <a:ext cx="8229600" cy="412474"/>
          </a:xfrm>
        </p:spPr>
        <p:txBody>
          <a:bodyPr/>
          <a:lstStyle/>
          <a:p>
            <a:r>
              <a:rPr lang="en-US"/>
              <a:t>Bibliography</a:t>
            </a:r>
            <a:endParaRPr lang="en-GB"/>
          </a:p>
        </p:txBody>
      </p:sp>
      <p:sp>
        <p:nvSpPr>
          <p:cNvPr id="3" name="Content Placeholder 2">
            <a:extLst>
              <a:ext uri="{FF2B5EF4-FFF2-40B4-BE49-F238E27FC236}">
                <a16:creationId xmlns:a16="http://schemas.microsoft.com/office/drawing/2014/main" id="{63504AEB-0662-51C6-5658-7C9C0E8C683C}"/>
              </a:ext>
            </a:extLst>
          </p:cNvPr>
          <p:cNvSpPr>
            <a:spLocks noGrp="1"/>
          </p:cNvSpPr>
          <p:nvPr>
            <p:ph idx="1"/>
          </p:nvPr>
        </p:nvSpPr>
        <p:spPr>
          <a:xfrm>
            <a:off x="457200" y="866692"/>
            <a:ext cx="8449056" cy="3864965"/>
          </a:xfrm>
        </p:spPr>
        <p:txBody>
          <a:bodyPr vert="horz" lIns="0" tIns="0" rIns="0" bIns="0" numCol="2" spcCol="457200" rtlCol="0">
            <a:noAutofit/>
          </a:bodyPr>
          <a:lstStyle/>
          <a:p>
            <a:pPr>
              <a:lnSpc>
                <a:spcPct val="100000"/>
              </a:lnSpc>
              <a:spcBef>
                <a:spcPts val="0"/>
              </a:spcBef>
              <a:spcAft>
                <a:spcPts val="600"/>
              </a:spcAft>
            </a:pPr>
            <a:r>
              <a:rPr lang="en-US" sz="900" dirty="0"/>
              <a:t>US FDA. Biosimilar development process. Available at: https://www.fda.gov/files/drugs/published/Biosimilar-Development-Process.pdf. Accessed June 2024</a:t>
            </a:r>
          </a:p>
          <a:p>
            <a:pPr>
              <a:lnSpc>
                <a:spcPct val="100000"/>
              </a:lnSpc>
              <a:spcBef>
                <a:spcPts val="0"/>
              </a:spcBef>
              <a:spcAft>
                <a:spcPts val="600"/>
              </a:spcAft>
            </a:pPr>
            <a:r>
              <a:rPr lang="en-US" sz="900" dirty="0"/>
              <a:t>US FDA. Biosimilar development review and approval. 2022. Available at: https://www.fda.gov/drugs/biosimilars/review-and-approval. Accessed June 2024</a:t>
            </a:r>
          </a:p>
          <a:p>
            <a:pPr>
              <a:lnSpc>
                <a:spcPct val="100000"/>
              </a:lnSpc>
              <a:spcBef>
                <a:spcPts val="0"/>
              </a:spcBef>
              <a:spcAft>
                <a:spcPts val="600"/>
              </a:spcAft>
            </a:pPr>
            <a:r>
              <a:rPr lang="en-US" sz="900" dirty="0"/>
              <a:t>US FDA. Biosimilar Product Information. 2024. Available at: https://www.fda.gov/drugs/biosimilars/biosimilar-product-information. Accessed June 2024 </a:t>
            </a:r>
          </a:p>
          <a:p>
            <a:pPr>
              <a:lnSpc>
                <a:spcPct val="100000"/>
              </a:lnSpc>
              <a:spcBef>
                <a:spcPts val="0"/>
              </a:spcBef>
              <a:spcAft>
                <a:spcPts val="600"/>
              </a:spcAft>
            </a:pPr>
            <a:r>
              <a:rPr lang="en-US" sz="900" dirty="0"/>
              <a:t>US FDA. Guidance for industry. 2015. Available at: http://www.fda.gov/downloads/Drugs/GuidanceComplianceRegulatoryInformation/Guidances/UCM291128.pdf. Accessed June 2024</a:t>
            </a:r>
          </a:p>
          <a:p>
            <a:pPr>
              <a:lnSpc>
                <a:spcPct val="100000"/>
              </a:lnSpc>
              <a:spcBef>
                <a:spcPts val="0"/>
              </a:spcBef>
              <a:spcAft>
                <a:spcPts val="600"/>
              </a:spcAft>
            </a:pPr>
            <a:r>
              <a:rPr lang="en-GB" sz="900" dirty="0"/>
              <a:t>US FDA. Overview of Biosimilar Products. Available at: https://www.fda.gov/media/151058/download. Accessed June 2024</a:t>
            </a:r>
          </a:p>
          <a:p>
            <a:pPr>
              <a:lnSpc>
                <a:spcPct val="100000"/>
              </a:lnSpc>
              <a:spcBef>
                <a:spcPts val="0"/>
              </a:spcBef>
              <a:spcAft>
                <a:spcPts val="600"/>
              </a:spcAft>
            </a:pPr>
            <a:r>
              <a:rPr lang="en-US" sz="900" dirty="0"/>
              <a:t>US FDA. Overview of the Regulatory Framework and FDA’s Guidance for the Development and Approval of Biosimilar and Interchangeable Products in the US. 2018. Available at: https://www.fda.gov/media/113820/download. Accessed June 2024</a:t>
            </a:r>
          </a:p>
          <a:p>
            <a:pPr>
              <a:lnSpc>
                <a:spcPct val="100000"/>
              </a:lnSpc>
              <a:spcBef>
                <a:spcPts val="0"/>
              </a:spcBef>
              <a:spcAft>
                <a:spcPts val="600"/>
              </a:spcAft>
            </a:pPr>
            <a:r>
              <a:rPr lang="en-US" sz="900" dirty="0"/>
              <a:t>US FDA. Scientific Considerations in Demonstrating Biosimilarity to a Reference Product. 2015. Available at: https://www.fda.gov/regulatory-information/search-fda-guidance-documents/scientific-considerations-demonstrating-biosimilarity-reference-product. Accessed June 2024</a:t>
            </a:r>
          </a:p>
          <a:p>
            <a:pPr>
              <a:lnSpc>
                <a:spcPct val="100000"/>
              </a:lnSpc>
              <a:spcBef>
                <a:spcPts val="0"/>
              </a:spcBef>
              <a:spcAft>
                <a:spcPts val="600"/>
              </a:spcAft>
            </a:pPr>
            <a:r>
              <a:rPr lang="en-GB" sz="900" dirty="0"/>
              <a:t>US FDA. </a:t>
            </a:r>
            <a:r>
              <a:rPr lang="en-GB" sz="900" dirty="0" err="1"/>
              <a:t>Zarxio</a:t>
            </a:r>
            <a:r>
              <a:rPr lang="en-GB" sz="900" baseline="30000" dirty="0"/>
              <a:t>®</a:t>
            </a:r>
            <a:r>
              <a:rPr lang="en-GB" sz="900" dirty="0"/>
              <a:t> (filgrastim-</a:t>
            </a:r>
            <a:r>
              <a:rPr lang="en-GB" sz="900" dirty="0" err="1"/>
              <a:t>sndz</a:t>
            </a:r>
            <a:r>
              <a:rPr lang="en-GB" sz="900" dirty="0"/>
              <a:t>). Prescribing Information, 2021. Available at: https://www.accessdata.fda.gov/drugsatfda. Accessed March 2023</a:t>
            </a:r>
          </a:p>
          <a:p>
            <a:pPr>
              <a:lnSpc>
                <a:spcPct val="100000"/>
              </a:lnSpc>
              <a:spcBef>
                <a:spcPts val="0"/>
              </a:spcBef>
              <a:spcAft>
                <a:spcPts val="600"/>
              </a:spcAft>
            </a:pPr>
            <a:r>
              <a:rPr lang="en-GB" sz="900" dirty="0" err="1"/>
              <a:t>Vezér</a:t>
            </a:r>
            <a:r>
              <a:rPr lang="en-GB" sz="900" dirty="0"/>
              <a:t> B, </a:t>
            </a:r>
            <a:r>
              <a:rPr lang="en-GB" sz="900" dirty="0" err="1"/>
              <a:t>Buzás</a:t>
            </a:r>
            <a:r>
              <a:rPr lang="en-GB" sz="900" dirty="0"/>
              <a:t> Z, </a:t>
            </a:r>
            <a:r>
              <a:rPr lang="en-GB" sz="900" dirty="0" err="1"/>
              <a:t>Sebeszta</a:t>
            </a:r>
            <a:r>
              <a:rPr lang="en-GB" sz="900" dirty="0"/>
              <a:t> M, et al.</a:t>
            </a:r>
            <a:r>
              <a:rPr lang="en-US" sz="900" dirty="0"/>
              <a:t> Authorized manufacturing changes for therapeutic monoclonal antibodies (</a:t>
            </a:r>
            <a:r>
              <a:rPr lang="en-US" sz="900" dirty="0" err="1"/>
              <a:t>mAbs</a:t>
            </a:r>
            <a:r>
              <a:rPr lang="en-US" sz="900" dirty="0"/>
              <a:t>) in European Public Assessment Report (EPAR) documents.</a:t>
            </a:r>
            <a:r>
              <a:rPr lang="en-GB" sz="900" dirty="0"/>
              <a:t> </a:t>
            </a:r>
            <a:r>
              <a:rPr lang="en-GB" sz="900" i="1" dirty="0"/>
              <a:t>Curr Med Res </a:t>
            </a:r>
            <a:r>
              <a:rPr lang="en-GB" sz="900" i="1" dirty="0" err="1"/>
              <a:t>Opin</a:t>
            </a:r>
            <a:r>
              <a:rPr lang="en-GB" sz="900" i="1" dirty="0"/>
              <a:t> </a:t>
            </a:r>
            <a:r>
              <a:rPr lang="en-GB" sz="900" dirty="0"/>
              <a:t>2016;32(5):829–834</a:t>
            </a:r>
          </a:p>
          <a:p>
            <a:pPr>
              <a:lnSpc>
                <a:spcPct val="100000"/>
              </a:lnSpc>
              <a:spcBef>
                <a:spcPts val="0"/>
              </a:spcBef>
              <a:spcAft>
                <a:spcPts val="600"/>
              </a:spcAft>
            </a:pPr>
            <a:r>
              <a:rPr lang="en-GB" sz="900" dirty="0"/>
              <a:t>Webster CJ, Wong AC, Woollett GR.</a:t>
            </a:r>
            <a:r>
              <a:rPr lang="en-US" sz="900" dirty="0"/>
              <a:t> An Efficient Development Paradigm for Biosimilars.</a:t>
            </a:r>
            <a:r>
              <a:rPr lang="en-GB" sz="900" dirty="0"/>
              <a:t> </a:t>
            </a:r>
            <a:r>
              <a:rPr lang="en-GB" sz="900" i="1" dirty="0" err="1"/>
              <a:t>BioDrugs</a:t>
            </a:r>
            <a:r>
              <a:rPr lang="en-GB" sz="900" dirty="0"/>
              <a:t> 2019;33:603–611</a:t>
            </a:r>
          </a:p>
          <a:p>
            <a:pPr>
              <a:lnSpc>
                <a:spcPct val="100000"/>
              </a:lnSpc>
              <a:spcBef>
                <a:spcPts val="0"/>
              </a:spcBef>
              <a:spcAft>
                <a:spcPts val="600"/>
              </a:spcAft>
            </a:pPr>
            <a:r>
              <a:rPr lang="en-GB" sz="900" dirty="0"/>
              <a:t>Weise M, </a:t>
            </a:r>
            <a:r>
              <a:rPr lang="en-GB" sz="900" dirty="0" err="1"/>
              <a:t>Kurki</a:t>
            </a:r>
            <a:r>
              <a:rPr lang="en-GB" sz="900" dirty="0"/>
              <a:t> P, Wolff-</a:t>
            </a:r>
            <a:r>
              <a:rPr lang="en-GB" sz="900" dirty="0" err="1"/>
              <a:t>Holz</a:t>
            </a:r>
            <a:r>
              <a:rPr lang="en-GB" sz="900" dirty="0"/>
              <a:t> E,  et al. </a:t>
            </a:r>
            <a:r>
              <a:rPr lang="en-US" sz="900" dirty="0"/>
              <a:t>Biosimilars: the science of extrapolation. </a:t>
            </a:r>
            <a:r>
              <a:rPr lang="en-GB" sz="900" i="1" dirty="0"/>
              <a:t>Blood</a:t>
            </a:r>
            <a:r>
              <a:rPr lang="en-GB" sz="900" dirty="0"/>
              <a:t> 2014;124(22):3191–3196 </a:t>
            </a:r>
          </a:p>
          <a:p>
            <a:pPr>
              <a:lnSpc>
                <a:spcPct val="100000"/>
              </a:lnSpc>
              <a:spcBef>
                <a:spcPts val="0"/>
              </a:spcBef>
              <a:spcAft>
                <a:spcPts val="600"/>
              </a:spcAft>
            </a:pPr>
            <a:r>
              <a:rPr lang="en-GB" sz="900" dirty="0"/>
              <a:t>Weise M, </a:t>
            </a:r>
            <a:r>
              <a:rPr lang="en-GB" sz="900" dirty="0" err="1"/>
              <a:t>Bielsky</a:t>
            </a:r>
            <a:r>
              <a:rPr lang="en-GB" sz="900" dirty="0"/>
              <a:t> MC, De Smet K, et al. </a:t>
            </a:r>
            <a:r>
              <a:rPr lang="en-US" sz="900" dirty="0"/>
              <a:t>Biosimilars: what clinicians should know. </a:t>
            </a:r>
            <a:r>
              <a:rPr lang="en-GB" sz="900" i="1" dirty="0"/>
              <a:t>Blood</a:t>
            </a:r>
            <a:r>
              <a:rPr lang="en-GB" sz="900" dirty="0"/>
              <a:t>. 2012;120:5111–5117 </a:t>
            </a:r>
          </a:p>
          <a:p>
            <a:pPr>
              <a:lnSpc>
                <a:spcPct val="100000"/>
              </a:lnSpc>
              <a:spcBef>
                <a:spcPts val="0"/>
              </a:spcBef>
              <a:spcAft>
                <a:spcPts val="600"/>
              </a:spcAft>
            </a:pPr>
            <a:r>
              <a:rPr lang="en-GB" sz="900" dirty="0" err="1"/>
              <a:t>Weissenfeld</a:t>
            </a:r>
            <a:r>
              <a:rPr lang="en-GB" sz="900" dirty="0"/>
              <a:t> J, Stock S, </a:t>
            </a:r>
            <a:r>
              <a:rPr lang="en-GB" sz="900" dirty="0" err="1"/>
              <a:t>Lüngen</a:t>
            </a:r>
            <a:r>
              <a:rPr lang="en-GB" sz="900" dirty="0"/>
              <a:t> M, et al.</a:t>
            </a:r>
            <a:r>
              <a:rPr lang="en-US" sz="900" dirty="0"/>
              <a:t> The nocebo effect: A reason for patients’ non-adherence to generic substitution?</a:t>
            </a:r>
            <a:r>
              <a:rPr lang="en-GB" sz="900" dirty="0"/>
              <a:t> </a:t>
            </a:r>
            <a:r>
              <a:rPr lang="en-GB" sz="900" i="1" dirty="0" err="1"/>
              <a:t>Pharmazie</a:t>
            </a:r>
            <a:r>
              <a:rPr lang="en-GB" sz="900" dirty="0"/>
              <a:t> 2010;65(7):451–456</a:t>
            </a:r>
          </a:p>
          <a:p>
            <a:pPr>
              <a:lnSpc>
                <a:spcPct val="100000"/>
              </a:lnSpc>
              <a:spcBef>
                <a:spcPts val="0"/>
              </a:spcBef>
              <a:spcAft>
                <a:spcPts val="600"/>
              </a:spcAft>
            </a:pPr>
            <a:r>
              <a:rPr lang="en-US" sz="900" dirty="0"/>
              <a:t>WHO. Optimizing brain health across the life course: WHO position paper. 2022. Available at: https://iris.who.int/bitstream/handle/10665/361251/9789240054561-eng.pdf?sequence=1. Accessed October 2023 </a:t>
            </a:r>
          </a:p>
          <a:p>
            <a:pPr>
              <a:lnSpc>
                <a:spcPct val="100000"/>
              </a:lnSpc>
              <a:spcBef>
                <a:spcPts val="0"/>
              </a:spcBef>
              <a:spcAft>
                <a:spcPts val="600"/>
              </a:spcAft>
            </a:pPr>
            <a:r>
              <a:rPr lang="en-GB" sz="900" dirty="0"/>
              <a:t>Zhao L, Ren T, Wang DD. </a:t>
            </a:r>
            <a:r>
              <a:rPr lang="en-US" sz="900" dirty="0"/>
              <a:t>Clinical pharmacology considerations in biologics Development. </a:t>
            </a:r>
            <a:r>
              <a:rPr lang="en-GB" sz="900" i="1" dirty="0"/>
              <a:t>Acta </a:t>
            </a:r>
            <a:r>
              <a:rPr lang="en-GB" sz="900" i="1" dirty="0" err="1"/>
              <a:t>Pharmacol</a:t>
            </a:r>
            <a:r>
              <a:rPr lang="en-GB" sz="900" i="1" dirty="0"/>
              <a:t> Sin </a:t>
            </a:r>
            <a:r>
              <a:rPr lang="en-GB" sz="900" dirty="0"/>
              <a:t>2012;33:1339–1347</a:t>
            </a:r>
          </a:p>
          <a:p>
            <a:pPr>
              <a:lnSpc>
                <a:spcPct val="100000"/>
              </a:lnSpc>
              <a:spcBef>
                <a:spcPts val="0"/>
              </a:spcBef>
              <a:spcAft>
                <a:spcPts val="600"/>
              </a:spcAft>
            </a:pPr>
            <a:endParaRPr lang="en-GB" sz="900" dirty="0"/>
          </a:p>
          <a:p>
            <a:pPr>
              <a:lnSpc>
                <a:spcPct val="100000"/>
              </a:lnSpc>
              <a:spcBef>
                <a:spcPts val="0"/>
              </a:spcBef>
              <a:spcAft>
                <a:spcPts val="600"/>
              </a:spcAft>
            </a:pPr>
            <a:endParaRPr lang="en-GB" sz="900" dirty="0"/>
          </a:p>
        </p:txBody>
      </p:sp>
      <p:sp>
        <p:nvSpPr>
          <p:cNvPr id="6" name="Slide Number Placeholder 20">
            <a:extLst>
              <a:ext uri="{FF2B5EF4-FFF2-40B4-BE49-F238E27FC236}">
                <a16:creationId xmlns:a16="http://schemas.microsoft.com/office/drawing/2014/main" id="{E073E778-597D-81A9-EC68-472BA3347DC8}"/>
              </a:ext>
            </a:extLst>
          </p:cNvPr>
          <p:cNvSpPr txBox="1">
            <a:spLocks/>
          </p:cNvSpPr>
          <p:nvPr/>
        </p:nvSpPr>
        <p:spPr>
          <a:xfrm>
            <a:off x="162560" y="4786715"/>
            <a:ext cx="279741" cy="10818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600" b="1" smtClean="0">
                <a:solidFill>
                  <a:schemeClr val="accent2"/>
                </a:solidFill>
              </a:rPr>
              <a:pPr/>
              <a:t>55</a:t>
            </a:fld>
            <a:endParaRPr lang="en-GB" sz="600" b="1">
              <a:solidFill>
                <a:schemeClr val="accent2"/>
              </a:solidFill>
            </a:endParaRPr>
          </a:p>
        </p:txBody>
      </p:sp>
    </p:spTree>
    <p:extLst>
      <p:ext uri="{BB962C8B-B14F-4D97-AF65-F5344CB8AC3E}">
        <p14:creationId xmlns:p14="http://schemas.microsoft.com/office/powerpoint/2010/main" val="918521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Rectangle 58" hidden="1"/>
          <p:cNvGraphicFramePr>
            <a:graphicFrameLocks/>
          </p:cNvGraphicFramePr>
          <p:nvPr>
            <p:custDataLst>
              <p:tags r:id="rId1"/>
            </p:custDataLst>
          </p:nvPr>
        </p:nvGraphicFramePr>
        <p:xfrm>
          <a:off x="1143001" y="1"/>
          <a:ext cx="119063" cy="119063"/>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7170" name="Rectangle 5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1" y="1"/>
                        <a:ext cx="119063"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7">
            <a:extLst>
              <a:ext uri="{FF2B5EF4-FFF2-40B4-BE49-F238E27FC236}">
                <a16:creationId xmlns:a16="http://schemas.microsoft.com/office/drawing/2014/main" id="{278F0946-8821-E566-9D33-4AF05EC08FEB}"/>
              </a:ext>
            </a:extLst>
          </p:cNvPr>
          <p:cNvSpPr>
            <a:spLocks noGrp="1"/>
          </p:cNvSpPr>
          <p:nvPr>
            <p:ph type="title"/>
          </p:nvPr>
        </p:nvSpPr>
        <p:spPr/>
        <p:txBody>
          <a:bodyPr/>
          <a:lstStyle/>
          <a:p>
            <a:r>
              <a:rPr lang="en-US" dirty="0"/>
              <a:t>Biologic medicines are one of three distinct  pharmaceutical medicine groups used to treat MS </a:t>
            </a:r>
            <a:br>
              <a:rPr lang="en-AR" baseline="30000" dirty="0"/>
            </a:br>
            <a:endParaRPr lang="en-AR" dirty="0"/>
          </a:p>
        </p:txBody>
      </p:sp>
      <p:sp>
        <p:nvSpPr>
          <p:cNvPr id="40" name="Slide Number Placeholder 39">
            <a:extLst>
              <a:ext uri="{FF2B5EF4-FFF2-40B4-BE49-F238E27FC236}">
                <a16:creationId xmlns:a16="http://schemas.microsoft.com/office/drawing/2014/main" id="{A7C90172-17A3-0D62-3E99-48D62E3CC0DF}"/>
              </a:ext>
            </a:extLst>
          </p:cNvPr>
          <p:cNvSpPr>
            <a:spLocks noGrp="1"/>
          </p:cNvSpPr>
          <p:nvPr>
            <p:ph type="sldNum" sz="quarter" idx="12"/>
          </p:nvPr>
        </p:nvSpPr>
        <p:spPr/>
        <p:txBody>
          <a:bodyPr/>
          <a:lstStyle/>
          <a:p>
            <a:fld id="{A31C51CB-94C2-40E2-B070-08CEE3D6A386}" type="slidenum">
              <a:rPr lang="en-GB" smtClean="0"/>
              <a:t>6</a:t>
            </a:fld>
            <a:endParaRPr lang="en-GB"/>
          </a:p>
        </p:txBody>
      </p:sp>
      <p:sp>
        <p:nvSpPr>
          <p:cNvPr id="9" name="Title 17">
            <a:extLst>
              <a:ext uri="{FF2B5EF4-FFF2-40B4-BE49-F238E27FC236}">
                <a16:creationId xmlns:a16="http://schemas.microsoft.com/office/drawing/2014/main" id="{99F175C8-A02E-C594-91D2-A783D156A061}"/>
              </a:ext>
            </a:extLst>
          </p:cNvPr>
          <p:cNvSpPr txBox="1">
            <a:spLocks/>
          </p:cNvSpPr>
          <p:nvPr/>
        </p:nvSpPr>
        <p:spPr>
          <a:xfrm>
            <a:off x="457200" y="342901"/>
            <a:ext cx="8229600" cy="594359"/>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2400" b="1" kern="1200" spc="-8" baseline="0">
                <a:solidFill>
                  <a:schemeClr val="accent2"/>
                </a:solidFill>
                <a:latin typeface="+mj-lt"/>
                <a:ea typeface="+mj-ea"/>
                <a:cs typeface="+mj-cs"/>
              </a:defRPr>
            </a:lvl1pPr>
          </a:lstStyle>
          <a:p>
            <a:endParaRPr lang="en-AR" baseline="30000"/>
          </a:p>
        </p:txBody>
      </p:sp>
      <p:grpSp>
        <p:nvGrpSpPr>
          <p:cNvPr id="19" name="Group 18">
            <a:extLst>
              <a:ext uri="{FF2B5EF4-FFF2-40B4-BE49-F238E27FC236}">
                <a16:creationId xmlns:a16="http://schemas.microsoft.com/office/drawing/2014/main" id="{69A29A4C-02E9-D709-15D5-D12F5184F4B5}"/>
              </a:ext>
            </a:extLst>
          </p:cNvPr>
          <p:cNvGrpSpPr/>
          <p:nvPr/>
        </p:nvGrpSpPr>
        <p:grpSpPr>
          <a:xfrm>
            <a:off x="273939" y="1001599"/>
            <a:ext cx="8608714" cy="3369233"/>
            <a:chOff x="2783455" y="2127403"/>
            <a:chExt cx="11347658" cy="4146541"/>
          </a:xfrm>
        </p:grpSpPr>
        <p:sp>
          <p:nvSpPr>
            <p:cNvPr id="21" name="Freeform: Shape 8">
              <a:extLst>
                <a:ext uri="{FF2B5EF4-FFF2-40B4-BE49-F238E27FC236}">
                  <a16:creationId xmlns:a16="http://schemas.microsoft.com/office/drawing/2014/main" id="{E8CA1C85-3A85-4D88-6ACF-37DF824BF48F}"/>
                </a:ext>
              </a:extLst>
            </p:cNvPr>
            <p:cNvSpPr>
              <a:spLocks/>
            </p:cNvSpPr>
            <p:nvPr/>
          </p:nvSpPr>
          <p:spPr>
            <a:xfrm>
              <a:off x="2783455" y="2127403"/>
              <a:ext cx="11331058" cy="4146541"/>
            </a:xfrm>
            <a:prstGeom prst="rect">
              <a:avLst/>
            </a:prstGeom>
            <a:solidFill>
              <a:schemeClr val="bg1"/>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68580" tIns="205740" rIns="68580" bIns="100488" numCol="1" spcCol="1270" anchor="t" anchorCtr="0">
              <a:noAutofit/>
            </a:bodyPr>
            <a:lstStyle/>
            <a:p>
              <a:pPr algn="ctr" defTabSz="800100">
                <a:lnSpc>
                  <a:spcPct val="90000"/>
                </a:lnSpc>
                <a:spcBef>
                  <a:spcPts val="675"/>
                </a:spcBef>
                <a:spcAft>
                  <a:spcPct val="35000"/>
                </a:spcAft>
              </a:pPr>
              <a:endParaRPr lang="de-DE" sz="825">
                <a:solidFill>
                  <a:srgbClr val="4D4D4D"/>
                </a:solidFill>
                <a:latin typeface="Arial" panose="020B0604020202020204"/>
              </a:endParaRPr>
            </a:p>
          </p:txBody>
        </p:sp>
        <p:cxnSp>
          <p:nvCxnSpPr>
            <p:cNvPr id="22" name="Straight Connector 21">
              <a:extLst>
                <a:ext uri="{FF2B5EF4-FFF2-40B4-BE49-F238E27FC236}">
                  <a16:creationId xmlns:a16="http://schemas.microsoft.com/office/drawing/2014/main" id="{322EBFDC-BC69-E4E9-4B7F-0ACC07E71037}"/>
                </a:ext>
              </a:extLst>
            </p:cNvPr>
            <p:cNvCxnSpPr>
              <a:cxnSpLocks/>
            </p:cNvCxnSpPr>
            <p:nvPr/>
          </p:nvCxnSpPr>
          <p:spPr>
            <a:xfrm flipH="1">
              <a:off x="2783455" y="6273944"/>
              <a:ext cx="11347658"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F176B1F4-678D-1EFB-858E-A825D00D2865}"/>
              </a:ext>
            </a:extLst>
          </p:cNvPr>
          <p:cNvGrpSpPr/>
          <p:nvPr/>
        </p:nvGrpSpPr>
        <p:grpSpPr>
          <a:xfrm>
            <a:off x="3138970" y="1762600"/>
            <a:ext cx="2862521" cy="2425147"/>
            <a:chOff x="4610796" y="2346385"/>
            <a:chExt cx="3378524" cy="2744626"/>
          </a:xfrm>
        </p:grpSpPr>
        <p:cxnSp>
          <p:nvCxnSpPr>
            <p:cNvPr id="24" name="Straight Connector 23">
              <a:extLst>
                <a:ext uri="{FF2B5EF4-FFF2-40B4-BE49-F238E27FC236}">
                  <a16:creationId xmlns:a16="http://schemas.microsoft.com/office/drawing/2014/main" id="{C39CDA0C-DA8C-5321-5C20-79260B8FCD32}"/>
                </a:ext>
              </a:extLst>
            </p:cNvPr>
            <p:cNvCxnSpPr>
              <a:cxnSpLocks/>
            </p:cNvCxnSpPr>
            <p:nvPr/>
          </p:nvCxnSpPr>
          <p:spPr>
            <a:xfrm flipV="1">
              <a:off x="4610796" y="2400376"/>
              <a:ext cx="0" cy="2690635"/>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8F84A3E-1663-CB8F-3ABD-76694F677836}"/>
                </a:ext>
              </a:extLst>
            </p:cNvPr>
            <p:cNvCxnSpPr>
              <a:cxnSpLocks/>
            </p:cNvCxnSpPr>
            <p:nvPr/>
          </p:nvCxnSpPr>
          <p:spPr>
            <a:xfrm flipV="1">
              <a:off x="7989320" y="2346385"/>
              <a:ext cx="0" cy="2690635"/>
            </a:xfrm>
            <a:prstGeom prst="line">
              <a:avLst/>
            </a:prstGeom>
            <a:ln w="31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6" name="Pentagon 25">
            <a:extLst>
              <a:ext uri="{FF2B5EF4-FFF2-40B4-BE49-F238E27FC236}">
                <a16:creationId xmlns:a16="http://schemas.microsoft.com/office/drawing/2014/main" id="{02E0B2D2-BDC6-A07C-2935-9D074A6CA25C}"/>
              </a:ext>
            </a:extLst>
          </p:cNvPr>
          <p:cNvSpPr>
            <a:spLocks/>
          </p:cNvSpPr>
          <p:nvPr/>
        </p:nvSpPr>
        <p:spPr>
          <a:xfrm>
            <a:off x="261346" y="997778"/>
            <a:ext cx="3009590" cy="452628"/>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algn="ctr" defTabSz="685800"/>
            <a:r>
              <a:rPr lang="en-US" sz="1200" b="1" noProof="1">
                <a:solidFill>
                  <a:srgbClr val="FFFFFF"/>
                </a:solidFill>
                <a:latin typeface="Arial" panose="020B0604020202020204"/>
                <a:cs typeface="Arial" pitchFamily="34" charset="0"/>
              </a:rPr>
              <a:t>Small molecule medicine</a:t>
            </a:r>
            <a:r>
              <a:rPr lang="en-US" sz="1200" b="1" baseline="30000" noProof="1">
                <a:solidFill>
                  <a:srgbClr val="FFFFFF"/>
                </a:solidFill>
                <a:latin typeface="Arial" panose="020B0604020202020204"/>
                <a:cs typeface="Arial" pitchFamily="34" charset="0"/>
              </a:rPr>
              <a:t>1–4</a:t>
            </a:r>
          </a:p>
        </p:txBody>
      </p:sp>
      <p:sp>
        <p:nvSpPr>
          <p:cNvPr id="27" name="Chevron 60">
            <a:extLst>
              <a:ext uri="{FF2B5EF4-FFF2-40B4-BE49-F238E27FC236}">
                <a16:creationId xmlns:a16="http://schemas.microsoft.com/office/drawing/2014/main" id="{9C3DDF46-91E8-4069-687F-91227EA628CB}"/>
              </a:ext>
            </a:extLst>
          </p:cNvPr>
          <p:cNvSpPr>
            <a:spLocks/>
          </p:cNvSpPr>
          <p:nvPr/>
        </p:nvSpPr>
        <p:spPr>
          <a:xfrm>
            <a:off x="3132918" y="997778"/>
            <a:ext cx="3009569" cy="452628"/>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algn="ctr" defTabSz="685800"/>
            <a:r>
              <a:rPr lang="en-US" altLang="en-US" sz="1200" b="1" noProof="1">
                <a:solidFill>
                  <a:srgbClr val="FFFFFF"/>
                </a:solidFill>
                <a:latin typeface="Arial" panose="020B0604020202020204"/>
                <a:cs typeface="Arial" pitchFamily="34" charset="0"/>
              </a:rPr>
              <a:t>Non-biological</a:t>
            </a:r>
            <a:br>
              <a:rPr lang="en-US" altLang="en-US" sz="1200" b="1" noProof="1">
                <a:solidFill>
                  <a:srgbClr val="FFFFFF"/>
                </a:solidFill>
                <a:latin typeface="Arial" panose="020B0604020202020204"/>
                <a:cs typeface="Arial" pitchFamily="34" charset="0"/>
              </a:rPr>
            </a:br>
            <a:r>
              <a:rPr lang="en-US" altLang="en-US" sz="1200" b="1" noProof="1">
                <a:solidFill>
                  <a:srgbClr val="FFFFFF"/>
                </a:solidFill>
                <a:latin typeface="Arial" panose="020B0604020202020204"/>
                <a:cs typeface="Arial" pitchFamily="34" charset="0"/>
              </a:rPr>
              <a:t>complex drug (NBCD)</a:t>
            </a:r>
            <a:r>
              <a:rPr lang="en-US" sz="1200" b="1" baseline="30000" noProof="1">
                <a:solidFill>
                  <a:srgbClr val="FFFFFF"/>
                </a:solidFill>
                <a:latin typeface="Arial" panose="020B0604020202020204"/>
                <a:cs typeface="Arial" pitchFamily="34" charset="0"/>
              </a:rPr>
              <a:t>1–4</a:t>
            </a:r>
            <a:endParaRPr lang="en-US" altLang="en-US" sz="1200" b="1" noProof="1">
              <a:solidFill>
                <a:srgbClr val="FFFFFF"/>
              </a:solidFill>
              <a:latin typeface="Arial" panose="020B0604020202020204"/>
              <a:cs typeface="Arial" pitchFamily="34" charset="0"/>
            </a:endParaRPr>
          </a:p>
        </p:txBody>
      </p:sp>
      <p:sp>
        <p:nvSpPr>
          <p:cNvPr id="29" name="TextBox 28">
            <a:extLst>
              <a:ext uri="{FF2B5EF4-FFF2-40B4-BE49-F238E27FC236}">
                <a16:creationId xmlns:a16="http://schemas.microsoft.com/office/drawing/2014/main" id="{FB5A2326-88B6-2887-D4AC-C052EE6B7E19}"/>
              </a:ext>
            </a:extLst>
          </p:cNvPr>
          <p:cNvSpPr txBox="1"/>
          <p:nvPr/>
        </p:nvSpPr>
        <p:spPr>
          <a:xfrm>
            <a:off x="923434" y="1509585"/>
            <a:ext cx="1569339" cy="153888"/>
          </a:xfrm>
          <a:prstGeom prst="rect">
            <a:avLst/>
          </a:prstGeom>
          <a:noFill/>
        </p:spPr>
        <p:txBody>
          <a:bodyPr wrap="none" lIns="0" tIns="0" rIns="0" bIns="0" rtlCol="0">
            <a:spAutoFit/>
          </a:bodyPr>
          <a:lstStyle/>
          <a:p>
            <a:pPr algn="ctr" defTabSz="685800"/>
            <a:r>
              <a:rPr lang="en-GB" sz="1000" b="1" dirty="0">
                <a:solidFill>
                  <a:srgbClr val="1C59B5"/>
                </a:solidFill>
                <a:latin typeface="Arial" panose="020B0604020202020204"/>
              </a:rPr>
              <a:t>Example: Teriflunomide</a:t>
            </a:r>
            <a:r>
              <a:rPr lang="en-GB" sz="1000" b="1" baseline="30000" dirty="0">
                <a:solidFill>
                  <a:srgbClr val="1C59B5"/>
                </a:solidFill>
                <a:latin typeface="Arial" panose="020B0604020202020204"/>
              </a:rPr>
              <a:t>5,6</a:t>
            </a:r>
            <a:endParaRPr lang="en-US" sz="1000" b="1" baseline="30000" dirty="0">
              <a:solidFill>
                <a:srgbClr val="1C59B5"/>
              </a:solidFill>
              <a:latin typeface="Arial" panose="020B0604020202020204"/>
            </a:endParaRPr>
          </a:p>
        </p:txBody>
      </p:sp>
      <p:sp>
        <p:nvSpPr>
          <p:cNvPr id="30" name="TextBox 29">
            <a:extLst>
              <a:ext uri="{FF2B5EF4-FFF2-40B4-BE49-F238E27FC236}">
                <a16:creationId xmlns:a16="http://schemas.microsoft.com/office/drawing/2014/main" id="{BF4229B7-E738-0791-8B93-33A946F1499F}"/>
              </a:ext>
            </a:extLst>
          </p:cNvPr>
          <p:cNvSpPr txBox="1"/>
          <p:nvPr/>
        </p:nvSpPr>
        <p:spPr>
          <a:xfrm>
            <a:off x="3606193" y="1509585"/>
            <a:ext cx="1931619" cy="153888"/>
          </a:xfrm>
          <a:prstGeom prst="rect">
            <a:avLst/>
          </a:prstGeom>
          <a:noFill/>
        </p:spPr>
        <p:txBody>
          <a:bodyPr wrap="none" lIns="0" tIns="0" rIns="0" bIns="0" rtlCol="0">
            <a:spAutoFit/>
          </a:bodyPr>
          <a:lstStyle/>
          <a:p>
            <a:pPr algn="ctr" defTabSz="685800"/>
            <a:r>
              <a:rPr lang="en-GB" sz="1000" b="1" dirty="0">
                <a:solidFill>
                  <a:srgbClr val="1C59B5"/>
                </a:solidFill>
                <a:latin typeface="Arial" panose="020B0604020202020204"/>
              </a:rPr>
              <a:t>Example: Glatiramer acetate</a:t>
            </a:r>
            <a:r>
              <a:rPr lang="en-GB" sz="1000" b="1" baseline="30000" dirty="0">
                <a:solidFill>
                  <a:srgbClr val="1C59B5"/>
                </a:solidFill>
                <a:latin typeface="Arial" panose="020B0604020202020204"/>
              </a:rPr>
              <a:t>10,11</a:t>
            </a:r>
            <a:endParaRPr lang="en-US" sz="1000" b="1" baseline="30000" dirty="0">
              <a:solidFill>
                <a:srgbClr val="1C59B5"/>
              </a:solidFill>
              <a:latin typeface="Arial" panose="020B0604020202020204"/>
            </a:endParaRPr>
          </a:p>
        </p:txBody>
      </p:sp>
      <p:sp>
        <p:nvSpPr>
          <p:cNvPr id="31" name="TextBox 30">
            <a:extLst>
              <a:ext uri="{FF2B5EF4-FFF2-40B4-BE49-F238E27FC236}">
                <a16:creationId xmlns:a16="http://schemas.microsoft.com/office/drawing/2014/main" id="{34C0941F-1E29-5940-8F3B-AFA4181D4DEB}"/>
              </a:ext>
            </a:extLst>
          </p:cNvPr>
          <p:cNvSpPr txBox="1"/>
          <p:nvPr/>
        </p:nvSpPr>
        <p:spPr>
          <a:xfrm>
            <a:off x="6212300" y="1516343"/>
            <a:ext cx="2446949" cy="153888"/>
          </a:xfrm>
          <a:prstGeom prst="rect">
            <a:avLst/>
          </a:prstGeom>
          <a:noFill/>
        </p:spPr>
        <p:txBody>
          <a:bodyPr wrap="square" lIns="0" tIns="0" rIns="0" bIns="0" rtlCol="0">
            <a:spAutoFit/>
          </a:bodyPr>
          <a:lstStyle/>
          <a:p>
            <a:pPr algn="ctr" defTabSz="685800"/>
            <a:r>
              <a:rPr lang="en-GB" sz="1000" b="1" dirty="0">
                <a:solidFill>
                  <a:srgbClr val="1C59B5"/>
                </a:solidFill>
                <a:latin typeface="Arial" panose="020B0604020202020204"/>
              </a:rPr>
              <a:t>Example: Natalizumab</a:t>
            </a:r>
            <a:r>
              <a:rPr lang="en-GB" sz="1000" b="1" baseline="30000" dirty="0">
                <a:solidFill>
                  <a:srgbClr val="1C59B5"/>
                </a:solidFill>
                <a:latin typeface="Arial" panose="020B0604020202020204"/>
              </a:rPr>
              <a:t>13,14</a:t>
            </a:r>
            <a:endParaRPr lang="en-US" sz="1000" b="1" baseline="30000" dirty="0">
              <a:solidFill>
                <a:srgbClr val="1C59B5"/>
              </a:solidFill>
              <a:latin typeface="Arial" panose="020B0604020202020204"/>
            </a:endParaRPr>
          </a:p>
        </p:txBody>
      </p:sp>
      <p:pic>
        <p:nvPicPr>
          <p:cNvPr id="32" name="Content Placeholder 7218">
            <a:extLst>
              <a:ext uri="{FF2B5EF4-FFF2-40B4-BE49-F238E27FC236}">
                <a16:creationId xmlns:a16="http://schemas.microsoft.com/office/drawing/2014/main" id="{C9BD7430-D4A4-EACD-4E5D-2FEE43C7139E}"/>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257791" y="1762863"/>
            <a:ext cx="900629" cy="552457"/>
          </a:xfrm>
          <a:prstGeom prst="rect">
            <a:avLst/>
          </a:prstGeom>
        </p:spPr>
      </p:pic>
      <p:pic>
        <p:nvPicPr>
          <p:cNvPr id="33" name="Content Placeholder 7218">
            <a:extLst>
              <a:ext uri="{FF2B5EF4-FFF2-40B4-BE49-F238E27FC236}">
                <a16:creationId xmlns:a16="http://schemas.microsoft.com/office/drawing/2014/main" id="{445239FE-270F-5A0C-0AD9-416472688807}"/>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059974" y="1762863"/>
            <a:ext cx="1024061" cy="530762"/>
          </a:xfrm>
          <a:prstGeom prst="rect">
            <a:avLst/>
          </a:prstGeom>
        </p:spPr>
      </p:pic>
      <p:pic>
        <p:nvPicPr>
          <p:cNvPr id="34" name="Content Placeholder 7218">
            <a:extLst>
              <a:ext uri="{FF2B5EF4-FFF2-40B4-BE49-F238E27FC236}">
                <a16:creationId xmlns:a16="http://schemas.microsoft.com/office/drawing/2014/main" id="{CD129B9B-CE5D-0FD0-815A-C8A54F195DFE}"/>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001796" y="1762863"/>
            <a:ext cx="867959" cy="650969"/>
          </a:xfrm>
          <a:prstGeom prst="rect">
            <a:avLst/>
          </a:prstGeom>
        </p:spPr>
      </p:pic>
      <p:sp>
        <p:nvSpPr>
          <p:cNvPr id="35" name="Text Box 44">
            <a:extLst>
              <a:ext uri="{FF2B5EF4-FFF2-40B4-BE49-F238E27FC236}">
                <a16:creationId xmlns:a16="http://schemas.microsoft.com/office/drawing/2014/main" id="{0D49B4F5-6E68-0C65-681A-5826840C7E02}"/>
              </a:ext>
            </a:extLst>
          </p:cNvPr>
          <p:cNvSpPr txBox="1">
            <a:spLocks noChangeArrowheads="1"/>
          </p:cNvSpPr>
          <p:nvPr/>
        </p:nvSpPr>
        <p:spPr bwMode="auto">
          <a:xfrm>
            <a:off x="6072690" y="2444695"/>
            <a:ext cx="2791319" cy="877247"/>
          </a:xfrm>
          <a:prstGeom prst="rect">
            <a:avLst/>
          </a:prstGeom>
        </p:spPr>
        <p:txBody>
          <a:bodyPr wrap="square" lIns="67500" tIns="35100" rIns="67500" bIns="35100" anchor="t" anchorCtr="0">
            <a:no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dirty="0">
                <a:latin typeface="Arial" panose="020B0604020202020204"/>
              </a:rPr>
              <a:t>Production:</a:t>
            </a:r>
            <a:r>
              <a:rPr lang="en-US" altLang="en-US" sz="900" dirty="0">
                <a:latin typeface="Arial" panose="020B0604020202020204"/>
              </a:rPr>
              <a:t> Living cells or organisms, mammalian cells</a:t>
            </a:r>
          </a:p>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dirty="0">
                <a:latin typeface="Arial" panose="020B0604020202020204"/>
              </a:rPr>
              <a:t>Molecular composition:</a:t>
            </a:r>
            <a:r>
              <a:rPr lang="en-US" altLang="en-US" sz="900" dirty="0">
                <a:latin typeface="Arial" panose="020B0604020202020204"/>
              </a:rPr>
              <a:t> Complex and large composition made of single/multiple active substance(s)</a:t>
            </a:r>
          </a:p>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sz="900" b="1" dirty="0">
                <a:latin typeface="Arial" panose="020B0604020202020204"/>
              </a:rPr>
              <a:t>Successor:</a:t>
            </a:r>
            <a:r>
              <a:rPr lang="en-US" sz="900" dirty="0">
                <a:latin typeface="Arial" panose="020B0604020202020204"/>
              </a:rPr>
              <a:t> Biosimilar medicine</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solidFill>
                  <a:schemeClr val="accent1"/>
                </a:solidFill>
                <a:latin typeface="Arial" panose="020B0604020202020204"/>
              </a:rPr>
              <a:t>Because of the inherent variability of all biologics, it is not possible to create an identical version of a biologic medicine, even between reference medicine batches. Successors to a reference biologic medicines are called 'biosimilars’ that match their reference medicine in terms of safety and efficacy</a:t>
            </a:r>
            <a:r>
              <a:rPr lang="en-US" sz="800" baseline="30000" dirty="0">
                <a:solidFill>
                  <a:schemeClr val="accent1"/>
                </a:solidFill>
                <a:latin typeface="Arial" panose="020B0604020202020204"/>
              </a:rPr>
              <a:t>7</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latin typeface="Arial" panose="020B0604020202020204"/>
              </a:rPr>
              <a:t>Example: Biosimilar natalizumab</a:t>
            </a:r>
            <a:r>
              <a:rPr lang="en-US" sz="800" baseline="30000" dirty="0">
                <a:latin typeface="Arial" panose="020B0604020202020204"/>
              </a:rPr>
              <a:t>15,16</a:t>
            </a:r>
          </a:p>
        </p:txBody>
      </p:sp>
      <p:sp>
        <p:nvSpPr>
          <p:cNvPr id="36" name="Text Box 44">
            <a:extLst>
              <a:ext uri="{FF2B5EF4-FFF2-40B4-BE49-F238E27FC236}">
                <a16:creationId xmlns:a16="http://schemas.microsoft.com/office/drawing/2014/main" id="{942110BD-EEFE-1A3E-9AE9-CCE78F71E5A7}"/>
              </a:ext>
            </a:extLst>
          </p:cNvPr>
          <p:cNvSpPr txBox="1">
            <a:spLocks noChangeArrowheads="1"/>
          </p:cNvSpPr>
          <p:nvPr/>
        </p:nvSpPr>
        <p:spPr bwMode="auto">
          <a:xfrm>
            <a:off x="356637" y="2444695"/>
            <a:ext cx="2702932" cy="209385"/>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Production:</a:t>
            </a:r>
            <a:r>
              <a:rPr lang="en-US" altLang="en-US" sz="900">
                <a:latin typeface="Arial" panose="020B0604020202020204"/>
              </a:rPr>
              <a:t> Chemical synthesis</a:t>
            </a:r>
          </a:p>
        </p:txBody>
      </p:sp>
      <p:sp>
        <p:nvSpPr>
          <p:cNvPr id="37" name="Text Box 44">
            <a:extLst>
              <a:ext uri="{FF2B5EF4-FFF2-40B4-BE49-F238E27FC236}">
                <a16:creationId xmlns:a16="http://schemas.microsoft.com/office/drawing/2014/main" id="{C604DC85-56F8-E84A-5793-8809856C698C}"/>
              </a:ext>
            </a:extLst>
          </p:cNvPr>
          <p:cNvSpPr txBox="1">
            <a:spLocks noChangeArrowheads="1"/>
          </p:cNvSpPr>
          <p:nvPr/>
        </p:nvSpPr>
        <p:spPr bwMode="auto">
          <a:xfrm>
            <a:off x="3239727" y="2444695"/>
            <a:ext cx="2638542" cy="209385"/>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Production:</a:t>
            </a:r>
            <a:r>
              <a:rPr lang="en-US" altLang="en-US" sz="900">
                <a:latin typeface="Arial" panose="020B0604020202020204"/>
              </a:rPr>
              <a:t> Chemical synthesis</a:t>
            </a:r>
          </a:p>
        </p:txBody>
      </p:sp>
      <p:sp>
        <p:nvSpPr>
          <p:cNvPr id="45" name="Chevron 60">
            <a:extLst>
              <a:ext uri="{FF2B5EF4-FFF2-40B4-BE49-F238E27FC236}">
                <a16:creationId xmlns:a16="http://schemas.microsoft.com/office/drawing/2014/main" id="{F42ED74F-346E-C5AD-E9F2-FF0F949BF8F4}"/>
              </a:ext>
            </a:extLst>
          </p:cNvPr>
          <p:cNvSpPr>
            <a:spLocks/>
          </p:cNvSpPr>
          <p:nvPr/>
        </p:nvSpPr>
        <p:spPr>
          <a:xfrm>
            <a:off x="6004490" y="997778"/>
            <a:ext cx="3108960" cy="452628"/>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algn="ctr" defTabSz="685800"/>
            <a:r>
              <a:rPr lang="en-US" altLang="en-US" sz="1200" b="1" noProof="1">
                <a:solidFill>
                  <a:srgbClr val="FFFFFF"/>
                </a:solidFill>
                <a:latin typeface="Arial" panose="020B0604020202020204"/>
                <a:cs typeface="Arial" pitchFamily="34" charset="0"/>
              </a:rPr>
              <a:t> Biologic medicine</a:t>
            </a:r>
            <a:r>
              <a:rPr lang="en-US" sz="1200" b="1" baseline="30000" noProof="1">
                <a:solidFill>
                  <a:srgbClr val="FFFFFF"/>
                </a:solidFill>
                <a:latin typeface="Arial" panose="020B0604020202020204"/>
                <a:cs typeface="Arial" pitchFamily="34" charset="0"/>
              </a:rPr>
              <a:t>1–4</a:t>
            </a:r>
            <a:endParaRPr lang="en-US" altLang="en-US" sz="1200" b="1" strike="sngStrike" noProof="1">
              <a:solidFill>
                <a:srgbClr val="FF0000"/>
              </a:solidFill>
              <a:latin typeface="Arial" panose="020B0604020202020204"/>
              <a:cs typeface="Arial" pitchFamily="34" charset="0"/>
            </a:endParaRPr>
          </a:p>
        </p:txBody>
      </p:sp>
      <p:sp>
        <p:nvSpPr>
          <p:cNvPr id="46" name="Rectangle 45">
            <a:extLst>
              <a:ext uri="{FF2B5EF4-FFF2-40B4-BE49-F238E27FC236}">
                <a16:creationId xmlns:a16="http://schemas.microsoft.com/office/drawing/2014/main" id="{FA586D8E-C4D9-882A-9CB9-82EC52E716C2}"/>
              </a:ext>
            </a:extLst>
          </p:cNvPr>
          <p:cNvSpPr/>
          <p:nvPr/>
        </p:nvSpPr>
        <p:spPr>
          <a:xfrm>
            <a:off x="8882653" y="921810"/>
            <a:ext cx="261347" cy="9144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p>
        </p:txBody>
      </p:sp>
      <p:sp>
        <p:nvSpPr>
          <p:cNvPr id="2" name="Text Box 44">
            <a:extLst>
              <a:ext uri="{FF2B5EF4-FFF2-40B4-BE49-F238E27FC236}">
                <a16:creationId xmlns:a16="http://schemas.microsoft.com/office/drawing/2014/main" id="{3C4302CD-1338-D558-844C-7CFECAA23BF6}"/>
              </a:ext>
            </a:extLst>
          </p:cNvPr>
          <p:cNvSpPr txBox="1">
            <a:spLocks noChangeArrowheads="1"/>
          </p:cNvSpPr>
          <p:nvPr/>
        </p:nvSpPr>
        <p:spPr bwMode="auto">
          <a:xfrm>
            <a:off x="3239727" y="2750789"/>
            <a:ext cx="2638542" cy="347884"/>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Molecular composition:</a:t>
            </a:r>
            <a:r>
              <a:rPr lang="en-US" altLang="en-US" sz="900">
                <a:latin typeface="Arial" panose="020B0604020202020204"/>
              </a:rPr>
              <a:t> Multiple molecules </a:t>
            </a:r>
            <a:br>
              <a:rPr lang="en-US" altLang="en-US" sz="900">
                <a:latin typeface="Arial" panose="020B0604020202020204"/>
              </a:rPr>
            </a:br>
            <a:r>
              <a:rPr lang="en-US" altLang="en-US" sz="900">
                <a:latin typeface="Arial" panose="020B0604020202020204"/>
              </a:rPr>
              <a:t>of different sizes</a:t>
            </a:r>
            <a:endParaRPr lang="en-US" sz="800" baseline="30000">
              <a:latin typeface="Arial" panose="020B0604020202020204"/>
            </a:endParaRPr>
          </a:p>
        </p:txBody>
      </p:sp>
      <p:sp>
        <p:nvSpPr>
          <p:cNvPr id="4" name="Text Box 44">
            <a:extLst>
              <a:ext uri="{FF2B5EF4-FFF2-40B4-BE49-F238E27FC236}">
                <a16:creationId xmlns:a16="http://schemas.microsoft.com/office/drawing/2014/main" id="{DDC78C75-4E85-51B0-449F-21B42A81FE02}"/>
              </a:ext>
            </a:extLst>
          </p:cNvPr>
          <p:cNvSpPr txBox="1">
            <a:spLocks noChangeArrowheads="1"/>
          </p:cNvSpPr>
          <p:nvPr/>
        </p:nvSpPr>
        <p:spPr bwMode="auto">
          <a:xfrm>
            <a:off x="3239727" y="3206100"/>
            <a:ext cx="2638542" cy="1024993"/>
          </a:xfrm>
          <a:prstGeom prst="rect">
            <a:avLst/>
          </a:prstGeom>
        </p:spPr>
        <p:txBody>
          <a:bodyPr wrap="square" lIns="67500" tIns="35100" rIns="67500" bIns="35100" anchor="t" anchorCtr="0">
            <a:sp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sz="900" b="1" dirty="0">
                <a:latin typeface="Arial" panose="020B0604020202020204"/>
              </a:rPr>
              <a:t>Successor:</a:t>
            </a:r>
            <a:r>
              <a:rPr lang="en-US" sz="900" dirty="0">
                <a:latin typeface="Arial" panose="020B0604020202020204"/>
              </a:rPr>
              <a:t> Generic NBCD</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altLang="en-US" sz="800" dirty="0">
                <a:latin typeface="Arial" panose="020B0604020202020204"/>
              </a:rPr>
              <a:t>A generic NBCD is a successor to a reference NBCD for which the patent has run out. Generic NBCDs will not be identical to their reference NBCD due to their complex chemical composition</a:t>
            </a:r>
            <a:r>
              <a:rPr lang="en-US" altLang="en-US" sz="800" baseline="30000" dirty="0">
                <a:latin typeface="Arial" panose="020B0604020202020204"/>
              </a:rPr>
              <a:t>7</a:t>
            </a:r>
            <a:r>
              <a:rPr lang="en-US" altLang="en-US" sz="800" dirty="0">
                <a:latin typeface="Arial" panose="020B0604020202020204"/>
              </a:rPr>
              <a:t> </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latin typeface="Arial" panose="020B0604020202020204"/>
              </a:rPr>
              <a:t>Example: Generic glatiramer acetate</a:t>
            </a:r>
            <a:r>
              <a:rPr lang="en-US" sz="800" baseline="30000" dirty="0">
                <a:latin typeface="Arial" panose="020B0604020202020204"/>
              </a:rPr>
              <a:t>12</a:t>
            </a:r>
          </a:p>
        </p:txBody>
      </p:sp>
      <p:sp>
        <p:nvSpPr>
          <p:cNvPr id="5" name="Text Box 44">
            <a:extLst>
              <a:ext uri="{FF2B5EF4-FFF2-40B4-BE49-F238E27FC236}">
                <a16:creationId xmlns:a16="http://schemas.microsoft.com/office/drawing/2014/main" id="{CC1F66B7-D18D-39D2-36AA-73A9D7A59C7B}"/>
              </a:ext>
            </a:extLst>
          </p:cNvPr>
          <p:cNvSpPr txBox="1">
            <a:spLocks noChangeArrowheads="1"/>
          </p:cNvSpPr>
          <p:nvPr/>
        </p:nvSpPr>
        <p:spPr bwMode="auto">
          <a:xfrm>
            <a:off x="356637" y="2755232"/>
            <a:ext cx="2702932" cy="317868"/>
          </a:xfrm>
          <a:prstGeom prst="rect">
            <a:avLst/>
          </a:prstGeom>
        </p:spPr>
        <p:txBody>
          <a:bodyPr wrap="square" lIns="67500" tIns="35100" rIns="67500" bIns="35100" anchor="t" anchorCtr="0">
            <a:no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altLang="en-US" sz="900" b="1">
                <a:latin typeface="Arial" panose="020B0604020202020204"/>
              </a:rPr>
              <a:t>Molecular composition:</a:t>
            </a:r>
            <a:r>
              <a:rPr lang="en-US" altLang="en-US" sz="900">
                <a:latin typeface="Arial" panose="020B0604020202020204"/>
              </a:rPr>
              <a:t> Single well-defined molecule</a:t>
            </a:r>
          </a:p>
        </p:txBody>
      </p:sp>
      <p:sp>
        <p:nvSpPr>
          <p:cNvPr id="6" name="Text Box 44">
            <a:extLst>
              <a:ext uri="{FF2B5EF4-FFF2-40B4-BE49-F238E27FC236}">
                <a16:creationId xmlns:a16="http://schemas.microsoft.com/office/drawing/2014/main" id="{79DB895B-AB41-E95C-79F4-FD07E2077D1D}"/>
              </a:ext>
            </a:extLst>
          </p:cNvPr>
          <p:cNvSpPr txBox="1">
            <a:spLocks noChangeArrowheads="1"/>
          </p:cNvSpPr>
          <p:nvPr/>
        </p:nvSpPr>
        <p:spPr bwMode="auto">
          <a:xfrm>
            <a:off x="361957" y="3200200"/>
            <a:ext cx="2754547" cy="1242317"/>
          </a:xfrm>
          <a:prstGeom prst="rect">
            <a:avLst/>
          </a:prstGeom>
        </p:spPr>
        <p:txBody>
          <a:bodyPr wrap="square" lIns="67500" tIns="35100" rIns="67500" bIns="35100" anchor="t" anchorCtr="0">
            <a:noAutofit/>
          </a:bodyPr>
          <a:lstStyle>
            <a:lvl1pPr eaLnBrk="0" hangingPunct="0">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Arial" charset="0"/>
              </a:defRPr>
            </a:lvl1pPr>
            <a:lvl2pPr marL="742950" indent="-285750" eaLnBrk="0" hangingPunct="0">
              <a:lnSpc>
                <a:spcPct val="95000"/>
              </a:lnSpc>
              <a:spcBef>
                <a:spcPct val="20000"/>
              </a:spcBef>
              <a:spcAft>
                <a:spcPct val="20000"/>
              </a:spcAft>
              <a:buClr>
                <a:srgbClr val="005BC3"/>
              </a:buClr>
              <a:buFont typeface="Arial" charset="0"/>
              <a:buChar char="•"/>
              <a:defRPr sz="2000">
                <a:solidFill>
                  <a:schemeClr val="tx2"/>
                </a:solidFill>
                <a:latin typeface="Arial" charset="0"/>
              </a:defRPr>
            </a:lvl2pPr>
            <a:lvl3pPr marL="1143000" indent="-228600" eaLnBrk="0" hangingPunct="0">
              <a:lnSpc>
                <a:spcPct val="95000"/>
              </a:lnSpc>
              <a:spcBef>
                <a:spcPct val="20000"/>
              </a:spcBef>
              <a:spcAft>
                <a:spcPct val="20000"/>
              </a:spcAft>
              <a:buClr>
                <a:srgbClr val="005BC3"/>
              </a:buClr>
              <a:buFont typeface="Arial" charset="0"/>
              <a:buChar char="–"/>
              <a:defRPr>
                <a:solidFill>
                  <a:schemeClr val="tx2"/>
                </a:solidFill>
                <a:latin typeface="Arial" charset="0"/>
              </a:defRPr>
            </a:lvl3pPr>
            <a:lvl4pPr marL="1600200" indent="-228600" eaLnBrk="0" hangingPunct="0">
              <a:lnSpc>
                <a:spcPct val="95000"/>
              </a:lnSpc>
              <a:spcBef>
                <a:spcPct val="20000"/>
              </a:spcBef>
              <a:buClr>
                <a:srgbClr val="005BC3"/>
              </a:buClr>
              <a:buFont typeface="Arial" charset="0"/>
              <a:buChar char="»"/>
              <a:defRPr sz="1600">
                <a:solidFill>
                  <a:schemeClr val="tx2"/>
                </a:solidFill>
                <a:latin typeface="Arial" charset="0"/>
              </a:defRPr>
            </a:lvl4pPr>
            <a:lvl5pPr marL="2057400" indent="-228600" eaLnBrk="0" hangingPunct="0">
              <a:spcBef>
                <a:spcPct val="20000"/>
              </a:spcBef>
              <a:buClr>
                <a:srgbClr val="005BC3"/>
              </a:buClr>
              <a:buFont typeface="Arial" charset="0"/>
              <a:buChar char="•"/>
              <a:defRPr sz="1400">
                <a:solidFill>
                  <a:schemeClr val="tx2"/>
                </a:solidFill>
                <a:latin typeface="Arial" charset="0"/>
              </a:defRPr>
            </a:lvl5pPr>
            <a:lvl6pPr marL="25146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6pPr>
            <a:lvl7pPr marL="29718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7pPr>
            <a:lvl8pPr marL="34290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8pPr>
            <a:lvl9pPr marL="3886200" indent="-228600" eaLnBrk="0" fontAlgn="base" hangingPunct="0">
              <a:spcBef>
                <a:spcPct val="20000"/>
              </a:spcBef>
              <a:spcAft>
                <a:spcPct val="0"/>
              </a:spcAft>
              <a:buClr>
                <a:srgbClr val="005BC3"/>
              </a:buClr>
              <a:buFont typeface="Arial" charset="0"/>
              <a:buChar char="•"/>
              <a:defRPr sz="1400">
                <a:solidFill>
                  <a:schemeClr val="tx2"/>
                </a:solidFill>
                <a:latin typeface="Arial" charset="0"/>
              </a:defRPr>
            </a:lvl9pPr>
          </a:lstStyle>
          <a:p>
            <a:pPr marL="82391" indent="-82391" defTabSz="914378" eaLnBrk="1" hangingPunct="1">
              <a:lnSpc>
                <a:spcPct val="100000"/>
              </a:lnSpc>
              <a:spcBef>
                <a:spcPts val="0"/>
              </a:spcBef>
              <a:spcAft>
                <a:spcPts val="300"/>
              </a:spcAft>
              <a:buClrTx/>
              <a:buSzPct val="100000"/>
              <a:buFont typeface="Arial" panose="020B0604020202020204" pitchFamily="34" charset="0"/>
              <a:buChar char="•"/>
              <a:tabLst>
                <a:tab pos="3998119" algn="r"/>
                <a:tab pos="8228410" algn="r"/>
              </a:tabLst>
            </a:pPr>
            <a:r>
              <a:rPr lang="en-US" sz="900" b="1" dirty="0"/>
              <a:t>Successor:</a:t>
            </a:r>
            <a:r>
              <a:rPr lang="en-US" sz="900" dirty="0"/>
              <a:t> Generic small molecule medicine</a:t>
            </a: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altLang="en-US" sz="800" dirty="0">
                <a:latin typeface="Arial" panose="020B0604020202020204"/>
              </a:rPr>
              <a:t>A generic small molecule medicine </a:t>
            </a:r>
            <a:r>
              <a:rPr lang="en-US" altLang="en-US" sz="800" dirty="0">
                <a:solidFill>
                  <a:schemeClr val="accent1"/>
                </a:solidFill>
                <a:latin typeface="Arial" panose="020B0604020202020204"/>
              </a:rPr>
              <a:t>is a copy of a reference small molecule medicine for which the patent has run out. Identical copies can </a:t>
            </a:r>
            <a:r>
              <a:rPr lang="en-US" altLang="en-US" sz="800" dirty="0">
                <a:latin typeface="Arial" panose="020B0604020202020204"/>
              </a:rPr>
              <a:t>be made due to the simple chemical composition of small molecule medicines</a:t>
            </a:r>
            <a:r>
              <a:rPr lang="en-US" altLang="en-US" sz="800" baseline="30000" dirty="0">
                <a:latin typeface="Arial" panose="020B0604020202020204"/>
              </a:rPr>
              <a:t>7</a:t>
            </a:r>
            <a:endParaRPr lang="en-US" altLang="en-US" sz="800" dirty="0">
              <a:latin typeface="Arial" panose="020B0604020202020204"/>
            </a:endParaRPr>
          </a:p>
          <a:p>
            <a:pPr marL="262890" lvl="1" indent="-171450" defTabSz="914378" eaLnBrk="1" hangingPunct="1">
              <a:lnSpc>
                <a:spcPct val="100000"/>
              </a:lnSpc>
              <a:spcBef>
                <a:spcPts val="0"/>
              </a:spcBef>
              <a:spcAft>
                <a:spcPts val="300"/>
              </a:spcAft>
              <a:buClrTx/>
              <a:buSzPct val="100000"/>
              <a:buFont typeface="Courier New" panose="02070309020205020404" pitchFamily="49" charset="0"/>
              <a:buChar char="o"/>
              <a:tabLst>
                <a:tab pos="3998119" algn="r"/>
                <a:tab pos="8228410" algn="r"/>
              </a:tabLst>
            </a:pPr>
            <a:r>
              <a:rPr lang="en-US" sz="800" dirty="0">
                <a:latin typeface="Arial" panose="020B0604020202020204"/>
              </a:rPr>
              <a:t>Example: Generic teriflunomide</a:t>
            </a:r>
            <a:r>
              <a:rPr lang="en-US" sz="800" baseline="30000" dirty="0">
                <a:latin typeface="Arial" panose="020B0604020202020204"/>
              </a:rPr>
              <a:t>8,9</a:t>
            </a:r>
          </a:p>
        </p:txBody>
      </p:sp>
      <p:sp>
        <p:nvSpPr>
          <p:cNvPr id="10" name="Footer Placeholder 9">
            <a:extLst>
              <a:ext uri="{FF2B5EF4-FFF2-40B4-BE49-F238E27FC236}">
                <a16:creationId xmlns:a16="http://schemas.microsoft.com/office/drawing/2014/main" id="{51CDBA92-50A0-0880-74B5-A1C85631FD85}"/>
              </a:ext>
            </a:extLst>
          </p:cNvPr>
          <p:cNvSpPr>
            <a:spLocks noGrp="1"/>
          </p:cNvSpPr>
          <p:nvPr>
            <p:ph type="ftr" sz="quarter" idx="11"/>
          </p:nvPr>
        </p:nvSpPr>
        <p:spPr/>
        <p:txBody>
          <a:bodyPr/>
          <a:lstStyle/>
          <a:p>
            <a:r>
              <a:rPr lang="en-US" altLang="en-US" sz="400" noProof="1">
                <a:latin typeface="Arial" pitchFamily="34" charset="0"/>
                <a:cs typeface="Arial" pitchFamily="34" charset="0"/>
              </a:rPr>
              <a:t>Note: Illustrations not to scale. MS, multiple sclerosis; NBCD, non-biological complex drug.</a:t>
            </a:r>
          </a:p>
          <a:p>
            <a:r>
              <a:rPr lang="en-US" altLang="en-US" sz="400" noProof="1">
                <a:latin typeface="Arial" pitchFamily="34" charset="0"/>
                <a:cs typeface="Arial" pitchFamily="34" charset="0"/>
              </a:rPr>
              <a:t>1. </a:t>
            </a:r>
            <a:r>
              <a:rPr lang="es-ES" altLang="en-US" sz="400" noProof="1">
                <a:latin typeface="Arial" pitchFamily="34" charset="0"/>
                <a:cs typeface="Arial" pitchFamily="34" charset="0"/>
              </a:rPr>
              <a:t>Zhao L, et al. </a:t>
            </a:r>
            <a:r>
              <a:rPr lang="es-ES" altLang="en-US" sz="400" i="1" noProof="1">
                <a:latin typeface="Arial" pitchFamily="34" charset="0"/>
                <a:cs typeface="Arial" pitchFamily="34" charset="0"/>
              </a:rPr>
              <a:t>Acta Pharmacol Sin </a:t>
            </a:r>
            <a:r>
              <a:rPr lang="es-ES" altLang="en-US" sz="400" noProof="1">
                <a:latin typeface="Arial" pitchFamily="34" charset="0"/>
                <a:cs typeface="Arial" pitchFamily="34" charset="0"/>
              </a:rPr>
              <a:t>2012;33:1339–47; 2. </a:t>
            </a:r>
            <a:r>
              <a:rPr lang="en-US" altLang="en-US" sz="400" noProof="1">
                <a:latin typeface="Arial" pitchFamily="34" charset="0"/>
                <a:cs typeface="Arial" pitchFamily="34" charset="0"/>
              </a:rPr>
              <a:t>US FDA. Biological product definition. Available at: https://www.fda.gov/files/drugs/published/Biological-Product-Definitions.pdf. Accessed June 2024</a:t>
            </a:r>
            <a:r>
              <a:rPr lang="es-ES" altLang="en-US" sz="400" noProof="1">
                <a:latin typeface="Arial" pitchFamily="34" charset="0"/>
                <a:cs typeface="Arial" pitchFamily="34" charset="0"/>
              </a:rPr>
              <a:t>; 3. Crommelin DJA, et al. Eur J Pharm Sci 2015; 76:10–7; 4. Declerck PJ. </a:t>
            </a:r>
            <a:r>
              <a:rPr lang="es-ES" altLang="en-US" sz="400" i="1" noProof="1">
                <a:latin typeface="Arial" pitchFamily="34" charset="0"/>
                <a:cs typeface="Arial" pitchFamily="34" charset="0"/>
              </a:rPr>
              <a:t>GaBI Journal </a:t>
            </a:r>
            <a:r>
              <a:rPr lang="es-ES" altLang="en-US" sz="400" noProof="1">
                <a:latin typeface="Arial" pitchFamily="34" charset="0"/>
                <a:cs typeface="Arial" pitchFamily="34" charset="0"/>
              </a:rPr>
              <a:t>2012;1(1):13–6;</a:t>
            </a:r>
            <a:r>
              <a:rPr lang="en-US" altLang="en-US" sz="400" noProof="1">
                <a:latin typeface="Arial" pitchFamily="34" charset="0"/>
                <a:cs typeface="Arial" pitchFamily="34" charset="0"/>
              </a:rPr>
              <a:t> 5. Aubagio®. SmPC, 2023. Available at: </a:t>
            </a:r>
            <a:r>
              <a:rPr lang="en-US" altLang="en-US" sz="400" noProof="1">
                <a:latin typeface="Arial" pitchFamily="34" charset="0"/>
                <a:cs typeface="Arial" pitchFamily="34" charset="0"/>
                <a:hlinkClick r:id="rId8"/>
              </a:rPr>
              <a:t>https://www.ema.europa.eu/en/documents/product-information/aubagio-epar-product-information_en.pdf</a:t>
            </a:r>
            <a:r>
              <a:rPr lang="en-US" altLang="en-US" sz="400" noProof="1">
                <a:latin typeface="Arial" pitchFamily="34" charset="0"/>
                <a:cs typeface="Arial" pitchFamily="34" charset="0"/>
              </a:rPr>
              <a:t>. Accessed January2024; 6. Aubagio</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2. Available at: </a:t>
            </a:r>
            <a:r>
              <a:rPr lang="en-US" altLang="en-US" sz="400" noProof="1">
                <a:latin typeface="Arial" pitchFamily="34" charset="0"/>
                <a:cs typeface="Arial" pitchFamily="34" charset="0"/>
                <a:hlinkClick r:id="rId9"/>
              </a:rPr>
              <a:t>https://products.sanofi.us/aubagio/aubagio.pdf</a:t>
            </a:r>
            <a:r>
              <a:rPr lang="en-US" altLang="en-US" sz="400" noProof="1">
                <a:latin typeface="Arial" pitchFamily="34" charset="0"/>
                <a:cs typeface="Arial" pitchFamily="34" charset="0"/>
              </a:rPr>
              <a:t>. Accessed January 2024; 7. </a:t>
            </a:r>
            <a:r>
              <a:rPr lang="it-IT" altLang="en-US" sz="400" noProof="1">
                <a:latin typeface="Arial" pitchFamily="34" charset="0"/>
                <a:cs typeface="Arial" pitchFamily="34" charset="0"/>
              </a:rPr>
              <a:t>Greenberg G, Giovannoni G. </a:t>
            </a:r>
            <a:r>
              <a:rPr lang="it-IT" altLang="en-US" sz="400" i="1" noProof="1">
                <a:latin typeface="Arial" pitchFamily="34" charset="0"/>
                <a:cs typeface="Arial" pitchFamily="34" charset="0"/>
              </a:rPr>
              <a:t>Mult Scler Relat Disord </a:t>
            </a:r>
            <a:r>
              <a:rPr lang="it-IT" altLang="en-US" sz="400" noProof="1">
                <a:latin typeface="Arial" pitchFamily="34" charset="0"/>
                <a:cs typeface="Arial" pitchFamily="34" charset="0"/>
              </a:rPr>
              <a:t>2023;77:104841; 8</a:t>
            </a:r>
            <a:r>
              <a:rPr lang="en-US" altLang="en-US" sz="400" noProof="1">
                <a:latin typeface="Arial" pitchFamily="34" charset="0"/>
                <a:cs typeface="Arial" pitchFamily="34" charset="0"/>
              </a:rPr>
              <a:t>. Teriflunomide Mylan. SmPC. 2023. Available at: </a:t>
            </a:r>
            <a:r>
              <a:rPr lang="en-US" altLang="en-US" sz="400" noProof="1">
                <a:latin typeface="Arial" pitchFamily="34" charset="0"/>
                <a:cs typeface="Arial" pitchFamily="34" charset="0"/>
                <a:hlinkClick r:id="rId10"/>
              </a:rPr>
              <a:t>https://www.ema.europa.eu/en/documents/product-information/teriflunomide-mylan-epar-product-information_en.pdf</a:t>
            </a:r>
            <a:r>
              <a:rPr lang="en-US" altLang="en-US" sz="400" noProof="1">
                <a:latin typeface="Arial" pitchFamily="34" charset="0"/>
                <a:cs typeface="Arial" pitchFamily="34" charset="0"/>
              </a:rPr>
              <a:t>. Accessed December 2023</a:t>
            </a:r>
            <a:r>
              <a:rPr lang="it-IT" altLang="en-US" sz="400" noProof="1">
                <a:latin typeface="Arial" pitchFamily="34" charset="0"/>
                <a:cs typeface="Arial" pitchFamily="34" charset="0"/>
              </a:rPr>
              <a:t>; 9. Teriflunomide Mylan. PI. 2022. Available at: </a:t>
            </a:r>
            <a:r>
              <a:rPr lang="it-IT" altLang="en-US" sz="400" noProof="1">
                <a:latin typeface="Arial" pitchFamily="34" charset="0"/>
                <a:cs typeface="Arial" pitchFamily="34" charset="0"/>
                <a:hlinkClick r:id="rId11"/>
              </a:rPr>
              <a:t>https://dailymed.nlm.nih.gov/dailymed/getFile.cfm?setid=1824aae5-58af-43da-8231-435c8f118bc0&amp;type=pdf</a:t>
            </a:r>
            <a:r>
              <a:rPr lang="it-IT" altLang="en-US" sz="400" noProof="1">
                <a:latin typeface="Arial" pitchFamily="34" charset="0"/>
                <a:cs typeface="Arial" pitchFamily="34" charset="0"/>
              </a:rPr>
              <a:t>. Accessed January 2024; 10</a:t>
            </a:r>
            <a:r>
              <a:rPr lang="en-US" altLang="en-US" sz="400" noProof="1">
                <a:latin typeface="Arial" pitchFamily="34" charset="0"/>
                <a:cs typeface="Arial" pitchFamily="34" charset="0"/>
              </a:rPr>
              <a:t>. Copaxone</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3. Available at: https://www.copaxone.com/globalassets/copaxone/prescribing-information.pdf. Accessed December 2023; 11. Copaxone</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SmPC. 2022. Available at: https://www.medicines.org.uk/emc/product/183/smpc/. Accessed December 2023; 12. Glatopa</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3. Available at: https://dailymed.nlm.nih.gov/dailymed/drugInfo.cfm?setid=5f01e40a-b6f6-40fb-b37c-3d06f1428e86. Accessed December 2023; </a:t>
            </a:r>
            <a:r>
              <a:rPr lang="es-ES" altLang="en-US" sz="400" noProof="1">
                <a:latin typeface="Arial" pitchFamily="34" charset="0"/>
                <a:cs typeface="Arial" pitchFamily="34" charset="0"/>
              </a:rPr>
              <a:t>13. </a:t>
            </a:r>
            <a:r>
              <a:rPr lang="en-US" altLang="en-US" sz="400" noProof="1">
                <a:latin typeface="Arial" pitchFamily="34" charset="0"/>
                <a:cs typeface="Arial" pitchFamily="34" charset="0"/>
              </a:rPr>
              <a:t>Tysabri</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1. Available at: https://www.accessdata.fda.gov/drugsatfda_docs/label/2012/125104s0576lbl.pdf. Accessed December 2022; 14. Tysabri</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SmPC. 2022. Available at: https://www.medicines.org.uk/emc/product/12443/smpc. Accessed December 2023; 15. Tyruko</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PI. 2023. Available at: https://www.accessdata.fda.gov/drugsatfda_docs/label/2023/761322s000lbl.pdf. Accessed December 2023; 16. Tyruko</a:t>
            </a:r>
            <a:r>
              <a:rPr lang="en-US" altLang="en-US" sz="400" baseline="30000" noProof="1">
                <a:latin typeface="Arial" pitchFamily="34" charset="0"/>
                <a:cs typeface="Arial" pitchFamily="34" charset="0"/>
              </a:rPr>
              <a:t>®</a:t>
            </a:r>
            <a:r>
              <a:rPr lang="en-US" altLang="en-US" sz="400" noProof="1">
                <a:latin typeface="Arial" pitchFamily="34" charset="0"/>
                <a:cs typeface="Arial" pitchFamily="34" charset="0"/>
              </a:rPr>
              <a:t>. SmPC. 2023. Available at: https://www.ema.europa.eu/en/documents/product-information/tyruko-epar-product-information_en.pdf. Accessed December 2023.</a:t>
            </a:r>
          </a:p>
        </p:txBody>
      </p:sp>
    </p:spTree>
    <p:extLst>
      <p:ext uri="{BB962C8B-B14F-4D97-AF65-F5344CB8AC3E}">
        <p14:creationId xmlns:p14="http://schemas.microsoft.com/office/powerpoint/2010/main" val="3777710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B6211D1-9CD3-A115-ABC6-CE157F4AAB49}"/>
              </a:ext>
            </a:extLst>
          </p:cNvPr>
          <p:cNvSpPr>
            <a:spLocks noGrp="1"/>
          </p:cNvSpPr>
          <p:nvPr>
            <p:ph type="title"/>
          </p:nvPr>
        </p:nvSpPr>
        <p:spPr/>
        <p:txBody>
          <a:bodyPr>
            <a:noAutofit/>
          </a:bodyPr>
          <a:lstStyle/>
          <a:p>
            <a:r>
              <a:rPr lang="en-US" dirty="0"/>
              <a:t>Biologic medicines have a complex </a:t>
            </a:r>
            <a:br>
              <a:rPr lang="en-US" dirty="0"/>
            </a:br>
            <a:r>
              <a:rPr lang="en-US" dirty="0"/>
              <a:t>development process</a:t>
            </a:r>
            <a:endParaRPr lang="en-AR" dirty="0"/>
          </a:p>
        </p:txBody>
      </p:sp>
      <p:grpSp>
        <p:nvGrpSpPr>
          <p:cNvPr id="2" name="Group 1">
            <a:extLst>
              <a:ext uri="{FF2B5EF4-FFF2-40B4-BE49-F238E27FC236}">
                <a16:creationId xmlns:a16="http://schemas.microsoft.com/office/drawing/2014/main" id="{6B1F2347-425B-2E1F-22F1-FDCB892E84EB}"/>
              </a:ext>
            </a:extLst>
          </p:cNvPr>
          <p:cNvGrpSpPr/>
          <p:nvPr/>
        </p:nvGrpSpPr>
        <p:grpSpPr>
          <a:xfrm>
            <a:off x="459118" y="1789886"/>
            <a:ext cx="2011190" cy="2631199"/>
            <a:chOff x="612158" y="2088967"/>
            <a:chExt cx="2681586" cy="3843521"/>
          </a:xfrm>
        </p:grpSpPr>
        <p:pic>
          <p:nvPicPr>
            <p:cNvPr id="65" name="Picture 64">
              <a:extLst>
                <a:ext uri="{FF2B5EF4-FFF2-40B4-BE49-F238E27FC236}">
                  <a16:creationId xmlns:a16="http://schemas.microsoft.com/office/drawing/2014/main" id="{6445140A-8E37-F346-8E79-F521B6499EBA}"/>
                </a:ext>
              </a:extLst>
            </p:cNvPr>
            <p:cNvPicPr>
              <a:picLocks/>
            </p:cNvPicPr>
            <p:nvPr/>
          </p:nvPicPr>
          <p:blipFill rotWithShape="1">
            <a:blip r:embed="rId3" cstate="print">
              <a:extLst>
                <a:ext uri="{28A0092B-C50C-407E-A947-70E740481C1C}">
                  <a14:useLocalDpi xmlns:a14="http://schemas.microsoft.com/office/drawing/2010/main" val="0"/>
                </a:ext>
              </a:extLst>
            </a:blip>
            <a:srcRect l="9867" t="2066" r="52923" b="4599"/>
            <a:stretch/>
          </p:blipFill>
          <p:spPr>
            <a:xfrm>
              <a:off x="612159" y="2088967"/>
              <a:ext cx="2681585" cy="3843521"/>
            </a:xfrm>
            <a:prstGeom prst="rect">
              <a:avLst/>
            </a:prstGeom>
          </p:spPr>
        </p:pic>
        <p:sp>
          <p:nvSpPr>
            <p:cNvPr id="52" name="Rectangle 51">
              <a:extLst>
                <a:ext uri="{FF2B5EF4-FFF2-40B4-BE49-F238E27FC236}">
                  <a16:creationId xmlns:a16="http://schemas.microsoft.com/office/drawing/2014/main" id="{5B4F68F9-437A-765F-77F4-4D49EDB4B505}"/>
                </a:ext>
              </a:extLst>
            </p:cNvPr>
            <p:cNvSpPr/>
            <p:nvPr/>
          </p:nvSpPr>
          <p:spPr>
            <a:xfrm>
              <a:off x="612158" y="3429000"/>
              <a:ext cx="2681585" cy="2503488"/>
            </a:xfrm>
            <a:prstGeom prst="rect">
              <a:avLst/>
            </a:prstGeom>
            <a:gradFill flip="none" rotWithShape="1">
              <a:gsLst>
                <a:gs pos="0">
                  <a:schemeClr val="tx1">
                    <a:alpha val="0"/>
                  </a:schemeClr>
                </a:gs>
                <a:gs pos="86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grpSp>
        <p:nvGrpSpPr>
          <p:cNvPr id="3" name="Group 2">
            <a:extLst>
              <a:ext uri="{FF2B5EF4-FFF2-40B4-BE49-F238E27FC236}">
                <a16:creationId xmlns:a16="http://schemas.microsoft.com/office/drawing/2014/main" id="{9A46356A-1052-2030-AF80-B07062D73EC1}"/>
              </a:ext>
            </a:extLst>
          </p:cNvPr>
          <p:cNvGrpSpPr/>
          <p:nvPr/>
        </p:nvGrpSpPr>
        <p:grpSpPr>
          <a:xfrm>
            <a:off x="2530644" y="1789886"/>
            <a:ext cx="2011189" cy="2631199"/>
            <a:chOff x="3374191" y="2088967"/>
            <a:chExt cx="2681585" cy="3843521"/>
          </a:xfrm>
        </p:grpSpPr>
        <p:pic>
          <p:nvPicPr>
            <p:cNvPr id="66" name="Picture 65">
              <a:extLst>
                <a:ext uri="{FF2B5EF4-FFF2-40B4-BE49-F238E27FC236}">
                  <a16:creationId xmlns:a16="http://schemas.microsoft.com/office/drawing/2014/main" id="{69DB5F99-D6BD-465A-434D-7953A54B5357}"/>
                </a:ext>
              </a:extLst>
            </p:cNvPr>
            <p:cNvPicPr>
              <a:picLocks/>
            </p:cNvPicPr>
            <p:nvPr/>
          </p:nvPicPr>
          <p:blipFill rotWithShape="1">
            <a:blip r:embed="rId4" cstate="print">
              <a:extLst>
                <a:ext uri="{28A0092B-C50C-407E-A947-70E740481C1C}">
                  <a14:useLocalDpi xmlns:a14="http://schemas.microsoft.com/office/drawing/2010/main" val="0"/>
                </a:ext>
              </a:extLst>
            </a:blip>
            <a:srcRect l="3260" t="6665" r="49226"/>
            <a:stretch/>
          </p:blipFill>
          <p:spPr>
            <a:xfrm>
              <a:off x="3374191" y="2088967"/>
              <a:ext cx="2681585" cy="3843521"/>
            </a:xfrm>
            <a:prstGeom prst="rect">
              <a:avLst/>
            </a:prstGeom>
          </p:spPr>
        </p:pic>
        <p:sp>
          <p:nvSpPr>
            <p:cNvPr id="54" name="Rectangle 53">
              <a:extLst>
                <a:ext uri="{FF2B5EF4-FFF2-40B4-BE49-F238E27FC236}">
                  <a16:creationId xmlns:a16="http://schemas.microsoft.com/office/drawing/2014/main" id="{F62BCC2B-0DDF-58DF-6A88-BC1A1D051BD8}"/>
                </a:ext>
              </a:extLst>
            </p:cNvPr>
            <p:cNvSpPr/>
            <p:nvPr/>
          </p:nvSpPr>
          <p:spPr>
            <a:xfrm>
              <a:off x="3374191" y="3429000"/>
              <a:ext cx="2681585" cy="2503488"/>
            </a:xfrm>
            <a:prstGeom prst="rect">
              <a:avLst/>
            </a:prstGeom>
            <a:gradFill flip="none" rotWithShape="1">
              <a:gsLst>
                <a:gs pos="0">
                  <a:schemeClr val="tx1">
                    <a:alpha val="0"/>
                  </a:schemeClr>
                </a:gs>
                <a:gs pos="85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grpSp>
        <p:nvGrpSpPr>
          <p:cNvPr id="4" name="Group 3">
            <a:extLst>
              <a:ext uri="{FF2B5EF4-FFF2-40B4-BE49-F238E27FC236}">
                <a16:creationId xmlns:a16="http://schemas.microsoft.com/office/drawing/2014/main" id="{90873076-A33C-7ECA-73E3-1E14695AAD06}"/>
              </a:ext>
            </a:extLst>
          </p:cNvPr>
          <p:cNvGrpSpPr/>
          <p:nvPr/>
        </p:nvGrpSpPr>
        <p:grpSpPr>
          <a:xfrm>
            <a:off x="4602168" y="1789886"/>
            <a:ext cx="2011189" cy="2631557"/>
            <a:chOff x="6136223" y="2088923"/>
            <a:chExt cx="2681585" cy="3844043"/>
          </a:xfrm>
        </p:grpSpPr>
        <p:pic>
          <p:nvPicPr>
            <p:cNvPr id="67" name="Picture 66">
              <a:extLst>
                <a:ext uri="{FF2B5EF4-FFF2-40B4-BE49-F238E27FC236}">
                  <a16:creationId xmlns:a16="http://schemas.microsoft.com/office/drawing/2014/main" id="{C0DBDA7F-CD61-2CE5-7F78-7387EA6E1FAF}"/>
                </a:ext>
              </a:extLst>
            </p:cNvPr>
            <p:cNvPicPr>
              <a:picLocks/>
            </p:cNvPicPr>
            <p:nvPr/>
          </p:nvPicPr>
          <p:blipFill rotWithShape="1">
            <a:blip r:embed="rId5" cstate="print">
              <a:extLst>
                <a:ext uri="{28A0092B-C50C-407E-A947-70E740481C1C}">
                  <a14:useLocalDpi xmlns:a14="http://schemas.microsoft.com/office/drawing/2010/main" val="0"/>
                </a:ext>
              </a:extLst>
            </a:blip>
            <a:srcRect l="35274" t="6663" r="21314"/>
            <a:stretch/>
          </p:blipFill>
          <p:spPr>
            <a:xfrm>
              <a:off x="6136223" y="2088923"/>
              <a:ext cx="2681585" cy="3843565"/>
            </a:xfrm>
            <a:prstGeom prst="rect">
              <a:avLst/>
            </a:prstGeom>
          </p:spPr>
        </p:pic>
        <p:sp>
          <p:nvSpPr>
            <p:cNvPr id="56" name="Rectangle 55">
              <a:extLst>
                <a:ext uri="{FF2B5EF4-FFF2-40B4-BE49-F238E27FC236}">
                  <a16:creationId xmlns:a16="http://schemas.microsoft.com/office/drawing/2014/main" id="{87DF78FF-9E36-28C3-B8BE-9B763E94BBAA}"/>
                </a:ext>
              </a:extLst>
            </p:cNvPr>
            <p:cNvSpPr>
              <a:spLocks/>
            </p:cNvSpPr>
            <p:nvPr/>
          </p:nvSpPr>
          <p:spPr>
            <a:xfrm>
              <a:off x="6136223" y="3429478"/>
              <a:ext cx="2681585" cy="2503488"/>
            </a:xfrm>
            <a:prstGeom prst="rect">
              <a:avLst/>
            </a:prstGeom>
            <a:gradFill flip="none" rotWithShape="1">
              <a:gsLst>
                <a:gs pos="0">
                  <a:schemeClr val="tx1">
                    <a:alpha val="0"/>
                  </a:schemeClr>
                </a:gs>
                <a:gs pos="83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grpSp>
        <p:nvGrpSpPr>
          <p:cNvPr id="5" name="Group 4">
            <a:extLst>
              <a:ext uri="{FF2B5EF4-FFF2-40B4-BE49-F238E27FC236}">
                <a16:creationId xmlns:a16="http://schemas.microsoft.com/office/drawing/2014/main" id="{C883AD63-35E0-FDD0-52C4-46E5D66C2B51}"/>
              </a:ext>
            </a:extLst>
          </p:cNvPr>
          <p:cNvGrpSpPr/>
          <p:nvPr/>
        </p:nvGrpSpPr>
        <p:grpSpPr>
          <a:xfrm>
            <a:off x="6673692" y="1789886"/>
            <a:ext cx="2011189" cy="2631557"/>
            <a:chOff x="8898256" y="2088923"/>
            <a:chExt cx="2681585" cy="3844043"/>
          </a:xfrm>
        </p:grpSpPr>
        <p:pic>
          <p:nvPicPr>
            <p:cNvPr id="68" name="Picture 67">
              <a:extLst>
                <a:ext uri="{FF2B5EF4-FFF2-40B4-BE49-F238E27FC236}">
                  <a16:creationId xmlns:a16="http://schemas.microsoft.com/office/drawing/2014/main" id="{5AFD9069-21A9-147B-6533-8A27AF5A1CDC}"/>
                </a:ext>
              </a:extLst>
            </p:cNvPr>
            <p:cNvPicPr>
              <a:picLocks/>
            </p:cNvPicPr>
            <p:nvPr/>
          </p:nvPicPr>
          <p:blipFill rotWithShape="1">
            <a:blip r:embed="rId6" cstate="print">
              <a:extLst>
                <a:ext uri="{28A0092B-C50C-407E-A947-70E740481C1C}">
                  <a14:useLocalDpi xmlns:a14="http://schemas.microsoft.com/office/drawing/2010/main" val="0"/>
                </a:ext>
              </a:extLst>
            </a:blip>
            <a:srcRect l="27311" t="3510" r="27311" b="3154"/>
            <a:stretch/>
          </p:blipFill>
          <p:spPr>
            <a:xfrm>
              <a:off x="8898256" y="2088923"/>
              <a:ext cx="2681585" cy="3843565"/>
            </a:xfrm>
            <a:prstGeom prst="rect">
              <a:avLst/>
            </a:prstGeom>
          </p:spPr>
        </p:pic>
        <p:sp>
          <p:nvSpPr>
            <p:cNvPr id="58" name="Rectangle 57">
              <a:extLst>
                <a:ext uri="{FF2B5EF4-FFF2-40B4-BE49-F238E27FC236}">
                  <a16:creationId xmlns:a16="http://schemas.microsoft.com/office/drawing/2014/main" id="{8E1E7184-1508-237E-4F56-F3BBA2760FD2}"/>
                </a:ext>
              </a:extLst>
            </p:cNvPr>
            <p:cNvSpPr>
              <a:spLocks/>
            </p:cNvSpPr>
            <p:nvPr/>
          </p:nvSpPr>
          <p:spPr>
            <a:xfrm>
              <a:off x="8898256" y="3429478"/>
              <a:ext cx="2681585" cy="2503488"/>
            </a:xfrm>
            <a:prstGeom prst="rect">
              <a:avLst/>
            </a:prstGeom>
            <a:gradFill flip="none" rotWithShape="1">
              <a:gsLst>
                <a:gs pos="0">
                  <a:schemeClr val="tx1">
                    <a:alpha val="0"/>
                  </a:schemeClr>
                </a:gs>
                <a:gs pos="81000">
                  <a:schemeClr val="tx1"/>
                </a:gs>
              </a:gsLst>
              <a:lin ang="5400000" scaled="1"/>
              <a:tileRect/>
            </a:gra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0040" tIns="1555433" rIns="320040" bIns="937736" numCol="1" spcCol="1270" anchor="ctr" anchorCtr="0">
              <a:noAutofit/>
            </a:bodyPr>
            <a:lstStyle/>
            <a:p>
              <a:pPr algn="ctr" defTabSz="2000250">
                <a:lnSpc>
                  <a:spcPct val="90000"/>
                </a:lnSpc>
                <a:spcBef>
                  <a:spcPct val="0"/>
                </a:spcBef>
                <a:spcAft>
                  <a:spcPct val="35000"/>
                </a:spcAft>
              </a:pPr>
              <a:endParaRPr lang="en-GB" sz="4500">
                <a:solidFill>
                  <a:srgbClr val="FFFFFF"/>
                </a:solidFill>
                <a:latin typeface="Arial" panose="020B0604020202020204"/>
              </a:endParaRPr>
            </a:p>
          </p:txBody>
        </p:sp>
      </p:grpSp>
      <p:sp>
        <p:nvSpPr>
          <p:cNvPr id="61" name="Triangle 60">
            <a:extLst>
              <a:ext uri="{FF2B5EF4-FFF2-40B4-BE49-F238E27FC236}">
                <a16:creationId xmlns:a16="http://schemas.microsoft.com/office/drawing/2014/main" id="{774EBA0C-6177-4907-D6F8-4487D5B48D18}"/>
              </a:ext>
            </a:extLst>
          </p:cNvPr>
          <p:cNvSpPr/>
          <p:nvPr/>
        </p:nvSpPr>
        <p:spPr>
          <a:xfrm rot="5400000">
            <a:off x="2454345" y="4205949"/>
            <a:ext cx="231457" cy="19953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350">
              <a:solidFill>
                <a:srgbClr val="FFFFFF"/>
              </a:solidFill>
              <a:latin typeface="Arial" panose="020B0604020202020204"/>
            </a:endParaRPr>
          </a:p>
        </p:txBody>
      </p:sp>
      <p:sp>
        <p:nvSpPr>
          <p:cNvPr id="62" name="Triangle 61">
            <a:extLst>
              <a:ext uri="{FF2B5EF4-FFF2-40B4-BE49-F238E27FC236}">
                <a16:creationId xmlns:a16="http://schemas.microsoft.com/office/drawing/2014/main" id="{0C1E2A18-3E70-F334-D1EB-CF72895E7C09}"/>
              </a:ext>
            </a:extLst>
          </p:cNvPr>
          <p:cNvSpPr/>
          <p:nvPr/>
        </p:nvSpPr>
        <p:spPr>
          <a:xfrm rot="5400000">
            <a:off x="4525870" y="4205949"/>
            <a:ext cx="231457" cy="19953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350">
              <a:solidFill>
                <a:srgbClr val="FFFFFF"/>
              </a:solidFill>
              <a:latin typeface="Arial" panose="020B0604020202020204"/>
            </a:endParaRPr>
          </a:p>
        </p:txBody>
      </p:sp>
      <p:sp>
        <p:nvSpPr>
          <p:cNvPr id="63" name="Triangle 62">
            <a:extLst>
              <a:ext uri="{FF2B5EF4-FFF2-40B4-BE49-F238E27FC236}">
                <a16:creationId xmlns:a16="http://schemas.microsoft.com/office/drawing/2014/main" id="{8622DEF1-E221-6291-D480-369861D151F2}"/>
              </a:ext>
            </a:extLst>
          </p:cNvPr>
          <p:cNvSpPr/>
          <p:nvPr/>
        </p:nvSpPr>
        <p:spPr>
          <a:xfrm rot="5400000">
            <a:off x="6597396" y="4205949"/>
            <a:ext cx="231457" cy="19953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350">
              <a:solidFill>
                <a:srgbClr val="FFFFFF"/>
              </a:solidFill>
              <a:latin typeface="Arial" panose="020B0604020202020204"/>
            </a:endParaRPr>
          </a:p>
        </p:txBody>
      </p:sp>
      <p:sp>
        <p:nvSpPr>
          <p:cNvPr id="70" name="TextBox 69">
            <a:extLst>
              <a:ext uri="{FF2B5EF4-FFF2-40B4-BE49-F238E27FC236}">
                <a16:creationId xmlns:a16="http://schemas.microsoft.com/office/drawing/2014/main" id="{60DAF822-FEB1-ECE3-8791-0B5259860F5A}"/>
              </a:ext>
            </a:extLst>
          </p:cNvPr>
          <p:cNvSpPr txBox="1"/>
          <p:nvPr/>
        </p:nvSpPr>
        <p:spPr>
          <a:xfrm>
            <a:off x="725568" y="3327901"/>
            <a:ext cx="1478290" cy="276999"/>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Modify host cells </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1" name="TextBox 70">
            <a:extLst>
              <a:ext uri="{FF2B5EF4-FFF2-40B4-BE49-F238E27FC236}">
                <a16:creationId xmlns:a16="http://schemas.microsoft.com/office/drawing/2014/main" id="{B526D6FF-7476-C7E0-DA50-AE303D26C52A}"/>
              </a:ext>
            </a:extLst>
          </p:cNvPr>
          <p:cNvSpPr txBox="1"/>
          <p:nvPr/>
        </p:nvSpPr>
        <p:spPr>
          <a:xfrm>
            <a:off x="3054374" y="3327901"/>
            <a:ext cx="963726" cy="276999"/>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Grow cells</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2" name="TextBox 71">
            <a:extLst>
              <a:ext uri="{FF2B5EF4-FFF2-40B4-BE49-F238E27FC236}">
                <a16:creationId xmlns:a16="http://schemas.microsoft.com/office/drawing/2014/main" id="{C946B2DC-1F92-9B34-4C4F-B70D35D2F482}"/>
              </a:ext>
            </a:extLst>
          </p:cNvPr>
          <p:cNvSpPr txBox="1"/>
          <p:nvPr/>
        </p:nvSpPr>
        <p:spPr>
          <a:xfrm>
            <a:off x="4741179" y="3327901"/>
            <a:ext cx="1733168" cy="276999"/>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Extract, refold, purify</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3" name="TextBox 72">
            <a:extLst>
              <a:ext uri="{FF2B5EF4-FFF2-40B4-BE49-F238E27FC236}">
                <a16:creationId xmlns:a16="http://schemas.microsoft.com/office/drawing/2014/main" id="{C0AA4A84-1119-DC4D-35C0-7A6DE73A4CA4}"/>
              </a:ext>
            </a:extLst>
          </p:cNvPr>
          <p:cNvSpPr txBox="1"/>
          <p:nvPr/>
        </p:nvSpPr>
        <p:spPr>
          <a:xfrm>
            <a:off x="6789461" y="3327901"/>
            <a:ext cx="1779654" cy="461665"/>
          </a:xfrm>
          <a:prstGeom prst="rect">
            <a:avLst/>
          </a:prstGeom>
          <a:noFill/>
        </p:spPr>
        <p:txBody>
          <a:bodyPr wrap="none">
            <a:spAutoFit/>
          </a:bodyPr>
          <a:lstStyle/>
          <a:p>
            <a:pPr algn="ctr" defTabSz="685800"/>
            <a:r>
              <a:rPr lang="en-IN" sz="1200" b="1">
                <a:solidFill>
                  <a:schemeClr val="bg1"/>
                </a:solidFill>
                <a:effectLst>
                  <a:outerShdw blurRad="38100" dist="38100" dir="2700000" algn="tl">
                    <a:srgbClr val="000000">
                      <a:alpha val="43137"/>
                    </a:srgbClr>
                  </a:outerShdw>
                </a:effectLst>
                <a:latin typeface="Arial" panose="020B0604020202020204"/>
              </a:rPr>
              <a:t>Formulate to stable</a:t>
            </a:r>
            <a:br>
              <a:rPr lang="en-IN" sz="1200" b="1">
                <a:solidFill>
                  <a:schemeClr val="bg1"/>
                </a:solidFill>
                <a:effectLst>
                  <a:outerShdw blurRad="38100" dist="38100" dir="2700000" algn="tl">
                    <a:srgbClr val="000000">
                      <a:alpha val="43137"/>
                    </a:srgbClr>
                  </a:outerShdw>
                </a:effectLst>
                <a:latin typeface="Arial" panose="020B0604020202020204"/>
              </a:rPr>
            </a:br>
            <a:r>
              <a:rPr lang="en-IN" sz="1200" b="1">
                <a:solidFill>
                  <a:schemeClr val="bg1"/>
                </a:solidFill>
                <a:effectLst>
                  <a:outerShdw blurRad="38100" dist="38100" dir="2700000" algn="tl">
                    <a:srgbClr val="000000">
                      <a:alpha val="43137"/>
                    </a:srgbClr>
                  </a:outerShdw>
                </a:effectLst>
                <a:latin typeface="Arial" panose="020B0604020202020204"/>
              </a:rPr>
              <a:t>finished drug product</a:t>
            </a:r>
            <a:endParaRPr lang="en-IN" sz="1200">
              <a:solidFill>
                <a:schemeClr val="bg1"/>
              </a:solidFill>
              <a:effectLst>
                <a:outerShdw blurRad="38100" dist="38100" dir="2700000" algn="tl">
                  <a:srgbClr val="000000">
                    <a:alpha val="43137"/>
                  </a:srgbClr>
                </a:outerShdw>
              </a:effectLst>
              <a:latin typeface="Arial" panose="020B0604020202020204"/>
            </a:endParaRPr>
          </a:p>
        </p:txBody>
      </p:sp>
      <p:sp>
        <p:nvSpPr>
          <p:cNvPr id="75" name="TextBox 74">
            <a:extLst>
              <a:ext uri="{FF2B5EF4-FFF2-40B4-BE49-F238E27FC236}">
                <a16:creationId xmlns:a16="http://schemas.microsoft.com/office/drawing/2014/main" id="{C1C855A3-9A34-1D90-3442-4DC78484C2A0}"/>
              </a:ext>
            </a:extLst>
          </p:cNvPr>
          <p:cNvSpPr txBox="1"/>
          <p:nvPr/>
        </p:nvSpPr>
        <p:spPr>
          <a:xfrm>
            <a:off x="457200" y="3628495"/>
            <a:ext cx="2011189" cy="577081"/>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e.g. bacteria, yeast, mammalian) to produce recombinant proteins</a:t>
            </a:r>
            <a:r>
              <a:rPr lang="en-IN" sz="1050" baseline="30000">
                <a:solidFill>
                  <a:schemeClr val="bg2"/>
                </a:solidFill>
                <a:latin typeface="Arial" panose="020B0604020202020204" pitchFamily="34" charset="0"/>
                <a:cs typeface="Arial" panose="020B0604020202020204" pitchFamily="34" charset="0"/>
              </a:rPr>
              <a:t>1–3</a:t>
            </a:r>
            <a:r>
              <a:rPr lang="en-IN" sz="1050">
                <a:solidFill>
                  <a:schemeClr val="bg2"/>
                </a:solidFill>
                <a:latin typeface="Arial" panose="020B0604020202020204" pitchFamily="34" charset="0"/>
                <a:cs typeface="Arial" panose="020B0604020202020204" pitchFamily="34" charset="0"/>
              </a:rPr>
              <a:t> </a:t>
            </a:r>
          </a:p>
        </p:txBody>
      </p:sp>
      <p:sp>
        <p:nvSpPr>
          <p:cNvPr id="76" name="TextBox 75">
            <a:extLst>
              <a:ext uri="{FF2B5EF4-FFF2-40B4-BE49-F238E27FC236}">
                <a16:creationId xmlns:a16="http://schemas.microsoft.com/office/drawing/2014/main" id="{E7EA56BC-A111-2787-E06B-980A43AC4248}"/>
              </a:ext>
            </a:extLst>
          </p:cNvPr>
          <p:cNvSpPr txBox="1"/>
          <p:nvPr/>
        </p:nvSpPr>
        <p:spPr>
          <a:xfrm>
            <a:off x="2530644" y="3628495"/>
            <a:ext cx="2011189" cy="577081"/>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under controlled </a:t>
            </a:r>
            <a:br>
              <a:rPr lang="en-IN" sz="1050">
                <a:solidFill>
                  <a:schemeClr val="bg2"/>
                </a:solidFill>
                <a:latin typeface="Arial" panose="020B0604020202020204" pitchFamily="34" charset="0"/>
                <a:cs typeface="Arial" panose="020B0604020202020204" pitchFamily="34" charset="0"/>
              </a:rPr>
            </a:br>
            <a:r>
              <a:rPr lang="en-IN" sz="1050">
                <a:solidFill>
                  <a:schemeClr val="bg2"/>
                </a:solidFill>
                <a:latin typeface="Arial" panose="020B0604020202020204" pitchFamily="34" charset="0"/>
                <a:cs typeface="Arial" panose="020B0604020202020204" pitchFamily="34" charset="0"/>
              </a:rPr>
              <a:t>conditions (fermentation, upstream process)</a:t>
            </a:r>
            <a:r>
              <a:rPr lang="en-IN" sz="1050" baseline="30000">
                <a:solidFill>
                  <a:schemeClr val="bg2"/>
                </a:solidFill>
                <a:latin typeface="Arial" panose="020B0604020202020204" pitchFamily="34" charset="0"/>
                <a:cs typeface="Arial" panose="020B0604020202020204" pitchFamily="34" charset="0"/>
              </a:rPr>
              <a:t>2,3</a:t>
            </a:r>
          </a:p>
        </p:txBody>
      </p:sp>
      <p:sp>
        <p:nvSpPr>
          <p:cNvPr id="77" name="TextBox 76">
            <a:extLst>
              <a:ext uri="{FF2B5EF4-FFF2-40B4-BE49-F238E27FC236}">
                <a16:creationId xmlns:a16="http://schemas.microsoft.com/office/drawing/2014/main" id="{A7D98226-CABD-CAB1-9989-5B6D1B194BE2}"/>
              </a:ext>
            </a:extLst>
          </p:cNvPr>
          <p:cNvSpPr txBox="1"/>
          <p:nvPr/>
        </p:nvSpPr>
        <p:spPr>
          <a:xfrm>
            <a:off x="4602168" y="3628495"/>
            <a:ext cx="2011189" cy="415498"/>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to generate drug substance (downstream process)</a:t>
            </a:r>
            <a:r>
              <a:rPr lang="en-IN" sz="1050" baseline="30000">
                <a:solidFill>
                  <a:schemeClr val="bg2"/>
                </a:solidFill>
                <a:latin typeface="Arial" panose="020B0604020202020204" pitchFamily="34" charset="0"/>
                <a:cs typeface="Arial" panose="020B0604020202020204" pitchFamily="34" charset="0"/>
              </a:rPr>
              <a:t>3</a:t>
            </a:r>
          </a:p>
        </p:txBody>
      </p:sp>
      <p:sp>
        <p:nvSpPr>
          <p:cNvPr id="78" name="TextBox 77">
            <a:extLst>
              <a:ext uri="{FF2B5EF4-FFF2-40B4-BE49-F238E27FC236}">
                <a16:creationId xmlns:a16="http://schemas.microsoft.com/office/drawing/2014/main" id="{E5BEB828-42A2-DA6D-C9E9-C93E0BE0F20E}"/>
              </a:ext>
            </a:extLst>
          </p:cNvPr>
          <p:cNvSpPr txBox="1"/>
          <p:nvPr/>
        </p:nvSpPr>
        <p:spPr>
          <a:xfrm>
            <a:off x="6673692" y="3753855"/>
            <a:ext cx="2011189" cy="253916"/>
          </a:xfrm>
          <a:prstGeom prst="rect">
            <a:avLst/>
          </a:prstGeom>
          <a:noFill/>
        </p:spPr>
        <p:txBody>
          <a:bodyPr wrap="square">
            <a:spAutoFit/>
          </a:bodyPr>
          <a:lstStyle/>
          <a:p>
            <a:pPr algn="ctr" defTabSz="685800"/>
            <a:r>
              <a:rPr lang="en-IN" sz="1050">
                <a:solidFill>
                  <a:schemeClr val="bg2"/>
                </a:solidFill>
                <a:latin typeface="Arial" panose="020B0604020202020204" pitchFamily="34" charset="0"/>
                <a:cs typeface="Arial" panose="020B0604020202020204" pitchFamily="34" charset="0"/>
              </a:rPr>
              <a:t>vial, syringe, cartridge</a:t>
            </a:r>
            <a:r>
              <a:rPr lang="en-IN" sz="1050" baseline="30000">
                <a:solidFill>
                  <a:schemeClr val="bg2"/>
                </a:solidFill>
                <a:latin typeface="Arial" panose="020B0604020202020204" pitchFamily="34" charset="0"/>
                <a:cs typeface="Arial" panose="020B0604020202020204" pitchFamily="34" charset="0"/>
              </a:rPr>
              <a:t>3</a:t>
            </a:r>
          </a:p>
        </p:txBody>
      </p:sp>
      <p:sp>
        <p:nvSpPr>
          <p:cNvPr id="6" name="Content Placeholder 2">
            <a:extLst>
              <a:ext uri="{FF2B5EF4-FFF2-40B4-BE49-F238E27FC236}">
                <a16:creationId xmlns:a16="http://schemas.microsoft.com/office/drawing/2014/main" id="{64DB3BA6-FFA9-961B-D206-F6CA94D54C95}"/>
              </a:ext>
            </a:extLst>
          </p:cNvPr>
          <p:cNvSpPr txBox="1">
            <a:spLocks/>
          </p:cNvSpPr>
          <p:nvPr/>
        </p:nvSpPr>
        <p:spPr>
          <a:xfrm>
            <a:off x="243000" y="1009047"/>
            <a:ext cx="8229600" cy="770590"/>
          </a:xfrm>
          <a:prstGeom prst="rect">
            <a:avLst/>
          </a:prstGeom>
        </p:spPr>
        <p:txBody>
          <a:bodyPr lIns="0" numCol="1">
            <a:normAutofit lnSpcReduction="10000"/>
          </a:bodyPr>
          <a:lstStyle>
            <a:lvl1pPr marL="173831" indent="-173831" algn="l" defTabSz="914378" rtl="0" eaLnBrk="1" latinLnBrk="0" hangingPunct="1">
              <a:spcBef>
                <a:spcPts val="450"/>
              </a:spcBef>
              <a:buClrTx/>
              <a:buSzPct val="100000"/>
              <a:buFontTx/>
              <a:buBlip>
                <a:blip r:embed="rId7">
                  <a:extLst>
                    <a:ext uri="{96DAC541-7B7A-43D3-8B79-37D633B846F1}">
                      <asvg:svgBlip xmlns:asvg="http://schemas.microsoft.com/office/drawing/2016/SVG/main" r:embed="rId8"/>
                    </a:ext>
                  </a:extLst>
                </a:blip>
              </a:buBlip>
              <a:tabLst>
                <a:tab pos="3998119" algn="r"/>
                <a:tab pos="8228410" algn="r"/>
              </a:tabLst>
              <a:defRPr sz="1200" b="0" i="0" kern="1200" spc="0" baseline="0">
                <a:solidFill>
                  <a:srgbClr val="4D4D4D"/>
                </a:solidFill>
                <a:latin typeface="+mn-lt"/>
                <a:ea typeface="+mn-ea"/>
                <a:cs typeface="+mn-cs"/>
              </a:defRPr>
            </a:lvl1pPr>
            <a:lvl2pPr marL="345281" indent="-171450" algn="l" defTabSz="914378" rtl="0" eaLnBrk="1" latinLnBrk="0" hangingPunct="1">
              <a:spcBef>
                <a:spcPts val="450"/>
              </a:spcBef>
              <a:buClrTx/>
              <a:buSzPct val="100000"/>
              <a:buFontTx/>
              <a:buBlip>
                <a:blip r:embed="rId9">
                  <a:extLst>
                    <a:ext uri="{96DAC541-7B7A-43D3-8B79-37D633B846F1}">
                      <asvg:svgBlip xmlns:asvg="http://schemas.microsoft.com/office/drawing/2016/SVG/main" r:embed="rId10"/>
                    </a:ext>
                  </a:extLst>
                </a:blip>
              </a:buBlip>
              <a:tabLst/>
              <a:defRPr sz="1200" b="0" i="0" kern="1200" spc="0" baseline="0">
                <a:solidFill>
                  <a:srgbClr val="4D4D4D"/>
                </a:solidFill>
                <a:latin typeface="+mn-lt"/>
                <a:ea typeface="+mn-ea"/>
                <a:cs typeface="+mn-cs"/>
              </a:defRPr>
            </a:lvl2pPr>
            <a:lvl3pPr marL="515541" indent="-170260" algn="l" defTabSz="914378" rtl="0" eaLnBrk="1" latinLnBrk="0" hangingPunct="1">
              <a:spcBef>
                <a:spcPts val="450"/>
              </a:spcBef>
              <a:buClrTx/>
              <a:buSzPct val="100000"/>
              <a:buFontTx/>
              <a:buBlip>
                <a:blip r:embed="rId11">
                  <a:extLst>
                    <a:ext uri="{96DAC541-7B7A-43D3-8B79-37D633B846F1}">
                      <asvg:svgBlip xmlns:asvg="http://schemas.microsoft.com/office/drawing/2016/SVG/main" r:embed="rId12"/>
                    </a:ext>
                  </a:extLst>
                </a:blip>
              </a:buBlip>
              <a:tabLst/>
              <a:defRPr sz="1200" b="0" i="0" kern="1200" spc="0" baseline="0">
                <a:solidFill>
                  <a:srgbClr val="4D4D4D"/>
                </a:solidFill>
                <a:latin typeface="+mn-lt"/>
                <a:ea typeface="+mn-ea"/>
                <a:cs typeface="+mn-cs"/>
              </a:defRPr>
            </a:lvl3pPr>
            <a:lvl4pPr marL="914378" indent="-228594" algn="l" defTabSz="914378" rtl="0" eaLnBrk="1" latinLnBrk="0" hangingPunct="1">
              <a:spcBef>
                <a:spcPts val="300"/>
              </a:spcBef>
              <a:buClrTx/>
              <a:buSzPct val="100000"/>
              <a:buFont typeface="Arial" pitchFamily="34" charset="0"/>
              <a:buChar char="–"/>
              <a:defRPr sz="1200" b="0" i="0" kern="1200" spc="0" baseline="0">
                <a:solidFill>
                  <a:schemeClr val="tx2"/>
                </a:solidFill>
                <a:latin typeface="+mn-lt"/>
                <a:ea typeface="+mn-ea"/>
                <a:cs typeface="+mn-cs"/>
              </a:defRPr>
            </a:lvl4pPr>
            <a:lvl5pPr marL="1142972" indent="-228594" algn="l" defTabSz="914378" rtl="0" eaLnBrk="1" latinLnBrk="0" hangingPunct="1">
              <a:spcBef>
                <a:spcPts val="300"/>
              </a:spcBef>
              <a:buClrTx/>
              <a:buSzPct val="100000"/>
              <a:buFont typeface="Arial" pitchFamily="34" charset="0"/>
              <a:buChar char="–"/>
              <a:defRPr sz="1200" b="0" i="0" kern="1200" spc="0" baseline="0">
                <a:solidFill>
                  <a:schemeClr val="tx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buFont typeface="Arial" panose="020B0604020202020204" pitchFamily="34" charset="0"/>
              <a:buChar char="•"/>
            </a:pPr>
            <a:r>
              <a:rPr lang="en-US">
                <a:solidFill>
                  <a:schemeClr val="tx2"/>
                </a:solidFill>
              </a:rPr>
              <a:t>Biologic medicines are made from living organisms, such as mammalian cells, bacteria or yeast</a:t>
            </a:r>
            <a:r>
              <a:rPr lang="en-US" baseline="30000">
                <a:solidFill>
                  <a:schemeClr val="tx2"/>
                </a:solidFill>
              </a:rPr>
              <a:t>1,2</a:t>
            </a:r>
          </a:p>
          <a:p>
            <a:pPr>
              <a:spcBef>
                <a:spcPts val="0"/>
              </a:spcBef>
              <a:spcAft>
                <a:spcPts val="600"/>
              </a:spcAft>
              <a:buFont typeface="Arial" panose="020B0604020202020204" pitchFamily="34" charset="0"/>
              <a:buChar char="•"/>
            </a:pPr>
            <a:r>
              <a:rPr lang="en-US">
                <a:solidFill>
                  <a:schemeClr val="tx2"/>
                </a:solidFill>
              </a:rPr>
              <a:t>Biologic medicines are typically characterized by their larger size and higher complexity compared with chemically synthesized compounds</a:t>
            </a:r>
            <a:r>
              <a:rPr lang="en-US" baseline="30000">
                <a:solidFill>
                  <a:schemeClr val="tx2"/>
                </a:solidFill>
              </a:rPr>
              <a:t>1</a:t>
            </a:r>
            <a:endParaRPr lang="en-US">
              <a:solidFill>
                <a:schemeClr val="tx2"/>
              </a:solidFill>
            </a:endParaRPr>
          </a:p>
          <a:p>
            <a:pPr>
              <a:spcBef>
                <a:spcPts val="0"/>
              </a:spcBef>
              <a:spcAft>
                <a:spcPts val="600"/>
              </a:spcAft>
              <a:buFont typeface="Arial" panose="020B0604020202020204" pitchFamily="34" charset="0"/>
              <a:buChar char="•"/>
            </a:pPr>
            <a:endParaRPr lang="en-US" baseline="30000">
              <a:solidFill>
                <a:schemeClr val="tx2"/>
              </a:solidFill>
            </a:endParaRPr>
          </a:p>
        </p:txBody>
      </p:sp>
      <p:sp>
        <p:nvSpPr>
          <p:cNvPr id="8" name="Slide Number Placeholder 5">
            <a:extLst>
              <a:ext uri="{FF2B5EF4-FFF2-40B4-BE49-F238E27FC236}">
                <a16:creationId xmlns:a16="http://schemas.microsoft.com/office/drawing/2014/main" id="{0BBEC711-5680-AFA1-4DF3-7B5E46CFFD31}"/>
              </a:ext>
            </a:extLst>
          </p:cNvPr>
          <p:cNvSpPr>
            <a:spLocks noGrp="1"/>
          </p:cNvSpPr>
          <p:nvPr>
            <p:ph type="sldNum" sz="quarter" idx="12"/>
          </p:nvPr>
        </p:nvSpPr>
        <p:spPr>
          <a:xfrm>
            <a:off x="243001" y="4827355"/>
            <a:ext cx="148500" cy="135000"/>
          </a:xfrm>
        </p:spPr>
        <p:txBody>
          <a:bodyPr/>
          <a:lstStyle/>
          <a:p>
            <a:fld id="{47547CF9-5B10-D24F-A8D7-45A9778164F7}" type="slidenum">
              <a:rPr lang="uk-UA" smtClean="0"/>
              <a:pPr/>
              <a:t>7</a:t>
            </a:fld>
            <a:endParaRPr lang="uk-UA"/>
          </a:p>
        </p:txBody>
      </p:sp>
      <p:sp>
        <p:nvSpPr>
          <p:cNvPr id="7" name="Footer Placeholder 1">
            <a:extLst>
              <a:ext uri="{FF2B5EF4-FFF2-40B4-BE49-F238E27FC236}">
                <a16:creationId xmlns:a16="http://schemas.microsoft.com/office/drawing/2014/main" id="{17C366BD-150B-7BBB-7C53-58D70F00AB2A}"/>
              </a:ext>
            </a:extLst>
          </p:cNvPr>
          <p:cNvSpPr>
            <a:spLocks noGrp="1"/>
          </p:cNvSpPr>
          <p:nvPr>
            <p:ph type="ftr" sz="quarter" idx="11"/>
          </p:nvPr>
        </p:nvSpPr>
        <p:spPr>
          <a:xfrm>
            <a:off x="420573" y="4444681"/>
            <a:ext cx="7281977" cy="520288"/>
          </a:xfrm>
        </p:spPr>
        <p:txBody>
          <a:bodyPr/>
          <a:lstStyle/>
          <a:p>
            <a:pPr defTabSz="685800">
              <a:buSzTx/>
              <a:tabLst/>
              <a:defRPr/>
            </a:pPr>
            <a:r>
              <a:rPr lang="en-US" sz="500" dirty="0"/>
              <a:t>1. ESN. 2018. Switch Management between Similar Biological Medicines. Available at: https://www.medicinesforeurope.com/wp-content/uploads/2018/06/biosimilar-nurses-guideline-final.pdf. Accessed March 2023; 2. US FDA. Overview of Biosimilar Products. Available at: https://www.fda.gov/media/151058/download. Accessed June 2024; 3. Medicines for Europe. Biosimilar medicine handbook. Available at: https://www.medicinesforeurope.com/wp-content/uploads/2016/04/Medicines-for-Europe_BIOSIMILARS_INT_web.pdf. Accessed August 2023</a:t>
            </a:r>
          </a:p>
        </p:txBody>
      </p:sp>
    </p:spTree>
    <p:extLst>
      <p:ext uri="{BB962C8B-B14F-4D97-AF65-F5344CB8AC3E}">
        <p14:creationId xmlns:p14="http://schemas.microsoft.com/office/powerpoint/2010/main" val="953451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7BE352-3B90-3461-9B65-3F623AFE9D8F}"/>
            </a:ext>
          </a:extLst>
        </p:cNvPr>
        <p:cNvGrpSpPr/>
        <p:nvPr/>
      </p:nvGrpSpPr>
      <p:grpSpPr>
        <a:xfrm>
          <a:off x="0" y="0"/>
          <a:ext cx="0" cy="0"/>
          <a:chOff x="0" y="0"/>
          <a:chExt cx="0" cy="0"/>
        </a:xfrm>
      </p:grpSpPr>
      <p:sp>
        <p:nvSpPr>
          <p:cNvPr id="1081" name="Rectangle 1080">
            <a:extLst>
              <a:ext uri="{FF2B5EF4-FFF2-40B4-BE49-F238E27FC236}">
                <a16:creationId xmlns:a16="http://schemas.microsoft.com/office/drawing/2014/main" id="{7D726D3A-0856-3D2D-0870-1E91D54DE260}"/>
              </a:ext>
            </a:extLst>
          </p:cNvPr>
          <p:cNvSpPr>
            <a:spLocks/>
          </p:cNvSpPr>
          <p:nvPr/>
        </p:nvSpPr>
        <p:spPr>
          <a:xfrm>
            <a:off x="240427" y="2761559"/>
            <a:ext cx="4114440" cy="1750116"/>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E6208AD4-687D-238B-9FC7-774ECCA99328}"/>
              </a:ext>
            </a:extLst>
          </p:cNvPr>
          <p:cNvSpPr>
            <a:spLocks/>
          </p:cNvSpPr>
          <p:nvPr/>
        </p:nvSpPr>
        <p:spPr>
          <a:xfrm>
            <a:off x="4784273" y="2761559"/>
            <a:ext cx="4114440" cy="1750114"/>
          </a:xfrm>
          <a:prstGeom prst="rect">
            <a:avLst/>
          </a:prstGeom>
          <a:solidFill>
            <a:schemeClr val="bg1"/>
          </a:solidFill>
          <a:ln w="63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416548-6293-820A-1593-5176BB5400F5}"/>
              </a:ext>
            </a:extLst>
          </p:cNvPr>
          <p:cNvSpPr>
            <a:spLocks noGrp="1"/>
          </p:cNvSpPr>
          <p:nvPr>
            <p:ph type="title"/>
          </p:nvPr>
        </p:nvSpPr>
        <p:spPr/>
        <p:txBody>
          <a:bodyPr vert="horz" lIns="0" tIns="0" rIns="0" bIns="0" rtlCol="0" anchor="t" anchorCtr="0">
            <a:noAutofit/>
          </a:bodyPr>
          <a:lstStyle/>
          <a:p>
            <a:r>
              <a:rPr lang="en-US"/>
              <a:t>Variability is in the nature of all biologic medicines</a:t>
            </a:r>
          </a:p>
        </p:txBody>
      </p:sp>
      <p:sp>
        <p:nvSpPr>
          <p:cNvPr id="9" name="Footer Placeholder 8">
            <a:extLst>
              <a:ext uri="{FF2B5EF4-FFF2-40B4-BE49-F238E27FC236}">
                <a16:creationId xmlns:a16="http://schemas.microsoft.com/office/drawing/2014/main" id="{F7B65BA2-1D43-6C3D-6F35-12F7AF2C919C}"/>
              </a:ext>
            </a:extLst>
          </p:cNvPr>
          <p:cNvSpPr>
            <a:spLocks noGrp="1"/>
          </p:cNvSpPr>
          <p:nvPr>
            <p:ph type="ftr" sz="quarter" idx="11"/>
          </p:nvPr>
        </p:nvSpPr>
        <p:spPr>
          <a:xfrm>
            <a:off x="420573" y="4691235"/>
            <a:ext cx="7406640" cy="271119"/>
          </a:xfrm>
        </p:spPr>
        <p:txBody>
          <a:bodyPr/>
          <a:lstStyle/>
          <a:p>
            <a:r>
              <a:rPr lang="en-US" altLang="en-US" sz="500" noProof="1"/>
              <a:t>kDA, kilodalton; VEGF-A, vascular endothelial growth factor-specific angiogenesis</a:t>
            </a:r>
          </a:p>
          <a:p>
            <a:r>
              <a:rPr lang="en-US" altLang="en-US" sz="500" noProof="1"/>
              <a:t>1. US FDA. Biological product definition. Available at: https://www.fda.gov/files/drugs/published/Biological-Product-Definitions.pdf. Accessed June 2024; 2. Oliva A, Llabrés M. </a:t>
            </a:r>
            <a:r>
              <a:rPr lang="en-US" altLang="en-US" sz="500" i="1" noProof="1"/>
              <a:t>Pharmaceuticals</a:t>
            </a:r>
            <a:r>
              <a:rPr lang="en-US" altLang="en-US" sz="500" noProof="1"/>
              <a:t> 2021;14(527):1–10; 3. Vezér B, et al. </a:t>
            </a:r>
            <a:r>
              <a:rPr lang="en-US" altLang="en-US" sz="500" i="1" noProof="1"/>
              <a:t>Curr Med Res Opin </a:t>
            </a:r>
            <a:r>
              <a:rPr lang="en-US" altLang="en-US" sz="500" noProof="1"/>
              <a:t>2016;32(5):829–834; 4. </a:t>
            </a:r>
            <a:r>
              <a:rPr lang="en-US" sz="500" noProof="0" dirty="0" err="1"/>
              <a:t>Schiestl</a:t>
            </a:r>
            <a:r>
              <a:rPr lang="en-US" sz="500" noProof="0" dirty="0"/>
              <a:t> M, et al. </a:t>
            </a:r>
            <a:r>
              <a:rPr lang="en-US" sz="500" i="1" noProof="0" dirty="0"/>
              <a:t>Nat </a:t>
            </a:r>
            <a:r>
              <a:rPr lang="en-US" sz="500" i="1" noProof="0" dirty="0" err="1"/>
              <a:t>Biotechnol</a:t>
            </a:r>
            <a:r>
              <a:rPr lang="en-US" sz="500" i="1" noProof="0" dirty="0"/>
              <a:t> </a:t>
            </a:r>
            <a:r>
              <a:rPr lang="en-US" sz="500" noProof="0" dirty="0"/>
              <a:t>2011;29:310–312.</a:t>
            </a:r>
            <a:endParaRPr lang="en-US" altLang="en-US" sz="500" noProof="1"/>
          </a:p>
        </p:txBody>
      </p:sp>
      <p:sp>
        <p:nvSpPr>
          <p:cNvPr id="5" name="Slide Number Placeholder 4">
            <a:extLst>
              <a:ext uri="{FF2B5EF4-FFF2-40B4-BE49-F238E27FC236}">
                <a16:creationId xmlns:a16="http://schemas.microsoft.com/office/drawing/2014/main" id="{CA0EA1DB-BBA8-07EB-130A-79B2CF446193}"/>
              </a:ext>
            </a:extLst>
          </p:cNvPr>
          <p:cNvSpPr>
            <a:spLocks noGrp="1"/>
          </p:cNvSpPr>
          <p:nvPr>
            <p:ph type="sldNum" sz="quarter" idx="12"/>
          </p:nvPr>
        </p:nvSpPr>
        <p:spPr/>
        <p:txBody>
          <a:bodyPr/>
          <a:lstStyle/>
          <a:p>
            <a:fld id="{47547CF9-5B10-D24F-A8D7-45A9778164F7}" type="slidenum">
              <a:rPr lang="uk-UA" smtClean="0"/>
              <a:pPr/>
              <a:t>8</a:t>
            </a:fld>
            <a:endParaRPr lang="uk-UA"/>
          </a:p>
        </p:txBody>
      </p:sp>
      <p:sp>
        <p:nvSpPr>
          <p:cNvPr id="45" name="TextBox 44">
            <a:extLst>
              <a:ext uri="{FF2B5EF4-FFF2-40B4-BE49-F238E27FC236}">
                <a16:creationId xmlns:a16="http://schemas.microsoft.com/office/drawing/2014/main" id="{B8A7D5D5-96D5-B90F-BAA2-2C27D860393C}"/>
              </a:ext>
            </a:extLst>
          </p:cNvPr>
          <p:cNvSpPr txBox="1"/>
          <p:nvPr/>
        </p:nvSpPr>
        <p:spPr>
          <a:xfrm>
            <a:off x="4784273" y="4544320"/>
            <a:ext cx="1865895" cy="80791"/>
          </a:xfrm>
          <a:prstGeom prst="rect">
            <a:avLst/>
          </a:prstGeom>
        </p:spPr>
        <p:txBody>
          <a:bodyPr vert="horz" wrap="non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defTabSz="914378">
              <a:tabLst>
                <a:tab pos="3998119" algn="r"/>
                <a:tab pos="8228410" algn="r"/>
              </a:tabLst>
            </a:pPr>
            <a:r>
              <a:rPr lang="en-US" altLang="en-US" sz="525" noProof="1">
                <a:solidFill>
                  <a:schemeClr val="accent1"/>
                </a:solidFill>
                <a:latin typeface="Arial" panose="020B0604020202020204"/>
              </a:rPr>
              <a:t>Figure from </a:t>
            </a:r>
            <a:r>
              <a:rPr lang="en-US" sz="525" dirty="0" err="1">
                <a:solidFill>
                  <a:schemeClr val="accent1"/>
                </a:solidFill>
                <a:latin typeface="Arial" panose="020B0604020202020204"/>
              </a:rPr>
              <a:t>Schiestl</a:t>
            </a:r>
            <a:r>
              <a:rPr lang="en-US" sz="525" dirty="0">
                <a:solidFill>
                  <a:schemeClr val="accent1"/>
                </a:solidFill>
                <a:latin typeface="Arial" panose="020B0604020202020204"/>
              </a:rPr>
              <a:t> M, et al. Nat </a:t>
            </a:r>
            <a:r>
              <a:rPr lang="en-US" sz="525" dirty="0" err="1">
                <a:solidFill>
                  <a:schemeClr val="accent1"/>
                </a:solidFill>
                <a:latin typeface="Arial" panose="020B0604020202020204"/>
              </a:rPr>
              <a:t>Biotechnol</a:t>
            </a:r>
            <a:r>
              <a:rPr lang="en-US" sz="525" dirty="0">
                <a:solidFill>
                  <a:schemeClr val="accent1"/>
                </a:solidFill>
                <a:latin typeface="Arial" panose="020B0604020202020204"/>
              </a:rPr>
              <a:t> 2011;29:310–312.</a:t>
            </a:r>
          </a:p>
        </p:txBody>
      </p:sp>
      <p:sp>
        <p:nvSpPr>
          <p:cNvPr id="54" name="TextBox 53">
            <a:extLst>
              <a:ext uri="{FF2B5EF4-FFF2-40B4-BE49-F238E27FC236}">
                <a16:creationId xmlns:a16="http://schemas.microsoft.com/office/drawing/2014/main" id="{D41F6357-42AA-E948-D7A2-113FBBFB5837}"/>
              </a:ext>
            </a:extLst>
          </p:cNvPr>
          <p:cNvSpPr txBox="1"/>
          <p:nvPr/>
        </p:nvSpPr>
        <p:spPr>
          <a:xfrm>
            <a:off x="243000" y="4539840"/>
            <a:ext cx="2674330" cy="80791"/>
          </a:xfrm>
          <a:prstGeom prst="rect">
            <a:avLst/>
          </a:prstGeom>
        </p:spPr>
        <p:txBody>
          <a:bodyPr vert="horz" wrap="square" lIns="0" tIns="0" rIns="0" bIns="0" spcCol="182880" rtlCol="0" anchor="b">
            <a:spAutoFit/>
          </a:bodyPr>
          <a:lstStyle>
            <a:lvl1pPr indent="0" defTabSz="1219170">
              <a:spcBef>
                <a:spcPts val="0"/>
              </a:spcBef>
              <a:buClrTx/>
              <a:buSzPct val="100000"/>
              <a:buFontTx/>
              <a:buNone/>
              <a:tabLst>
                <a:tab pos="5330825" algn="r"/>
                <a:tab pos="10971213" algn="r"/>
              </a:tabLst>
              <a:defRPr sz="700" b="0" i="0" spc="0" baseline="0">
                <a:solidFill>
                  <a:schemeClr val="tx2"/>
                </a:solidFill>
              </a:defRPr>
            </a:lvl1pPr>
            <a:lvl2pPr marL="460375" indent="-228600" defTabSz="1219170">
              <a:spcBef>
                <a:spcPts val="600"/>
              </a:spcBef>
              <a:buClrTx/>
              <a:buSzPct val="100000"/>
              <a:buFontTx/>
              <a:buBlip>
                <a:blip r:embed="rId3">
                  <a:extLst>
                    <a:ext uri="{96DAC541-7B7A-43D3-8B79-37D633B846F1}">
                      <asvg:svgBlip xmlns:asvg="http://schemas.microsoft.com/office/drawing/2016/SVG/main" r:embed="rId4"/>
                    </a:ext>
                  </a:extLst>
                </a:blip>
              </a:buBlip>
              <a:tabLst/>
              <a:defRPr sz="1600" b="0" i="0" spc="0" baseline="0">
                <a:solidFill>
                  <a:srgbClr val="4D4D4D"/>
                </a:solidFill>
              </a:defRPr>
            </a:lvl2pPr>
            <a:lvl3pPr marL="687388" indent="-227013" defTabSz="1219170">
              <a:spcBef>
                <a:spcPts val="600"/>
              </a:spcBef>
              <a:buClrTx/>
              <a:buSzPct val="100000"/>
              <a:buFontTx/>
              <a:buBlip>
                <a:blip r:embed="rId5">
                  <a:extLst>
                    <a:ext uri="{96DAC541-7B7A-43D3-8B79-37D633B846F1}">
                      <asvg:svgBlip xmlns:asvg="http://schemas.microsoft.com/office/drawing/2016/SVG/main" r:embed="rId6"/>
                    </a:ext>
                  </a:extLst>
                </a:blip>
              </a:buBlip>
              <a:tabLst/>
              <a:defRPr sz="1600" b="0" i="0" spc="0" baseline="0">
                <a:solidFill>
                  <a:srgbClr val="4D4D4D"/>
                </a:solidFill>
              </a:defRPr>
            </a:lvl3pPr>
            <a:lvl4pPr marL="1219170" indent="-304792" defTabSz="1219170">
              <a:spcBef>
                <a:spcPts val="400"/>
              </a:spcBef>
              <a:buClrTx/>
              <a:buSzPct val="100000"/>
              <a:buFont typeface="Arial" pitchFamily="34" charset="0"/>
              <a:buChar char="–"/>
              <a:defRPr sz="1600" b="0" i="0" spc="0" baseline="0">
                <a:solidFill>
                  <a:schemeClr val="tx2"/>
                </a:solidFill>
              </a:defRPr>
            </a:lvl4pPr>
            <a:lvl5pPr marL="1523962" indent="-304792" defTabSz="1219170">
              <a:spcBef>
                <a:spcPts val="400"/>
              </a:spcBef>
              <a:buClrTx/>
              <a:buSzPct val="100000"/>
              <a:buFont typeface="Arial" pitchFamily="34" charset="0"/>
              <a:buChar char="–"/>
              <a:defRPr sz="1600" b="0" i="0" spc="0" baseline="0">
                <a:solidFill>
                  <a:schemeClr val="tx2"/>
                </a:solidFill>
              </a:defRPr>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defTabSz="914378">
              <a:tabLst>
                <a:tab pos="3998119" algn="r"/>
                <a:tab pos="8228410" algn="r"/>
              </a:tabLst>
            </a:pPr>
            <a:r>
              <a:rPr lang="en-GB" sz="525" noProof="1">
                <a:solidFill>
                  <a:schemeClr val="accent1"/>
                </a:solidFill>
                <a:latin typeface="Arial" panose="020B0604020202020204"/>
              </a:rPr>
              <a:t>F</a:t>
            </a:r>
            <a:r>
              <a:rPr lang="en-US" sz="525" noProof="1">
                <a:solidFill>
                  <a:schemeClr val="accent1"/>
                </a:solidFill>
                <a:latin typeface="Arial" panose="020B0604020202020204"/>
              </a:rPr>
              <a:t>igure from: Oliva A, Llabr</a:t>
            </a:r>
            <a:r>
              <a:rPr lang="en-US" altLang="en-US" sz="525" noProof="1">
                <a:solidFill>
                  <a:schemeClr val="accent1"/>
                </a:solidFill>
                <a:latin typeface="Arial" panose="020B0604020202020204"/>
              </a:rPr>
              <a:t>és M. Pharmaceuticals 2021;14(527):1–10.</a:t>
            </a:r>
            <a:endParaRPr lang="en-US" sz="525" dirty="0">
              <a:solidFill>
                <a:schemeClr val="accent1"/>
              </a:solidFill>
              <a:latin typeface="Arial" panose="020B0604020202020204"/>
            </a:endParaRPr>
          </a:p>
        </p:txBody>
      </p:sp>
      <p:grpSp>
        <p:nvGrpSpPr>
          <p:cNvPr id="1066" name="Group 1065">
            <a:extLst>
              <a:ext uri="{FF2B5EF4-FFF2-40B4-BE49-F238E27FC236}">
                <a16:creationId xmlns:a16="http://schemas.microsoft.com/office/drawing/2014/main" id="{2BC8149C-38E8-D511-B01E-F60400C8A7CE}"/>
              </a:ext>
            </a:extLst>
          </p:cNvPr>
          <p:cNvGrpSpPr/>
          <p:nvPr/>
        </p:nvGrpSpPr>
        <p:grpSpPr>
          <a:xfrm>
            <a:off x="1888805" y="775058"/>
            <a:ext cx="5326648" cy="1898464"/>
            <a:chOff x="1917833" y="1034002"/>
            <a:chExt cx="5326648" cy="1898464"/>
          </a:xfrm>
        </p:grpSpPr>
        <p:sp>
          <p:nvSpPr>
            <p:cNvPr id="1035" name="Freeform 1034">
              <a:extLst>
                <a:ext uri="{FF2B5EF4-FFF2-40B4-BE49-F238E27FC236}">
                  <a16:creationId xmlns:a16="http://schemas.microsoft.com/office/drawing/2014/main" id="{48F9EA6E-E166-1E43-5E07-9F7B71B2C95C}"/>
                </a:ext>
              </a:extLst>
            </p:cNvPr>
            <p:cNvSpPr/>
            <p:nvPr/>
          </p:nvSpPr>
          <p:spPr>
            <a:xfrm>
              <a:off x="4000409" y="1593973"/>
              <a:ext cx="1146358" cy="1151712"/>
            </a:xfrm>
            <a:custGeom>
              <a:avLst/>
              <a:gdLst>
                <a:gd name="connsiteX0" fmla="*/ 1019175 w 1019175"/>
                <a:gd name="connsiteY0" fmla="*/ 511969 h 1023937"/>
                <a:gd name="connsiteX1" fmla="*/ 509588 w 1019175"/>
                <a:gd name="connsiteY1" fmla="*/ 1023938 h 1023937"/>
                <a:gd name="connsiteX2" fmla="*/ 0 w 1019175"/>
                <a:gd name="connsiteY2" fmla="*/ 511969 h 1023937"/>
                <a:gd name="connsiteX3" fmla="*/ 509588 w 1019175"/>
                <a:gd name="connsiteY3" fmla="*/ 0 h 1023937"/>
                <a:gd name="connsiteX4" fmla="*/ 1019175 w 1019175"/>
                <a:gd name="connsiteY4" fmla="*/ 511969 h 1023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175" h="1023937">
                  <a:moveTo>
                    <a:pt x="1019175" y="511969"/>
                  </a:moveTo>
                  <a:cubicBezTo>
                    <a:pt x="1019175" y="794721"/>
                    <a:pt x="791025" y="1023938"/>
                    <a:pt x="509588" y="1023938"/>
                  </a:cubicBezTo>
                  <a:cubicBezTo>
                    <a:pt x="228150" y="1023938"/>
                    <a:pt x="0" y="794721"/>
                    <a:pt x="0" y="511969"/>
                  </a:cubicBezTo>
                  <a:cubicBezTo>
                    <a:pt x="0" y="229216"/>
                    <a:pt x="228150" y="0"/>
                    <a:pt x="509588" y="0"/>
                  </a:cubicBezTo>
                  <a:cubicBezTo>
                    <a:pt x="791025" y="0"/>
                    <a:pt x="1019175" y="229216"/>
                    <a:pt x="1019175" y="511969"/>
                  </a:cubicBezTo>
                  <a:close/>
                </a:path>
              </a:pathLst>
            </a:custGeom>
            <a:solidFill>
              <a:schemeClr val="accent1"/>
            </a:solidFill>
            <a:ln w="0" cap="flat">
              <a:noFill/>
              <a:prstDash val="solid"/>
              <a:miter/>
            </a:ln>
          </p:spPr>
          <p:txBody>
            <a:bodyPr rtlCol="0" anchor="ctr"/>
            <a:lstStyle/>
            <a:p>
              <a:pPr algn="ctr"/>
              <a:r>
                <a:rPr lang="en-US" sz="900" b="1" dirty="0">
                  <a:solidFill>
                    <a:schemeClr val="bg1"/>
                  </a:solidFill>
                </a:rPr>
                <a:t>Variability is tightly controlled to be within acceptable limits</a:t>
              </a:r>
              <a:r>
                <a:rPr lang="en-US" sz="900" b="1" baseline="30000" dirty="0">
                  <a:solidFill>
                    <a:schemeClr val="bg1"/>
                  </a:solidFill>
                </a:rPr>
                <a:t>1</a:t>
              </a:r>
            </a:p>
          </p:txBody>
        </p:sp>
        <p:sp>
          <p:nvSpPr>
            <p:cNvPr id="1036" name="Freeform 1035">
              <a:extLst>
                <a:ext uri="{FF2B5EF4-FFF2-40B4-BE49-F238E27FC236}">
                  <a16:creationId xmlns:a16="http://schemas.microsoft.com/office/drawing/2014/main" id="{F3410380-1FD4-777F-3637-B7B5303433D6}"/>
                </a:ext>
              </a:extLst>
            </p:cNvPr>
            <p:cNvSpPr/>
            <p:nvPr/>
          </p:nvSpPr>
          <p:spPr>
            <a:xfrm rot="589629">
              <a:off x="1917833" y="1034002"/>
              <a:ext cx="2075888" cy="1882674"/>
            </a:xfrm>
            <a:custGeom>
              <a:avLst/>
              <a:gdLst>
                <a:gd name="connsiteX0" fmla="*/ 2478500 w 2478595"/>
                <a:gd name="connsiteY0" fmla="*/ 907923 h 2247900"/>
                <a:gd name="connsiteX1" fmla="*/ 2216277 w 2478595"/>
                <a:gd name="connsiteY1" fmla="*/ 850583 h 2247900"/>
                <a:gd name="connsiteX2" fmla="*/ 2122837 w 2478595"/>
                <a:gd name="connsiteY2" fmla="*/ 604361 h 2247900"/>
                <a:gd name="connsiteX3" fmla="*/ 1740408 w 2478595"/>
                <a:gd name="connsiteY3" fmla="*/ 183261 h 2247900"/>
                <a:gd name="connsiteX4" fmla="*/ 1125188 w 2478595"/>
                <a:gd name="connsiteY4" fmla="*/ 0 h 2247900"/>
                <a:gd name="connsiteX5" fmla="*/ 0 w 2478595"/>
                <a:gd name="connsiteY5" fmla="*/ 1123950 h 2247900"/>
                <a:gd name="connsiteX6" fmla="*/ 1125188 w 2478595"/>
                <a:gd name="connsiteY6" fmla="*/ 2247900 h 2247900"/>
                <a:gd name="connsiteX7" fmla="*/ 1740503 w 2478595"/>
                <a:gd name="connsiteY7" fmla="*/ 2064544 h 2247900"/>
                <a:gd name="connsiteX8" fmla="*/ 2122932 w 2478595"/>
                <a:gd name="connsiteY8" fmla="*/ 1643443 h 2247900"/>
                <a:gd name="connsiteX9" fmla="*/ 2216372 w 2478595"/>
                <a:gd name="connsiteY9" fmla="*/ 1397222 h 2247900"/>
                <a:gd name="connsiteX10" fmla="*/ 2477548 w 2478595"/>
                <a:gd name="connsiteY10" fmla="*/ 1341501 h 2247900"/>
                <a:gd name="connsiteX11" fmla="*/ 2440972 w 2478595"/>
                <a:gd name="connsiteY11" fmla="*/ 1126236 h 2247900"/>
                <a:gd name="connsiteX12" fmla="*/ 2478596 w 2478595"/>
                <a:gd name="connsiteY12" fmla="*/ 907828 h 2247900"/>
                <a:gd name="connsiteX13" fmla="*/ 2099024 w 2478595"/>
                <a:gd name="connsiteY13" fmla="*/ 1458373 h 2247900"/>
                <a:gd name="connsiteX14" fmla="*/ 2036159 w 2478595"/>
                <a:gd name="connsiteY14" fmla="*/ 1602677 h 2247900"/>
                <a:gd name="connsiteX15" fmla="*/ 1759077 w 2478595"/>
                <a:gd name="connsiteY15" fmla="*/ 1933766 h 2247900"/>
                <a:gd name="connsiteX16" fmla="*/ 1125093 w 2478595"/>
                <a:gd name="connsiteY16" fmla="*/ 2152745 h 2247900"/>
                <a:gd name="connsiteX17" fmla="*/ 95155 w 2478595"/>
                <a:gd name="connsiteY17" fmla="*/ 1123855 h 2247900"/>
                <a:gd name="connsiteX18" fmla="*/ 1125188 w 2478595"/>
                <a:gd name="connsiteY18" fmla="*/ 95059 h 2247900"/>
                <a:gd name="connsiteX19" fmla="*/ 1759172 w 2478595"/>
                <a:gd name="connsiteY19" fmla="*/ 314039 h 2247900"/>
                <a:gd name="connsiteX20" fmla="*/ 2036255 w 2478595"/>
                <a:gd name="connsiteY20" fmla="*/ 645128 h 2247900"/>
                <a:gd name="connsiteX21" fmla="*/ 2099120 w 2478595"/>
                <a:gd name="connsiteY21" fmla="*/ 791147 h 2247900"/>
                <a:gd name="connsiteX22" fmla="*/ 2155222 w 2478595"/>
                <a:gd name="connsiteY22" fmla="*/ 1123950 h 2247900"/>
                <a:gd name="connsiteX23" fmla="*/ 2099120 w 2478595"/>
                <a:gd name="connsiteY23" fmla="*/ 1458373 h 224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78595" h="2247900">
                  <a:moveTo>
                    <a:pt x="2478500" y="907923"/>
                  </a:moveTo>
                  <a:cubicBezTo>
                    <a:pt x="2385632" y="903827"/>
                    <a:pt x="2297716" y="883730"/>
                    <a:pt x="2216277" y="850583"/>
                  </a:cubicBezTo>
                  <a:cubicBezTo>
                    <a:pt x="2194179" y="764000"/>
                    <a:pt x="2163604" y="682466"/>
                    <a:pt x="2122837" y="604361"/>
                  </a:cubicBezTo>
                  <a:cubicBezTo>
                    <a:pt x="2032730" y="434626"/>
                    <a:pt x="1901857" y="288608"/>
                    <a:pt x="1740408" y="183261"/>
                  </a:cubicBezTo>
                  <a:cubicBezTo>
                    <a:pt x="1563624" y="67913"/>
                    <a:pt x="1352931" y="0"/>
                    <a:pt x="1125188" y="0"/>
                  </a:cubicBezTo>
                  <a:cubicBezTo>
                    <a:pt x="503111" y="0"/>
                    <a:pt x="0" y="504254"/>
                    <a:pt x="0" y="1123950"/>
                  </a:cubicBezTo>
                  <a:cubicBezTo>
                    <a:pt x="0" y="1743647"/>
                    <a:pt x="503111" y="2247900"/>
                    <a:pt x="1125188" y="2247900"/>
                  </a:cubicBezTo>
                  <a:cubicBezTo>
                    <a:pt x="1352931" y="2247900"/>
                    <a:pt x="1563719" y="2181701"/>
                    <a:pt x="1740503" y="2064544"/>
                  </a:cubicBezTo>
                  <a:cubicBezTo>
                    <a:pt x="1901952" y="1959293"/>
                    <a:pt x="2032826" y="1814989"/>
                    <a:pt x="2122932" y="1643443"/>
                  </a:cubicBezTo>
                  <a:cubicBezTo>
                    <a:pt x="2163699" y="1567053"/>
                    <a:pt x="2194274" y="1483805"/>
                    <a:pt x="2216372" y="1397222"/>
                  </a:cubicBezTo>
                  <a:cubicBezTo>
                    <a:pt x="2297525" y="1364171"/>
                    <a:pt x="2385060" y="1344073"/>
                    <a:pt x="2477548" y="1341501"/>
                  </a:cubicBezTo>
                  <a:cubicBezTo>
                    <a:pt x="2453926" y="1274159"/>
                    <a:pt x="2440972" y="1201769"/>
                    <a:pt x="2440972" y="1126236"/>
                  </a:cubicBezTo>
                  <a:cubicBezTo>
                    <a:pt x="2440972" y="1050703"/>
                    <a:pt x="2454307" y="976122"/>
                    <a:pt x="2478596" y="907828"/>
                  </a:cubicBezTo>
                  <a:close/>
                  <a:moveTo>
                    <a:pt x="2099024" y="1458373"/>
                  </a:moveTo>
                  <a:cubicBezTo>
                    <a:pt x="2082070" y="1507617"/>
                    <a:pt x="2059972" y="1556861"/>
                    <a:pt x="2036159" y="1602677"/>
                  </a:cubicBezTo>
                  <a:cubicBezTo>
                    <a:pt x="1968151" y="1731740"/>
                    <a:pt x="1872996" y="1845469"/>
                    <a:pt x="1759077" y="1933766"/>
                  </a:cubicBezTo>
                  <a:cubicBezTo>
                    <a:pt x="1584008" y="2071307"/>
                    <a:pt x="1364742" y="2152745"/>
                    <a:pt x="1125093" y="2152745"/>
                  </a:cubicBezTo>
                  <a:cubicBezTo>
                    <a:pt x="555689" y="2152745"/>
                    <a:pt x="95155" y="1692593"/>
                    <a:pt x="95155" y="1123855"/>
                  </a:cubicBezTo>
                  <a:cubicBezTo>
                    <a:pt x="95155" y="555117"/>
                    <a:pt x="555784" y="95059"/>
                    <a:pt x="1125188" y="95059"/>
                  </a:cubicBezTo>
                  <a:cubicBezTo>
                    <a:pt x="1364837" y="95059"/>
                    <a:pt x="1584103" y="176594"/>
                    <a:pt x="1759172" y="314039"/>
                  </a:cubicBezTo>
                  <a:cubicBezTo>
                    <a:pt x="1873091" y="404050"/>
                    <a:pt x="1968246" y="516065"/>
                    <a:pt x="2036255" y="645128"/>
                  </a:cubicBezTo>
                  <a:cubicBezTo>
                    <a:pt x="2060067" y="692658"/>
                    <a:pt x="2082165" y="740188"/>
                    <a:pt x="2099120" y="791147"/>
                  </a:cubicBezTo>
                  <a:cubicBezTo>
                    <a:pt x="2134838" y="894683"/>
                    <a:pt x="2155222" y="1006793"/>
                    <a:pt x="2155222" y="1123950"/>
                  </a:cubicBezTo>
                  <a:cubicBezTo>
                    <a:pt x="2155222" y="1241108"/>
                    <a:pt x="2134838" y="1353122"/>
                    <a:pt x="2099120" y="1458373"/>
                  </a:cubicBezTo>
                  <a:close/>
                </a:path>
              </a:pathLst>
            </a:custGeom>
            <a:solidFill>
              <a:schemeClr val="accent2"/>
            </a:solidFill>
            <a:ln w="0"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D82CE1B9-1C09-BCEC-83CD-3631AF880D3E}"/>
                </a:ext>
              </a:extLst>
            </p:cNvPr>
            <p:cNvSpPr/>
            <p:nvPr/>
          </p:nvSpPr>
          <p:spPr>
            <a:xfrm rot="21137613">
              <a:off x="5168673" y="1049632"/>
              <a:ext cx="2075808" cy="1882834"/>
            </a:xfrm>
            <a:custGeom>
              <a:avLst/>
              <a:gdLst>
                <a:gd name="connsiteX0" fmla="*/ 1353312 w 2478500"/>
                <a:gd name="connsiteY0" fmla="*/ 0 h 2248090"/>
                <a:gd name="connsiteX1" fmla="*/ 736378 w 2478500"/>
                <a:gd name="connsiteY1" fmla="*/ 183356 h 2248090"/>
                <a:gd name="connsiteX2" fmla="*/ 353949 w 2478500"/>
                <a:gd name="connsiteY2" fmla="*/ 604457 h 2248090"/>
                <a:gd name="connsiteX3" fmla="*/ 260509 w 2478500"/>
                <a:gd name="connsiteY3" fmla="*/ 850678 h 2248090"/>
                <a:gd name="connsiteX4" fmla="*/ 0 w 2478500"/>
                <a:gd name="connsiteY4" fmla="*/ 908018 h 2248090"/>
                <a:gd name="connsiteX5" fmla="*/ 37624 w 2478500"/>
                <a:gd name="connsiteY5" fmla="*/ 1126427 h 2248090"/>
                <a:gd name="connsiteX6" fmla="*/ 1048 w 2478500"/>
                <a:gd name="connsiteY6" fmla="*/ 1341787 h 2248090"/>
                <a:gd name="connsiteX7" fmla="*/ 260509 w 2478500"/>
                <a:gd name="connsiteY7" fmla="*/ 1397413 h 2248090"/>
                <a:gd name="connsiteX8" fmla="*/ 353949 w 2478500"/>
                <a:gd name="connsiteY8" fmla="*/ 1643634 h 2248090"/>
                <a:gd name="connsiteX9" fmla="*/ 736378 w 2478500"/>
                <a:gd name="connsiteY9" fmla="*/ 2064734 h 2248090"/>
                <a:gd name="connsiteX10" fmla="*/ 1353312 w 2478500"/>
                <a:gd name="connsiteY10" fmla="*/ 2248091 h 2248090"/>
                <a:gd name="connsiteX11" fmla="*/ 2478500 w 2478500"/>
                <a:gd name="connsiteY11" fmla="*/ 1124141 h 2248090"/>
                <a:gd name="connsiteX12" fmla="*/ 1353312 w 2478500"/>
                <a:gd name="connsiteY12" fmla="*/ 0 h 2248090"/>
                <a:gd name="connsiteX13" fmla="*/ 1353312 w 2478500"/>
                <a:gd name="connsiteY13" fmla="*/ 2152841 h 2248090"/>
                <a:gd name="connsiteX14" fmla="*/ 717613 w 2478500"/>
                <a:gd name="connsiteY14" fmla="*/ 1933861 h 2248090"/>
                <a:gd name="connsiteX15" fmla="*/ 440531 w 2478500"/>
                <a:gd name="connsiteY15" fmla="*/ 1602772 h 2248090"/>
                <a:gd name="connsiteX16" fmla="*/ 377666 w 2478500"/>
                <a:gd name="connsiteY16" fmla="*/ 1458468 h 2248090"/>
                <a:gd name="connsiteX17" fmla="*/ 323279 w 2478500"/>
                <a:gd name="connsiteY17" fmla="*/ 1124045 h 2248090"/>
                <a:gd name="connsiteX18" fmla="*/ 377666 w 2478500"/>
                <a:gd name="connsiteY18" fmla="*/ 791242 h 2248090"/>
                <a:gd name="connsiteX19" fmla="*/ 440531 w 2478500"/>
                <a:gd name="connsiteY19" fmla="*/ 645224 h 2248090"/>
                <a:gd name="connsiteX20" fmla="*/ 717613 w 2478500"/>
                <a:gd name="connsiteY20" fmla="*/ 314135 h 2248090"/>
                <a:gd name="connsiteX21" fmla="*/ 1353312 w 2478500"/>
                <a:gd name="connsiteY21" fmla="*/ 95155 h 2248090"/>
                <a:gd name="connsiteX22" fmla="*/ 2381631 w 2478500"/>
                <a:gd name="connsiteY22" fmla="*/ 1124045 h 2248090"/>
                <a:gd name="connsiteX23" fmla="*/ 1353312 w 2478500"/>
                <a:gd name="connsiteY23" fmla="*/ 2152936 h 22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78500" h="2248090">
                  <a:moveTo>
                    <a:pt x="1353312" y="0"/>
                  </a:moveTo>
                  <a:cubicBezTo>
                    <a:pt x="1125569" y="0"/>
                    <a:pt x="913066" y="67913"/>
                    <a:pt x="736378" y="183356"/>
                  </a:cubicBezTo>
                  <a:cubicBezTo>
                    <a:pt x="576643" y="288608"/>
                    <a:pt x="444055" y="434626"/>
                    <a:pt x="353949" y="604457"/>
                  </a:cubicBezTo>
                  <a:cubicBezTo>
                    <a:pt x="314896" y="682562"/>
                    <a:pt x="282607" y="764096"/>
                    <a:pt x="260509" y="850678"/>
                  </a:cubicBezTo>
                  <a:cubicBezTo>
                    <a:pt x="180784" y="883920"/>
                    <a:pt x="92869" y="904018"/>
                    <a:pt x="0" y="908018"/>
                  </a:cubicBezTo>
                  <a:cubicBezTo>
                    <a:pt x="24289" y="976217"/>
                    <a:pt x="37624" y="1049750"/>
                    <a:pt x="37624" y="1126427"/>
                  </a:cubicBezTo>
                  <a:cubicBezTo>
                    <a:pt x="37624" y="1203103"/>
                    <a:pt x="24670" y="1274350"/>
                    <a:pt x="1048" y="1341787"/>
                  </a:cubicBezTo>
                  <a:cubicBezTo>
                    <a:pt x="92869" y="1344549"/>
                    <a:pt x="179927" y="1364552"/>
                    <a:pt x="260509" y="1397413"/>
                  </a:cubicBezTo>
                  <a:cubicBezTo>
                    <a:pt x="282607" y="1483995"/>
                    <a:pt x="314896" y="1567148"/>
                    <a:pt x="353949" y="1643634"/>
                  </a:cubicBezTo>
                  <a:cubicBezTo>
                    <a:pt x="444055" y="1815084"/>
                    <a:pt x="576643" y="1959388"/>
                    <a:pt x="736378" y="2064734"/>
                  </a:cubicBezTo>
                  <a:cubicBezTo>
                    <a:pt x="913162" y="2181892"/>
                    <a:pt x="1125569" y="2248091"/>
                    <a:pt x="1353312" y="2248091"/>
                  </a:cubicBezTo>
                  <a:cubicBezTo>
                    <a:pt x="1973675" y="2248091"/>
                    <a:pt x="2478500" y="1745552"/>
                    <a:pt x="2478500" y="1124141"/>
                  </a:cubicBezTo>
                  <a:cubicBezTo>
                    <a:pt x="2478500" y="502730"/>
                    <a:pt x="1973675" y="0"/>
                    <a:pt x="1353312" y="0"/>
                  </a:cubicBezTo>
                  <a:close/>
                  <a:moveTo>
                    <a:pt x="1353312" y="2152841"/>
                  </a:moveTo>
                  <a:cubicBezTo>
                    <a:pt x="1113663" y="2152841"/>
                    <a:pt x="892683" y="2071307"/>
                    <a:pt x="717613" y="1933861"/>
                  </a:cubicBezTo>
                  <a:cubicBezTo>
                    <a:pt x="603695" y="1845564"/>
                    <a:pt x="508540" y="1731836"/>
                    <a:pt x="440531" y="1602772"/>
                  </a:cubicBezTo>
                  <a:cubicBezTo>
                    <a:pt x="416719" y="1556957"/>
                    <a:pt x="396335" y="1507712"/>
                    <a:pt x="377666" y="1458468"/>
                  </a:cubicBezTo>
                  <a:cubicBezTo>
                    <a:pt x="341947" y="1353217"/>
                    <a:pt x="323279" y="1241108"/>
                    <a:pt x="323279" y="1124045"/>
                  </a:cubicBezTo>
                  <a:cubicBezTo>
                    <a:pt x="323279" y="1006983"/>
                    <a:pt x="341947" y="894874"/>
                    <a:pt x="377666" y="791242"/>
                  </a:cubicBezTo>
                  <a:cubicBezTo>
                    <a:pt x="396335" y="740283"/>
                    <a:pt x="416719" y="692753"/>
                    <a:pt x="440531" y="645224"/>
                  </a:cubicBezTo>
                  <a:cubicBezTo>
                    <a:pt x="508540" y="516160"/>
                    <a:pt x="603695" y="404146"/>
                    <a:pt x="717613" y="314135"/>
                  </a:cubicBezTo>
                  <a:cubicBezTo>
                    <a:pt x="892683" y="176594"/>
                    <a:pt x="1113663" y="95155"/>
                    <a:pt x="1353312" y="95155"/>
                  </a:cubicBezTo>
                  <a:cubicBezTo>
                    <a:pt x="1921002" y="95155"/>
                    <a:pt x="2381631" y="556927"/>
                    <a:pt x="2381631" y="1124045"/>
                  </a:cubicBezTo>
                  <a:cubicBezTo>
                    <a:pt x="2381631" y="1691164"/>
                    <a:pt x="1921002" y="2152936"/>
                    <a:pt x="1353312" y="2152936"/>
                  </a:cubicBezTo>
                  <a:close/>
                </a:path>
              </a:pathLst>
            </a:custGeom>
            <a:solidFill>
              <a:schemeClr val="accent3"/>
            </a:solidFill>
            <a:ln w="0"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1624026F-2BF9-7FE6-A042-B45C6E1006F7}"/>
                </a:ext>
              </a:extLst>
            </p:cNvPr>
            <p:cNvSpPr/>
            <p:nvPr/>
          </p:nvSpPr>
          <p:spPr>
            <a:xfrm>
              <a:off x="3928364" y="1532606"/>
              <a:ext cx="1240535" cy="852677"/>
            </a:xfrm>
            <a:custGeom>
              <a:avLst/>
              <a:gdLst>
                <a:gd name="connsiteX0" fmla="*/ 47434 w 1240535"/>
                <a:gd name="connsiteY0" fmla="*/ 850487 h 852677"/>
                <a:gd name="connsiteX1" fmla="*/ 120491 w 1240535"/>
                <a:gd name="connsiteY1" fmla="*/ 823341 h 852677"/>
                <a:gd name="connsiteX2" fmla="*/ 88201 w 1240535"/>
                <a:gd name="connsiteY2" fmla="*/ 634841 h 852677"/>
                <a:gd name="connsiteX3" fmla="*/ 132397 w 1240535"/>
                <a:gd name="connsiteY3" fmla="*/ 415862 h 852677"/>
                <a:gd name="connsiteX4" fmla="*/ 258127 w 1240535"/>
                <a:gd name="connsiteY4" fmla="*/ 237554 h 852677"/>
                <a:gd name="connsiteX5" fmla="*/ 625221 w 1240535"/>
                <a:gd name="connsiteY5" fmla="*/ 81344 h 852677"/>
                <a:gd name="connsiteX6" fmla="*/ 660940 w 1240535"/>
                <a:gd name="connsiteY6" fmla="*/ 81344 h 852677"/>
                <a:gd name="connsiteX7" fmla="*/ 1029748 w 1240535"/>
                <a:gd name="connsiteY7" fmla="*/ 237554 h 852677"/>
                <a:gd name="connsiteX8" fmla="*/ 1153858 w 1240535"/>
                <a:gd name="connsiteY8" fmla="*/ 415862 h 852677"/>
                <a:gd name="connsiteX9" fmla="*/ 1165765 w 1240535"/>
                <a:gd name="connsiteY9" fmla="*/ 446437 h 852677"/>
                <a:gd name="connsiteX10" fmla="*/ 1240536 w 1240535"/>
                <a:gd name="connsiteY10" fmla="*/ 421005 h 852677"/>
                <a:gd name="connsiteX11" fmla="*/ 747617 w 1240535"/>
                <a:gd name="connsiteY11" fmla="*/ 8477 h 852677"/>
                <a:gd name="connsiteX12" fmla="*/ 643985 w 1240535"/>
                <a:gd name="connsiteY12" fmla="*/ 0 h 852677"/>
                <a:gd name="connsiteX13" fmla="*/ 642271 w 1240535"/>
                <a:gd name="connsiteY13" fmla="*/ 0 h 852677"/>
                <a:gd name="connsiteX14" fmla="*/ 193548 w 1240535"/>
                <a:gd name="connsiteY14" fmla="*/ 185071 h 852677"/>
                <a:gd name="connsiteX15" fmla="*/ 44005 w 1240535"/>
                <a:gd name="connsiteY15" fmla="*/ 419386 h 852677"/>
                <a:gd name="connsiteX16" fmla="*/ 37624 w 1240535"/>
                <a:gd name="connsiteY16" fmla="*/ 419005 h 852677"/>
                <a:gd name="connsiteX17" fmla="*/ 0 w 1240535"/>
                <a:gd name="connsiteY17" fmla="*/ 637413 h 852677"/>
                <a:gd name="connsiteX18" fmla="*/ 36576 w 1240535"/>
                <a:gd name="connsiteY18" fmla="*/ 852678 h 852677"/>
                <a:gd name="connsiteX19" fmla="*/ 44005 w 1240535"/>
                <a:gd name="connsiteY19" fmla="*/ 852392 h 852677"/>
                <a:gd name="connsiteX20" fmla="*/ 47434 w 1240535"/>
                <a:gd name="connsiteY20" fmla="*/ 850678 h 85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0535" h="852677">
                  <a:moveTo>
                    <a:pt x="47434" y="850487"/>
                  </a:moveTo>
                  <a:lnTo>
                    <a:pt x="120491" y="823341"/>
                  </a:lnTo>
                  <a:cubicBezTo>
                    <a:pt x="100108" y="765620"/>
                    <a:pt x="88201" y="701135"/>
                    <a:pt x="88201" y="634841"/>
                  </a:cubicBezTo>
                  <a:cubicBezTo>
                    <a:pt x="88201" y="556736"/>
                    <a:pt x="103537" y="483775"/>
                    <a:pt x="132397" y="415862"/>
                  </a:cubicBezTo>
                  <a:cubicBezTo>
                    <a:pt x="162973" y="347948"/>
                    <a:pt x="205454" y="286798"/>
                    <a:pt x="258127" y="237554"/>
                  </a:cubicBezTo>
                  <a:cubicBezTo>
                    <a:pt x="353282" y="144209"/>
                    <a:pt x="482441" y="86487"/>
                    <a:pt x="625221" y="81344"/>
                  </a:cubicBezTo>
                  <a:lnTo>
                    <a:pt x="660940" y="81344"/>
                  </a:lnTo>
                  <a:cubicBezTo>
                    <a:pt x="803720" y="86392"/>
                    <a:pt x="932879" y="144209"/>
                    <a:pt x="1029748" y="237554"/>
                  </a:cubicBezTo>
                  <a:cubicBezTo>
                    <a:pt x="1082421" y="286798"/>
                    <a:pt x="1124902" y="347948"/>
                    <a:pt x="1153858" y="415862"/>
                  </a:cubicBezTo>
                  <a:cubicBezTo>
                    <a:pt x="1159002" y="426053"/>
                    <a:pt x="1162336" y="436245"/>
                    <a:pt x="1165765" y="446437"/>
                  </a:cubicBezTo>
                  <a:lnTo>
                    <a:pt x="1240536" y="421005"/>
                  </a:lnTo>
                  <a:cubicBezTo>
                    <a:pt x="1164050" y="207073"/>
                    <a:pt x="977074" y="47530"/>
                    <a:pt x="747617" y="8477"/>
                  </a:cubicBezTo>
                  <a:cubicBezTo>
                    <a:pt x="713613" y="3429"/>
                    <a:pt x="679609" y="0"/>
                    <a:pt x="643985" y="0"/>
                  </a:cubicBezTo>
                  <a:lnTo>
                    <a:pt x="642271" y="0"/>
                  </a:lnTo>
                  <a:cubicBezTo>
                    <a:pt x="467201" y="0"/>
                    <a:pt x="309181" y="71342"/>
                    <a:pt x="193548" y="185071"/>
                  </a:cubicBezTo>
                  <a:cubicBezTo>
                    <a:pt x="128968" y="249555"/>
                    <a:pt x="76295" y="329375"/>
                    <a:pt x="44005" y="419386"/>
                  </a:cubicBezTo>
                  <a:cubicBezTo>
                    <a:pt x="41910" y="419386"/>
                    <a:pt x="39814" y="419100"/>
                    <a:pt x="37624" y="419005"/>
                  </a:cubicBezTo>
                  <a:cubicBezTo>
                    <a:pt x="13335" y="487204"/>
                    <a:pt x="0" y="560737"/>
                    <a:pt x="0" y="637413"/>
                  </a:cubicBezTo>
                  <a:cubicBezTo>
                    <a:pt x="0" y="714089"/>
                    <a:pt x="12954" y="785336"/>
                    <a:pt x="36576" y="852678"/>
                  </a:cubicBezTo>
                  <a:cubicBezTo>
                    <a:pt x="39052" y="852678"/>
                    <a:pt x="41529" y="852392"/>
                    <a:pt x="44005" y="852392"/>
                  </a:cubicBezTo>
                  <a:lnTo>
                    <a:pt x="47434" y="850678"/>
                  </a:lnTo>
                  <a:close/>
                </a:path>
              </a:pathLst>
            </a:custGeom>
            <a:solidFill>
              <a:schemeClr val="accent2"/>
            </a:solidFill>
            <a:ln w="0"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E7400A5D-8909-370B-B0AA-0B0CBF8DBED4}"/>
                </a:ext>
              </a:extLst>
            </p:cNvPr>
            <p:cNvSpPr/>
            <p:nvPr/>
          </p:nvSpPr>
          <p:spPr>
            <a:xfrm>
              <a:off x="3978275" y="1951325"/>
              <a:ext cx="1240440" cy="851058"/>
            </a:xfrm>
            <a:custGeom>
              <a:avLst/>
              <a:gdLst>
                <a:gd name="connsiteX0" fmla="*/ 1202912 w 1240440"/>
                <a:gd name="connsiteY0" fmla="*/ 95 h 851058"/>
                <a:gd name="connsiteX1" fmla="*/ 1196531 w 1240440"/>
                <a:gd name="connsiteY1" fmla="*/ 476 h 851058"/>
                <a:gd name="connsiteX2" fmla="*/ 1193102 w 1240440"/>
                <a:gd name="connsiteY2" fmla="*/ 2191 h 851058"/>
                <a:gd name="connsiteX3" fmla="*/ 1118330 w 1240440"/>
                <a:gd name="connsiteY3" fmla="*/ 27623 h 851058"/>
                <a:gd name="connsiteX4" fmla="*/ 1152335 w 1240440"/>
                <a:gd name="connsiteY4" fmla="*/ 216122 h 851058"/>
                <a:gd name="connsiteX5" fmla="*/ 1106424 w 1240440"/>
                <a:gd name="connsiteY5" fmla="*/ 435102 h 851058"/>
                <a:gd name="connsiteX6" fmla="*/ 982313 w 1240440"/>
                <a:gd name="connsiteY6" fmla="*/ 615029 h 851058"/>
                <a:gd name="connsiteX7" fmla="*/ 613505 w 1240440"/>
                <a:gd name="connsiteY7" fmla="*/ 769525 h 851058"/>
                <a:gd name="connsiteX8" fmla="*/ 577787 w 1240440"/>
                <a:gd name="connsiteY8" fmla="*/ 769525 h 851058"/>
                <a:gd name="connsiteX9" fmla="*/ 210693 w 1240440"/>
                <a:gd name="connsiteY9" fmla="*/ 615029 h 851058"/>
                <a:gd name="connsiteX10" fmla="*/ 84963 w 1240440"/>
                <a:gd name="connsiteY10" fmla="*/ 435102 h 851058"/>
                <a:gd name="connsiteX11" fmla="*/ 73057 w 1240440"/>
                <a:gd name="connsiteY11" fmla="*/ 404527 h 851058"/>
                <a:gd name="connsiteX12" fmla="*/ 0 w 1240440"/>
                <a:gd name="connsiteY12" fmla="*/ 431673 h 851058"/>
                <a:gd name="connsiteX13" fmla="*/ 491204 w 1240440"/>
                <a:gd name="connsiteY13" fmla="*/ 842582 h 851058"/>
                <a:gd name="connsiteX14" fmla="*/ 596551 w 1240440"/>
                <a:gd name="connsiteY14" fmla="*/ 851059 h 851058"/>
                <a:gd name="connsiteX15" fmla="*/ 598265 w 1240440"/>
                <a:gd name="connsiteY15" fmla="*/ 851059 h 851058"/>
                <a:gd name="connsiteX16" fmla="*/ 1045273 w 1240440"/>
                <a:gd name="connsiteY16" fmla="*/ 667703 h 851058"/>
                <a:gd name="connsiteX17" fmla="*/ 1194816 w 1240440"/>
                <a:gd name="connsiteY17" fmla="*/ 433388 h 851058"/>
                <a:gd name="connsiteX18" fmla="*/ 1203865 w 1240440"/>
                <a:gd name="connsiteY18" fmla="*/ 433769 h 851058"/>
                <a:gd name="connsiteX19" fmla="*/ 1240441 w 1240440"/>
                <a:gd name="connsiteY19" fmla="*/ 218408 h 851058"/>
                <a:gd name="connsiteX20" fmla="*/ 1202817 w 1240440"/>
                <a:gd name="connsiteY20" fmla="*/ 0 h 851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0440" h="851058">
                  <a:moveTo>
                    <a:pt x="1202912" y="95"/>
                  </a:moveTo>
                  <a:cubicBezTo>
                    <a:pt x="1200817" y="95"/>
                    <a:pt x="1198721" y="381"/>
                    <a:pt x="1196531" y="476"/>
                  </a:cubicBezTo>
                  <a:lnTo>
                    <a:pt x="1193102" y="2191"/>
                  </a:lnTo>
                  <a:lnTo>
                    <a:pt x="1118330" y="27623"/>
                  </a:lnTo>
                  <a:cubicBezTo>
                    <a:pt x="1140428" y="87058"/>
                    <a:pt x="1152335" y="149828"/>
                    <a:pt x="1152335" y="216122"/>
                  </a:cubicBezTo>
                  <a:cubicBezTo>
                    <a:pt x="1152335" y="294227"/>
                    <a:pt x="1135380" y="368903"/>
                    <a:pt x="1106424" y="435102"/>
                  </a:cubicBezTo>
                  <a:cubicBezTo>
                    <a:pt x="1077563" y="503015"/>
                    <a:pt x="1035082" y="564166"/>
                    <a:pt x="982313" y="615029"/>
                  </a:cubicBezTo>
                  <a:cubicBezTo>
                    <a:pt x="885444" y="706755"/>
                    <a:pt x="756285" y="764477"/>
                    <a:pt x="613505" y="769525"/>
                  </a:cubicBezTo>
                  <a:lnTo>
                    <a:pt x="577787" y="769525"/>
                  </a:lnTo>
                  <a:cubicBezTo>
                    <a:pt x="435007" y="764477"/>
                    <a:pt x="305848" y="706660"/>
                    <a:pt x="210693" y="615029"/>
                  </a:cubicBezTo>
                  <a:cubicBezTo>
                    <a:pt x="158020" y="564071"/>
                    <a:pt x="115538" y="503015"/>
                    <a:pt x="84963" y="435102"/>
                  </a:cubicBezTo>
                  <a:cubicBezTo>
                    <a:pt x="81534" y="424910"/>
                    <a:pt x="78200" y="414719"/>
                    <a:pt x="73057" y="404527"/>
                  </a:cubicBezTo>
                  <a:lnTo>
                    <a:pt x="0" y="431673"/>
                  </a:lnTo>
                  <a:cubicBezTo>
                    <a:pt x="76486" y="643890"/>
                    <a:pt x="263462" y="803529"/>
                    <a:pt x="491204" y="842582"/>
                  </a:cubicBezTo>
                  <a:cubicBezTo>
                    <a:pt x="525209" y="847630"/>
                    <a:pt x="560927" y="851059"/>
                    <a:pt x="596551" y="851059"/>
                  </a:cubicBezTo>
                  <a:lnTo>
                    <a:pt x="598265" y="851059"/>
                  </a:lnTo>
                  <a:cubicBezTo>
                    <a:pt x="771620" y="851059"/>
                    <a:pt x="929735" y="781431"/>
                    <a:pt x="1045273" y="667703"/>
                  </a:cubicBezTo>
                  <a:cubicBezTo>
                    <a:pt x="1111568" y="601504"/>
                    <a:pt x="1162526" y="521684"/>
                    <a:pt x="1194816" y="433388"/>
                  </a:cubicBezTo>
                  <a:cubicBezTo>
                    <a:pt x="1197864" y="433388"/>
                    <a:pt x="1200817" y="433673"/>
                    <a:pt x="1203865" y="433769"/>
                  </a:cubicBezTo>
                  <a:cubicBezTo>
                    <a:pt x="1227487" y="366427"/>
                    <a:pt x="1240441" y="293942"/>
                    <a:pt x="1240441" y="218408"/>
                  </a:cubicBezTo>
                  <a:cubicBezTo>
                    <a:pt x="1240441" y="142875"/>
                    <a:pt x="1227106" y="68294"/>
                    <a:pt x="1202817" y="0"/>
                  </a:cubicBezTo>
                  <a:close/>
                </a:path>
              </a:pathLst>
            </a:custGeom>
            <a:solidFill>
              <a:schemeClr val="accent3"/>
            </a:solidFill>
            <a:ln w="0" cap="flat">
              <a:noFill/>
              <a:prstDash val="solid"/>
              <a:miter/>
            </a:ln>
          </p:spPr>
          <p:txBody>
            <a:bodyPr rtlCol="0" anchor="ctr"/>
            <a:lstStyle/>
            <a:p>
              <a:endParaRPr lang="en-US"/>
            </a:p>
          </p:txBody>
        </p:sp>
        <p:sp>
          <p:nvSpPr>
            <p:cNvPr id="1041" name="Rectangle 1040">
              <a:extLst>
                <a:ext uri="{FF2B5EF4-FFF2-40B4-BE49-F238E27FC236}">
                  <a16:creationId xmlns:a16="http://schemas.microsoft.com/office/drawing/2014/main" id="{F3B87D70-A97A-712E-3AA0-DEC34A21C4FB}"/>
                </a:ext>
              </a:extLst>
            </p:cNvPr>
            <p:cNvSpPr>
              <a:spLocks/>
            </p:cNvSpPr>
            <p:nvPr/>
          </p:nvSpPr>
          <p:spPr>
            <a:xfrm>
              <a:off x="5457540" y="1781178"/>
              <a:ext cx="1689272"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defTabSz="685800"/>
              <a:r>
                <a:rPr lang="en-GB" sz="1000" dirty="0">
                  <a:solidFill>
                    <a:schemeClr val="tx2"/>
                  </a:solidFill>
                </a:rPr>
                <a:t>The </a:t>
              </a:r>
              <a:r>
                <a:rPr lang="en-GB" sz="1000" b="1" dirty="0">
                  <a:solidFill>
                    <a:schemeClr val="tx2"/>
                  </a:solidFill>
                </a:rPr>
                <a:t>complex manufacturing </a:t>
              </a:r>
              <a:br>
                <a:rPr lang="en-GB" sz="1000" b="1" dirty="0">
                  <a:solidFill>
                    <a:schemeClr val="tx2"/>
                  </a:solidFill>
                </a:rPr>
              </a:br>
              <a:r>
                <a:rPr lang="en-GB" sz="1000" b="1" dirty="0">
                  <a:solidFill>
                    <a:schemeClr val="tx2"/>
                  </a:solidFill>
                </a:rPr>
                <a:t>process adds to this inherent variability. </a:t>
              </a:r>
              <a:r>
                <a:rPr lang="en-US" sz="1000" dirty="0">
                  <a:solidFill>
                    <a:schemeClr val="tx2"/>
                  </a:solidFill>
                  <a:latin typeface="Arial" panose="020B0604020202020204"/>
                </a:rPr>
                <a:t>Variability is a normal principle in protein manufacturing</a:t>
              </a:r>
              <a:r>
                <a:rPr lang="en-US" sz="1000" baseline="30000" dirty="0">
                  <a:solidFill>
                    <a:schemeClr val="tx2"/>
                  </a:solidFill>
                  <a:latin typeface="Arial" panose="020B0604020202020204"/>
                </a:rPr>
                <a:t>1,3</a:t>
              </a:r>
            </a:p>
          </p:txBody>
        </p:sp>
        <p:grpSp>
          <p:nvGrpSpPr>
            <p:cNvPr id="1043" name="Group 1042">
              <a:extLst>
                <a:ext uri="{FF2B5EF4-FFF2-40B4-BE49-F238E27FC236}">
                  <a16:creationId xmlns:a16="http://schemas.microsoft.com/office/drawing/2014/main" id="{7205071D-401E-8F24-1FD3-51340191F643}"/>
                </a:ext>
              </a:extLst>
            </p:cNvPr>
            <p:cNvGrpSpPr/>
            <p:nvPr/>
          </p:nvGrpSpPr>
          <p:grpSpPr>
            <a:xfrm>
              <a:off x="2604893" y="1195630"/>
              <a:ext cx="475488" cy="477713"/>
              <a:chOff x="1944291" y="1137573"/>
              <a:chExt cx="579835" cy="581025"/>
            </a:xfrm>
            <a:solidFill>
              <a:schemeClr val="accent2"/>
            </a:solidFill>
          </p:grpSpPr>
          <p:sp>
            <p:nvSpPr>
              <p:cNvPr id="1044" name="Freeform 363">
                <a:extLst>
                  <a:ext uri="{FF2B5EF4-FFF2-40B4-BE49-F238E27FC236}">
                    <a16:creationId xmlns:a16="http://schemas.microsoft.com/office/drawing/2014/main" id="{66CC6337-DC05-8571-4B55-7372F7C42743}"/>
                  </a:ext>
                </a:extLst>
              </p:cNvPr>
              <p:cNvSpPr>
                <a:spLocks noEditPoints="1"/>
              </p:cNvSpPr>
              <p:nvPr/>
            </p:nvSpPr>
            <p:spPr bwMode="auto">
              <a:xfrm>
                <a:off x="1944291" y="1137573"/>
                <a:ext cx="579835" cy="581025"/>
              </a:xfrm>
              <a:custGeom>
                <a:avLst/>
                <a:gdLst>
                  <a:gd name="T0" fmla="*/ 54 w 107"/>
                  <a:gd name="T1" fmla="*/ 107 h 107"/>
                  <a:gd name="T2" fmla="*/ 0 w 107"/>
                  <a:gd name="T3" fmla="*/ 53 h 107"/>
                  <a:gd name="T4" fmla="*/ 54 w 107"/>
                  <a:gd name="T5" fmla="*/ 0 h 107"/>
                  <a:gd name="T6" fmla="*/ 107 w 107"/>
                  <a:gd name="T7" fmla="*/ 53 h 107"/>
                  <a:gd name="T8" fmla="*/ 54 w 107"/>
                  <a:gd name="T9" fmla="*/ 107 h 107"/>
                  <a:gd name="T10" fmla="*/ 54 w 107"/>
                  <a:gd name="T11" fmla="*/ 3 h 107"/>
                  <a:gd name="T12" fmla="*/ 3 w 107"/>
                  <a:gd name="T13" fmla="*/ 53 h 107"/>
                  <a:gd name="T14" fmla="*/ 54 w 107"/>
                  <a:gd name="T15" fmla="*/ 104 h 107"/>
                  <a:gd name="T16" fmla="*/ 104 w 107"/>
                  <a:gd name="T17" fmla="*/ 53 h 107"/>
                  <a:gd name="T18" fmla="*/ 54 w 107"/>
                  <a:gd name="T19"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107"/>
                    </a:moveTo>
                    <a:cubicBezTo>
                      <a:pt x="24" y="107"/>
                      <a:pt x="0" y="83"/>
                      <a:pt x="0" y="53"/>
                    </a:cubicBezTo>
                    <a:cubicBezTo>
                      <a:pt x="0" y="24"/>
                      <a:pt x="24" y="0"/>
                      <a:pt x="54" y="0"/>
                    </a:cubicBezTo>
                    <a:cubicBezTo>
                      <a:pt x="83" y="0"/>
                      <a:pt x="107" y="24"/>
                      <a:pt x="107" y="53"/>
                    </a:cubicBezTo>
                    <a:cubicBezTo>
                      <a:pt x="107" y="83"/>
                      <a:pt x="83" y="107"/>
                      <a:pt x="54" y="107"/>
                    </a:cubicBezTo>
                    <a:close/>
                    <a:moveTo>
                      <a:pt x="54" y="3"/>
                    </a:moveTo>
                    <a:cubicBezTo>
                      <a:pt x="26" y="3"/>
                      <a:pt x="3" y="25"/>
                      <a:pt x="3" y="53"/>
                    </a:cubicBezTo>
                    <a:cubicBezTo>
                      <a:pt x="3" y="81"/>
                      <a:pt x="26" y="104"/>
                      <a:pt x="54" y="104"/>
                    </a:cubicBezTo>
                    <a:cubicBezTo>
                      <a:pt x="82" y="104"/>
                      <a:pt x="104" y="81"/>
                      <a:pt x="104" y="53"/>
                    </a:cubicBezTo>
                    <a:cubicBezTo>
                      <a:pt x="104" y="25"/>
                      <a:pt x="82" y="3"/>
                      <a:pt x="54"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5" name="Freeform 364">
                <a:extLst>
                  <a:ext uri="{FF2B5EF4-FFF2-40B4-BE49-F238E27FC236}">
                    <a16:creationId xmlns:a16="http://schemas.microsoft.com/office/drawing/2014/main" id="{6289723A-80BC-F6F2-1B73-C747E8FDE9B9}"/>
                  </a:ext>
                </a:extLst>
              </p:cNvPr>
              <p:cNvSpPr>
                <a:spLocks noEditPoints="1"/>
              </p:cNvSpPr>
              <p:nvPr/>
            </p:nvSpPr>
            <p:spPr bwMode="auto">
              <a:xfrm>
                <a:off x="1982392" y="1175672"/>
                <a:ext cx="503635" cy="504825"/>
              </a:xfrm>
              <a:custGeom>
                <a:avLst/>
                <a:gdLst>
                  <a:gd name="T0" fmla="*/ 47 w 93"/>
                  <a:gd name="T1" fmla="*/ 93 h 93"/>
                  <a:gd name="T2" fmla="*/ 0 w 93"/>
                  <a:gd name="T3" fmla="*/ 46 h 93"/>
                  <a:gd name="T4" fmla="*/ 47 w 93"/>
                  <a:gd name="T5" fmla="*/ 0 h 93"/>
                  <a:gd name="T6" fmla="*/ 93 w 93"/>
                  <a:gd name="T7" fmla="*/ 46 h 93"/>
                  <a:gd name="T8" fmla="*/ 47 w 93"/>
                  <a:gd name="T9" fmla="*/ 93 h 93"/>
                  <a:gd name="T10" fmla="*/ 47 w 93"/>
                  <a:gd name="T11" fmla="*/ 3 h 93"/>
                  <a:gd name="T12" fmla="*/ 3 w 93"/>
                  <a:gd name="T13" fmla="*/ 46 h 93"/>
                  <a:gd name="T14" fmla="*/ 47 w 93"/>
                  <a:gd name="T15" fmla="*/ 90 h 93"/>
                  <a:gd name="T16" fmla="*/ 90 w 93"/>
                  <a:gd name="T17" fmla="*/ 46 h 93"/>
                  <a:gd name="T18" fmla="*/ 47 w 93"/>
                  <a:gd name="T19" fmla="*/ 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21" y="93"/>
                      <a:pt x="0" y="72"/>
                      <a:pt x="0" y="46"/>
                    </a:cubicBezTo>
                    <a:cubicBezTo>
                      <a:pt x="0" y="20"/>
                      <a:pt x="21" y="0"/>
                      <a:pt x="47" y="0"/>
                    </a:cubicBezTo>
                    <a:cubicBezTo>
                      <a:pt x="73" y="0"/>
                      <a:pt x="93" y="20"/>
                      <a:pt x="93" y="46"/>
                    </a:cubicBezTo>
                    <a:cubicBezTo>
                      <a:pt x="93" y="72"/>
                      <a:pt x="73" y="93"/>
                      <a:pt x="47" y="93"/>
                    </a:cubicBezTo>
                    <a:close/>
                    <a:moveTo>
                      <a:pt x="47" y="3"/>
                    </a:moveTo>
                    <a:cubicBezTo>
                      <a:pt x="23" y="3"/>
                      <a:pt x="3" y="22"/>
                      <a:pt x="3" y="46"/>
                    </a:cubicBezTo>
                    <a:cubicBezTo>
                      <a:pt x="3" y="70"/>
                      <a:pt x="23" y="90"/>
                      <a:pt x="47" y="90"/>
                    </a:cubicBezTo>
                    <a:cubicBezTo>
                      <a:pt x="71" y="90"/>
                      <a:pt x="90" y="70"/>
                      <a:pt x="90" y="46"/>
                    </a:cubicBezTo>
                    <a:cubicBezTo>
                      <a:pt x="90" y="22"/>
                      <a:pt x="71" y="3"/>
                      <a:pt x="47"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6" name="Freeform 365">
                <a:extLst>
                  <a:ext uri="{FF2B5EF4-FFF2-40B4-BE49-F238E27FC236}">
                    <a16:creationId xmlns:a16="http://schemas.microsoft.com/office/drawing/2014/main" id="{4C266958-02E6-25BA-BB5C-D01F80AB2DB5}"/>
                  </a:ext>
                </a:extLst>
              </p:cNvPr>
              <p:cNvSpPr>
                <a:spLocks noEditPoints="1"/>
              </p:cNvSpPr>
              <p:nvPr/>
            </p:nvSpPr>
            <p:spPr bwMode="auto">
              <a:xfrm>
                <a:off x="2139555" y="1224488"/>
                <a:ext cx="163116" cy="163116"/>
              </a:xfrm>
              <a:custGeom>
                <a:avLst/>
                <a:gdLst>
                  <a:gd name="T0" fmla="*/ 15 w 30"/>
                  <a:gd name="T1" fmla="*/ 30 h 30"/>
                  <a:gd name="T2" fmla="*/ 0 w 30"/>
                  <a:gd name="T3" fmla="*/ 15 h 30"/>
                  <a:gd name="T4" fmla="*/ 15 w 30"/>
                  <a:gd name="T5" fmla="*/ 0 h 30"/>
                  <a:gd name="T6" fmla="*/ 30 w 30"/>
                  <a:gd name="T7" fmla="*/ 15 h 30"/>
                  <a:gd name="T8" fmla="*/ 15 w 30"/>
                  <a:gd name="T9" fmla="*/ 30 h 30"/>
                  <a:gd name="T10" fmla="*/ 15 w 30"/>
                  <a:gd name="T11" fmla="*/ 3 h 30"/>
                  <a:gd name="T12" fmla="*/ 3 w 30"/>
                  <a:gd name="T13" fmla="*/ 15 h 30"/>
                  <a:gd name="T14" fmla="*/ 15 w 30"/>
                  <a:gd name="T15" fmla="*/ 27 h 30"/>
                  <a:gd name="T16" fmla="*/ 27 w 30"/>
                  <a:gd name="T17" fmla="*/ 15 h 30"/>
                  <a:gd name="T18" fmla="*/ 15 w 30"/>
                  <a:gd name="T19"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6" y="30"/>
                      <a:pt x="0" y="23"/>
                      <a:pt x="0" y="15"/>
                    </a:cubicBezTo>
                    <a:cubicBezTo>
                      <a:pt x="0" y="6"/>
                      <a:pt x="6" y="0"/>
                      <a:pt x="15" y="0"/>
                    </a:cubicBezTo>
                    <a:cubicBezTo>
                      <a:pt x="23" y="0"/>
                      <a:pt x="30" y="6"/>
                      <a:pt x="30" y="15"/>
                    </a:cubicBezTo>
                    <a:cubicBezTo>
                      <a:pt x="30" y="23"/>
                      <a:pt x="23" y="30"/>
                      <a:pt x="15" y="30"/>
                    </a:cubicBezTo>
                    <a:close/>
                    <a:moveTo>
                      <a:pt x="15" y="3"/>
                    </a:moveTo>
                    <a:cubicBezTo>
                      <a:pt x="8" y="3"/>
                      <a:pt x="3" y="8"/>
                      <a:pt x="3" y="15"/>
                    </a:cubicBezTo>
                    <a:cubicBezTo>
                      <a:pt x="3" y="21"/>
                      <a:pt x="8" y="27"/>
                      <a:pt x="15" y="27"/>
                    </a:cubicBezTo>
                    <a:cubicBezTo>
                      <a:pt x="21" y="27"/>
                      <a:pt x="27" y="21"/>
                      <a:pt x="27" y="15"/>
                    </a:cubicBezTo>
                    <a:cubicBezTo>
                      <a:pt x="27" y="8"/>
                      <a:pt x="21" y="3"/>
                      <a:pt x="1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7" name="Freeform 366">
                <a:extLst>
                  <a:ext uri="{FF2B5EF4-FFF2-40B4-BE49-F238E27FC236}">
                    <a16:creationId xmlns:a16="http://schemas.microsoft.com/office/drawing/2014/main" id="{0A34F5C0-1C81-64E3-6C49-A2D2B938D27E}"/>
                  </a:ext>
                </a:extLst>
              </p:cNvPr>
              <p:cNvSpPr>
                <a:spLocks noEditPoints="1"/>
              </p:cNvSpPr>
              <p:nvPr/>
            </p:nvSpPr>
            <p:spPr bwMode="auto">
              <a:xfrm>
                <a:off x="2052637" y="1322121"/>
                <a:ext cx="82155" cy="86915"/>
              </a:xfrm>
              <a:custGeom>
                <a:avLst/>
                <a:gdLst>
                  <a:gd name="T0" fmla="*/ 10 w 15"/>
                  <a:gd name="T1" fmla="*/ 16 h 16"/>
                  <a:gd name="T2" fmla="*/ 5 w 15"/>
                  <a:gd name="T3" fmla="*/ 14 h 16"/>
                  <a:gd name="T4" fmla="*/ 1 w 15"/>
                  <a:gd name="T5" fmla="*/ 7 h 16"/>
                  <a:gd name="T6" fmla="*/ 0 w 15"/>
                  <a:gd name="T7" fmla="*/ 4 h 16"/>
                  <a:gd name="T8" fmla="*/ 3 w 15"/>
                  <a:gd name="T9" fmla="*/ 0 h 16"/>
                  <a:gd name="T10" fmla="*/ 5 w 15"/>
                  <a:gd name="T11" fmla="*/ 0 h 16"/>
                  <a:gd name="T12" fmla="*/ 9 w 15"/>
                  <a:gd name="T13" fmla="*/ 2 h 16"/>
                  <a:gd name="T14" fmla="*/ 14 w 15"/>
                  <a:gd name="T15" fmla="*/ 9 h 16"/>
                  <a:gd name="T16" fmla="*/ 14 w 15"/>
                  <a:gd name="T17" fmla="*/ 12 h 16"/>
                  <a:gd name="T18" fmla="*/ 12 w 15"/>
                  <a:gd name="T19" fmla="*/ 15 h 16"/>
                  <a:gd name="T20" fmla="*/ 10 w 15"/>
                  <a:gd name="T21" fmla="*/ 16 h 16"/>
                  <a:gd name="T22" fmla="*/ 5 w 15"/>
                  <a:gd name="T23" fmla="*/ 3 h 16"/>
                  <a:gd name="T24" fmla="*/ 4 w 15"/>
                  <a:gd name="T25" fmla="*/ 3 h 16"/>
                  <a:gd name="T26" fmla="*/ 3 w 15"/>
                  <a:gd name="T27" fmla="*/ 4 h 16"/>
                  <a:gd name="T28" fmla="*/ 4 w 15"/>
                  <a:gd name="T29" fmla="*/ 6 h 16"/>
                  <a:gd name="T30" fmla="*/ 8 w 15"/>
                  <a:gd name="T31" fmla="*/ 12 h 16"/>
                  <a:gd name="T32" fmla="*/ 11 w 15"/>
                  <a:gd name="T33" fmla="*/ 13 h 16"/>
                  <a:gd name="T34" fmla="*/ 12 w 15"/>
                  <a:gd name="T35" fmla="*/ 12 h 16"/>
                  <a:gd name="T36" fmla="*/ 11 w 15"/>
                  <a:gd name="T37" fmla="*/ 10 h 16"/>
                  <a:gd name="T38" fmla="*/ 7 w 15"/>
                  <a:gd name="T39" fmla="*/ 4 h 16"/>
                  <a:gd name="T40" fmla="*/ 5 w 15"/>
                  <a:gd name="T4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6">
                    <a:moveTo>
                      <a:pt x="10" y="16"/>
                    </a:moveTo>
                    <a:cubicBezTo>
                      <a:pt x="8" y="16"/>
                      <a:pt x="6" y="15"/>
                      <a:pt x="5" y="14"/>
                    </a:cubicBezTo>
                    <a:cubicBezTo>
                      <a:pt x="1" y="7"/>
                      <a:pt x="1" y="7"/>
                      <a:pt x="1" y="7"/>
                    </a:cubicBezTo>
                    <a:cubicBezTo>
                      <a:pt x="0" y="6"/>
                      <a:pt x="0" y="5"/>
                      <a:pt x="0" y="4"/>
                    </a:cubicBezTo>
                    <a:cubicBezTo>
                      <a:pt x="1" y="2"/>
                      <a:pt x="1" y="1"/>
                      <a:pt x="3" y="0"/>
                    </a:cubicBezTo>
                    <a:cubicBezTo>
                      <a:pt x="3" y="0"/>
                      <a:pt x="4" y="0"/>
                      <a:pt x="5" y="0"/>
                    </a:cubicBezTo>
                    <a:cubicBezTo>
                      <a:pt x="7" y="0"/>
                      <a:pt x="9" y="1"/>
                      <a:pt x="9" y="2"/>
                    </a:cubicBezTo>
                    <a:cubicBezTo>
                      <a:pt x="14" y="9"/>
                      <a:pt x="14" y="9"/>
                      <a:pt x="14" y="9"/>
                    </a:cubicBezTo>
                    <a:cubicBezTo>
                      <a:pt x="15" y="10"/>
                      <a:pt x="15" y="11"/>
                      <a:pt x="14" y="12"/>
                    </a:cubicBezTo>
                    <a:cubicBezTo>
                      <a:pt x="14" y="14"/>
                      <a:pt x="13" y="15"/>
                      <a:pt x="12" y="15"/>
                    </a:cubicBezTo>
                    <a:cubicBezTo>
                      <a:pt x="12" y="16"/>
                      <a:pt x="11" y="16"/>
                      <a:pt x="10" y="16"/>
                    </a:cubicBezTo>
                    <a:close/>
                    <a:moveTo>
                      <a:pt x="5" y="3"/>
                    </a:moveTo>
                    <a:cubicBezTo>
                      <a:pt x="5" y="3"/>
                      <a:pt x="5" y="3"/>
                      <a:pt x="4" y="3"/>
                    </a:cubicBezTo>
                    <a:cubicBezTo>
                      <a:pt x="4" y="3"/>
                      <a:pt x="3" y="4"/>
                      <a:pt x="3" y="4"/>
                    </a:cubicBezTo>
                    <a:cubicBezTo>
                      <a:pt x="3" y="5"/>
                      <a:pt x="3" y="5"/>
                      <a:pt x="4" y="6"/>
                    </a:cubicBezTo>
                    <a:cubicBezTo>
                      <a:pt x="8" y="12"/>
                      <a:pt x="8" y="12"/>
                      <a:pt x="8" y="12"/>
                    </a:cubicBezTo>
                    <a:cubicBezTo>
                      <a:pt x="8" y="13"/>
                      <a:pt x="10" y="14"/>
                      <a:pt x="11" y="13"/>
                    </a:cubicBezTo>
                    <a:cubicBezTo>
                      <a:pt x="11" y="13"/>
                      <a:pt x="11" y="12"/>
                      <a:pt x="12" y="12"/>
                    </a:cubicBezTo>
                    <a:cubicBezTo>
                      <a:pt x="12" y="11"/>
                      <a:pt x="12" y="11"/>
                      <a:pt x="11" y="10"/>
                    </a:cubicBezTo>
                    <a:cubicBezTo>
                      <a:pt x="7" y="4"/>
                      <a:pt x="7" y="4"/>
                      <a:pt x="7" y="4"/>
                    </a:cubicBezTo>
                    <a:cubicBezTo>
                      <a:pt x="7" y="3"/>
                      <a:pt x="6"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8" name="Freeform 367">
                <a:extLst>
                  <a:ext uri="{FF2B5EF4-FFF2-40B4-BE49-F238E27FC236}">
                    <a16:creationId xmlns:a16="http://schemas.microsoft.com/office/drawing/2014/main" id="{4243D4BF-838E-12F1-88AD-08EC77965D1D}"/>
                  </a:ext>
                </a:extLst>
              </p:cNvPr>
              <p:cNvSpPr>
                <a:spLocks noEditPoints="1"/>
              </p:cNvSpPr>
              <p:nvPr/>
            </p:nvSpPr>
            <p:spPr bwMode="auto">
              <a:xfrm>
                <a:off x="2362200" y="1430467"/>
                <a:ext cx="64294" cy="97631"/>
              </a:xfrm>
              <a:custGeom>
                <a:avLst/>
                <a:gdLst>
                  <a:gd name="T0" fmla="*/ 5 w 12"/>
                  <a:gd name="T1" fmla="*/ 18 h 18"/>
                  <a:gd name="T2" fmla="*/ 5 w 12"/>
                  <a:gd name="T3" fmla="*/ 18 h 18"/>
                  <a:gd name="T4" fmla="*/ 1 w 12"/>
                  <a:gd name="T5" fmla="*/ 16 h 18"/>
                  <a:gd name="T6" fmla="*/ 0 w 12"/>
                  <a:gd name="T7" fmla="*/ 12 h 18"/>
                  <a:gd name="T8" fmla="*/ 2 w 12"/>
                  <a:gd name="T9" fmla="*/ 5 h 18"/>
                  <a:gd name="T10" fmla="*/ 7 w 12"/>
                  <a:gd name="T11" fmla="*/ 0 h 18"/>
                  <a:gd name="T12" fmla="*/ 8 w 12"/>
                  <a:gd name="T13" fmla="*/ 1 h 18"/>
                  <a:gd name="T14" fmla="*/ 12 w 12"/>
                  <a:gd name="T15" fmla="*/ 6 h 18"/>
                  <a:gd name="T16" fmla="*/ 10 w 12"/>
                  <a:gd name="T17" fmla="*/ 14 h 18"/>
                  <a:gd name="T18" fmla="*/ 5 w 12"/>
                  <a:gd name="T19" fmla="*/ 18 h 18"/>
                  <a:gd name="T20" fmla="*/ 7 w 12"/>
                  <a:gd name="T21" fmla="*/ 3 h 18"/>
                  <a:gd name="T22" fmla="*/ 5 w 12"/>
                  <a:gd name="T23" fmla="*/ 5 h 18"/>
                  <a:gd name="T24" fmla="*/ 3 w 12"/>
                  <a:gd name="T25" fmla="*/ 13 h 18"/>
                  <a:gd name="T26" fmla="*/ 4 w 12"/>
                  <a:gd name="T27" fmla="*/ 14 h 18"/>
                  <a:gd name="T28" fmla="*/ 5 w 12"/>
                  <a:gd name="T29" fmla="*/ 15 h 18"/>
                  <a:gd name="T30" fmla="*/ 7 w 12"/>
                  <a:gd name="T31" fmla="*/ 14 h 18"/>
                  <a:gd name="T32" fmla="*/ 9 w 12"/>
                  <a:gd name="T33" fmla="*/ 6 h 18"/>
                  <a:gd name="T34" fmla="*/ 8 w 12"/>
                  <a:gd name="T35" fmla="*/ 4 h 18"/>
                  <a:gd name="T36" fmla="*/ 7 w 12"/>
                  <a:gd name="T37" fmla="*/ 4 h 18"/>
                  <a:gd name="T38" fmla="*/ 7 w 12"/>
                  <a:gd name="T39"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8">
                    <a:moveTo>
                      <a:pt x="5" y="18"/>
                    </a:moveTo>
                    <a:cubicBezTo>
                      <a:pt x="5" y="18"/>
                      <a:pt x="5" y="18"/>
                      <a:pt x="5" y="18"/>
                    </a:cubicBezTo>
                    <a:cubicBezTo>
                      <a:pt x="3" y="18"/>
                      <a:pt x="2" y="17"/>
                      <a:pt x="1" y="16"/>
                    </a:cubicBezTo>
                    <a:cubicBezTo>
                      <a:pt x="1" y="15"/>
                      <a:pt x="0" y="14"/>
                      <a:pt x="0" y="12"/>
                    </a:cubicBezTo>
                    <a:cubicBezTo>
                      <a:pt x="2" y="5"/>
                      <a:pt x="2" y="5"/>
                      <a:pt x="2" y="5"/>
                    </a:cubicBezTo>
                    <a:cubicBezTo>
                      <a:pt x="2" y="2"/>
                      <a:pt x="4" y="0"/>
                      <a:pt x="7" y="0"/>
                    </a:cubicBezTo>
                    <a:cubicBezTo>
                      <a:pt x="7" y="0"/>
                      <a:pt x="7" y="1"/>
                      <a:pt x="8" y="1"/>
                    </a:cubicBezTo>
                    <a:cubicBezTo>
                      <a:pt x="10" y="1"/>
                      <a:pt x="12" y="4"/>
                      <a:pt x="12" y="6"/>
                    </a:cubicBezTo>
                    <a:cubicBezTo>
                      <a:pt x="10" y="14"/>
                      <a:pt x="10" y="14"/>
                      <a:pt x="10" y="14"/>
                    </a:cubicBezTo>
                    <a:cubicBezTo>
                      <a:pt x="10" y="17"/>
                      <a:pt x="8" y="18"/>
                      <a:pt x="5" y="18"/>
                    </a:cubicBezTo>
                    <a:close/>
                    <a:moveTo>
                      <a:pt x="7" y="3"/>
                    </a:moveTo>
                    <a:cubicBezTo>
                      <a:pt x="6" y="3"/>
                      <a:pt x="5" y="4"/>
                      <a:pt x="5" y="5"/>
                    </a:cubicBezTo>
                    <a:cubicBezTo>
                      <a:pt x="3" y="13"/>
                      <a:pt x="3" y="13"/>
                      <a:pt x="3" y="13"/>
                    </a:cubicBezTo>
                    <a:cubicBezTo>
                      <a:pt x="3" y="13"/>
                      <a:pt x="3" y="14"/>
                      <a:pt x="4" y="14"/>
                    </a:cubicBezTo>
                    <a:cubicBezTo>
                      <a:pt x="4" y="15"/>
                      <a:pt x="5" y="15"/>
                      <a:pt x="5" y="15"/>
                    </a:cubicBezTo>
                    <a:cubicBezTo>
                      <a:pt x="6" y="15"/>
                      <a:pt x="7" y="15"/>
                      <a:pt x="7" y="14"/>
                    </a:cubicBezTo>
                    <a:cubicBezTo>
                      <a:pt x="9" y="6"/>
                      <a:pt x="9" y="6"/>
                      <a:pt x="9" y="6"/>
                    </a:cubicBezTo>
                    <a:cubicBezTo>
                      <a:pt x="9" y="5"/>
                      <a:pt x="9" y="5"/>
                      <a:pt x="8" y="4"/>
                    </a:cubicBezTo>
                    <a:cubicBezTo>
                      <a:pt x="8" y="4"/>
                      <a:pt x="8" y="4"/>
                      <a:pt x="7" y="4"/>
                    </a:cubicBezTo>
                    <a:cubicBezTo>
                      <a:pt x="7" y="4"/>
                      <a:pt x="7" y="3"/>
                      <a:pt x="7"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49" name="Freeform 368">
                <a:extLst>
                  <a:ext uri="{FF2B5EF4-FFF2-40B4-BE49-F238E27FC236}">
                    <a16:creationId xmlns:a16="http://schemas.microsoft.com/office/drawing/2014/main" id="{A6B03012-FB91-6453-F326-F6F407B61ACE}"/>
                  </a:ext>
                </a:extLst>
              </p:cNvPr>
              <p:cNvSpPr>
                <a:spLocks noEditPoints="1"/>
              </p:cNvSpPr>
              <p:nvPr/>
            </p:nvSpPr>
            <p:spPr bwMode="auto">
              <a:xfrm>
                <a:off x="2199085" y="1409034"/>
                <a:ext cx="97631" cy="65485"/>
              </a:xfrm>
              <a:custGeom>
                <a:avLst/>
                <a:gdLst>
                  <a:gd name="T0" fmla="*/ 5 w 18"/>
                  <a:gd name="T1" fmla="*/ 12 h 12"/>
                  <a:gd name="T2" fmla="*/ 0 w 18"/>
                  <a:gd name="T3" fmla="*/ 9 h 12"/>
                  <a:gd name="T4" fmla="*/ 1 w 18"/>
                  <a:gd name="T5" fmla="*/ 5 h 12"/>
                  <a:gd name="T6" fmla="*/ 4 w 18"/>
                  <a:gd name="T7" fmla="*/ 2 h 12"/>
                  <a:gd name="T8" fmla="*/ 11 w 18"/>
                  <a:gd name="T9" fmla="*/ 0 h 12"/>
                  <a:gd name="T10" fmla="*/ 13 w 18"/>
                  <a:gd name="T11" fmla="*/ 0 h 12"/>
                  <a:gd name="T12" fmla="*/ 17 w 18"/>
                  <a:gd name="T13" fmla="*/ 3 h 12"/>
                  <a:gd name="T14" fmla="*/ 17 w 18"/>
                  <a:gd name="T15" fmla="*/ 7 h 12"/>
                  <a:gd name="T16" fmla="*/ 14 w 18"/>
                  <a:gd name="T17" fmla="*/ 10 h 12"/>
                  <a:gd name="T18" fmla="*/ 6 w 18"/>
                  <a:gd name="T19" fmla="*/ 12 h 12"/>
                  <a:gd name="T20" fmla="*/ 5 w 18"/>
                  <a:gd name="T21" fmla="*/ 12 h 12"/>
                  <a:gd name="T22" fmla="*/ 13 w 18"/>
                  <a:gd name="T23" fmla="*/ 3 h 12"/>
                  <a:gd name="T24" fmla="*/ 12 w 18"/>
                  <a:gd name="T25" fmla="*/ 3 h 12"/>
                  <a:gd name="T26" fmla="*/ 4 w 18"/>
                  <a:gd name="T27" fmla="*/ 5 h 12"/>
                  <a:gd name="T28" fmla="*/ 3 w 18"/>
                  <a:gd name="T29" fmla="*/ 6 h 12"/>
                  <a:gd name="T30" fmla="*/ 3 w 18"/>
                  <a:gd name="T31" fmla="*/ 8 h 12"/>
                  <a:gd name="T32" fmla="*/ 6 w 18"/>
                  <a:gd name="T33" fmla="*/ 9 h 12"/>
                  <a:gd name="T34" fmla="*/ 13 w 18"/>
                  <a:gd name="T35" fmla="*/ 7 h 12"/>
                  <a:gd name="T36" fmla="*/ 14 w 18"/>
                  <a:gd name="T37" fmla="*/ 6 h 12"/>
                  <a:gd name="T38" fmla="*/ 14 w 18"/>
                  <a:gd name="T39" fmla="*/ 4 h 12"/>
                  <a:gd name="T40" fmla="*/ 13 w 18"/>
                  <a:gd name="T4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2">
                    <a:moveTo>
                      <a:pt x="5" y="12"/>
                    </a:moveTo>
                    <a:cubicBezTo>
                      <a:pt x="3" y="12"/>
                      <a:pt x="1" y="11"/>
                      <a:pt x="0" y="9"/>
                    </a:cubicBezTo>
                    <a:cubicBezTo>
                      <a:pt x="0" y="7"/>
                      <a:pt x="0" y="6"/>
                      <a:pt x="1" y="5"/>
                    </a:cubicBezTo>
                    <a:cubicBezTo>
                      <a:pt x="1" y="4"/>
                      <a:pt x="2" y="3"/>
                      <a:pt x="4" y="2"/>
                    </a:cubicBezTo>
                    <a:cubicBezTo>
                      <a:pt x="11" y="0"/>
                      <a:pt x="11" y="0"/>
                      <a:pt x="11" y="0"/>
                    </a:cubicBezTo>
                    <a:cubicBezTo>
                      <a:pt x="12" y="0"/>
                      <a:pt x="12" y="0"/>
                      <a:pt x="13" y="0"/>
                    </a:cubicBezTo>
                    <a:cubicBezTo>
                      <a:pt x="15" y="0"/>
                      <a:pt x="17" y="1"/>
                      <a:pt x="17" y="3"/>
                    </a:cubicBezTo>
                    <a:cubicBezTo>
                      <a:pt x="18" y="5"/>
                      <a:pt x="18" y="6"/>
                      <a:pt x="17" y="7"/>
                    </a:cubicBezTo>
                    <a:cubicBezTo>
                      <a:pt x="16" y="8"/>
                      <a:pt x="15" y="9"/>
                      <a:pt x="14" y="10"/>
                    </a:cubicBezTo>
                    <a:cubicBezTo>
                      <a:pt x="6" y="12"/>
                      <a:pt x="6" y="12"/>
                      <a:pt x="6" y="12"/>
                    </a:cubicBezTo>
                    <a:cubicBezTo>
                      <a:pt x="6" y="12"/>
                      <a:pt x="5" y="12"/>
                      <a:pt x="5" y="12"/>
                    </a:cubicBezTo>
                    <a:close/>
                    <a:moveTo>
                      <a:pt x="13" y="3"/>
                    </a:moveTo>
                    <a:cubicBezTo>
                      <a:pt x="12" y="3"/>
                      <a:pt x="12" y="3"/>
                      <a:pt x="12" y="3"/>
                    </a:cubicBezTo>
                    <a:cubicBezTo>
                      <a:pt x="4" y="5"/>
                      <a:pt x="4" y="5"/>
                      <a:pt x="4" y="5"/>
                    </a:cubicBezTo>
                    <a:cubicBezTo>
                      <a:pt x="4" y="5"/>
                      <a:pt x="3" y="6"/>
                      <a:pt x="3" y="6"/>
                    </a:cubicBezTo>
                    <a:cubicBezTo>
                      <a:pt x="3" y="7"/>
                      <a:pt x="3" y="7"/>
                      <a:pt x="3" y="8"/>
                    </a:cubicBezTo>
                    <a:cubicBezTo>
                      <a:pt x="3" y="9"/>
                      <a:pt x="4" y="9"/>
                      <a:pt x="6" y="9"/>
                    </a:cubicBezTo>
                    <a:cubicBezTo>
                      <a:pt x="13" y="7"/>
                      <a:pt x="13" y="7"/>
                      <a:pt x="13" y="7"/>
                    </a:cubicBezTo>
                    <a:cubicBezTo>
                      <a:pt x="14" y="7"/>
                      <a:pt x="14" y="6"/>
                      <a:pt x="14" y="6"/>
                    </a:cubicBezTo>
                    <a:cubicBezTo>
                      <a:pt x="15" y="5"/>
                      <a:pt x="15" y="5"/>
                      <a:pt x="14" y="4"/>
                    </a:cubicBezTo>
                    <a:cubicBezTo>
                      <a:pt x="14" y="3"/>
                      <a:pt x="13" y="3"/>
                      <a:pt x="13"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0" name="Freeform 369">
                <a:extLst>
                  <a:ext uri="{FF2B5EF4-FFF2-40B4-BE49-F238E27FC236}">
                    <a16:creationId xmlns:a16="http://schemas.microsoft.com/office/drawing/2014/main" id="{D8D926F0-48B4-A0FC-83DB-8CA59DE0C8F5}"/>
                  </a:ext>
                </a:extLst>
              </p:cNvPr>
              <p:cNvSpPr>
                <a:spLocks noEditPoints="1"/>
              </p:cNvSpPr>
              <p:nvPr/>
            </p:nvSpPr>
            <p:spPr bwMode="auto">
              <a:xfrm>
                <a:off x="2171701" y="1576913"/>
                <a:ext cx="97631" cy="59531"/>
              </a:xfrm>
              <a:custGeom>
                <a:avLst/>
                <a:gdLst>
                  <a:gd name="T0" fmla="*/ 13 w 18"/>
                  <a:gd name="T1" fmla="*/ 11 h 11"/>
                  <a:gd name="T2" fmla="*/ 12 w 18"/>
                  <a:gd name="T3" fmla="*/ 11 h 11"/>
                  <a:gd name="T4" fmla="*/ 4 w 18"/>
                  <a:gd name="T5" fmla="*/ 10 h 11"/>
                  <a:gd name="T6" fmla="*/ 1 w 18"/>
                  <a:gd name="T7" fmla="*/ 8 h 11"/>
                  <a:gd name="T8" fmla="*/ 0 w 18"/>
                  <a:gd name="T9" fmla="*/ 5 h 11"/>
                  <a:gd name="T10" fmla="*/ 5 w 18"/>
                  <a:gd name="T11" fmla="*/ 0 h 11"/>
                  <a:gd name="T12" fmla="*/ 13 w 18"/>
                  <a:gd name="T13" fmla="*/ 1 h 11"/>
                  <a:gd name="T14" fmla="*/ 18 w 18"/>
                  <a:gd name="T15" fmla="*/ 7 h 11"/>
                  <a:gd name="T16" fmla="*/ 13 w 18"/>
                  <a:gd name="T17" fmla="*/ 11 h 11"/>
                  <a:gd name="T18" fmla="*/ 5 w 18"/>
                  <a:gd name="T19" fmla="*/ 3 h 11"/>
                  <a:gd name="T20" fmla="*/ 3 w 18"/>
                  <a:gd name="T21" fmla="*/ 5 h 11"/>
                  <a:gd name="T22" fmla="*/ 3 w 18"/>
                  <a:gd name="T23" fmla="*/ 6 h 11"/>
                  <a:gd name="T24" fmla="*/ 5 w 18"/>
                  <a:gd name="T25" fmla="*/ 7 h 11"/>
                  <a:gd name="T26" fmla="*/ 12 w 18"/>
                  <a:gd name="T27" fmla="*/ 8 h 11"/>
                  <a:gd name="T28" fmla="*/ 15 w 18"/>
                  <a:gd name="T29" fmla="*/ 7 h 11"/>
                  <a:gd name="T30" fmla="*/ 13 w 18"/>
                  <a:gd name="T31" fmla="*/ 4 h 11"/>
                  <a:gd name="T32" fmla="*/ 5 w 18"/>
                  <a:gd name="T33" fmla="*/ 3 h 11"/>
                  <a:gd name="T34" fmla="*/ 5 w 18"/>
                  <a:gd name="T3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1">
                    <a:moveTo>
                      <a:pt x="13" y="11"/>
                    </a:moveTo>
                    <a:cubicBezTo>
                      <a:pt x="12" y="11"/>
                      <a:pt x="12" y="11"/>
                      <a:pt x="12" y="11"/>
                    </a:cubicBezTo>
                    <a:cubicBezTo>
                      <a:pt x="4" y="10"/>
                      <a:pt x="4" y="10"/>
                      <a:pt x="4" y="10"/>
                    </a:cubicBezTo>
                    <a:cubicBezTo>
                      <a:pt x="3" y="10"/>
                      <a:pt x="2" y="9"/>
                      <a:pt x="1" y="8"/>
                    </a:cubicBezTo>
                    <a:cubicBezTo>
                      <a:pt x="0" y="7"/>
                      <a:pt x="0" y="6"/>
                      <a:pt x="0" y="5"/>
                    </a:cubicBezTo>
                    <a:cubicBezTo>
                      <a:pt x="0" y="2"/>
                      <a:pt x="3" y="0"/>
                      <a:pt x="5" y="0"/>
                    </a:cubicBezTo>
                    <a:cubicBezTo>
                      <a:pt x="13" y="1"/>
                      <a:pt x="13" y="1"/>
                      <a:pt x="13" y="1"/>
                    </a:cubicBezTo>
                    <a:cubicBezTo>
                      <a:pt x="16" y="2"/>
                      <a:pt x="18" y="4"/>
                      <a:pt x="18" y="7"/>
                    </a:cubicBezTo>
                    <a:cubicBezTo>
                      <a:pt x="17" y="9"/>
                      <a:pt x="15" y="11"/>
                      <a:pt x="13" y="11"/>
                    </a:cubicBezTo>
                    <a:close/>
                    <a:moveTo>
                      <a:pt x="5" y="3"/>
                    </a:moveTo>
                    <a:cubicBezTo>
                      <a:pt x="4" y="3"/>
                      <a:pt x="3" y="4"/>
                      <a:pt x="3" y="5"/>
                    </a:cubicBezTo>
                    <a:cubicBezTo>
                      <a:pt x="3" y="5"/>
                      <a:pt x="3" y="6"/>
                      <a:pt x="3" y="6"/>
                    </a:cubicBezTo>
                    <a:cubicBezTo>
                      <a:pt x="4" y="7"/>
                      <a:pt x="4" y="7"/>
                      <a:pt x="5" y="7"/>
                    </a:cubicBezTo>
                    <a:cubicBezTo>
                      <a:pt x="12" y="8"/>
                      <a:pt x="12" y="8"/>
                      <a:pt x="12" y="8"/>
                    </a:cubicBezTo>
                    <a:cubicBezTo>
                      <a:pt x="13" y="8"/>
                      <a:pt x="14" y="8"/>
                      <a:pt x="15" y="7"/>
                    </a:cubicBezTo>
                    <a:cubicBezTo>
                      <a:pt x="15" y="5"/>
                      <a:pt x="14" y="4"/>
                      <a:pt x="13" y="4"/>
                    </a:cubicBezTo>
                    <a:cubicBezTo>
                      <a:pt x="5" y="3"/>
                      <a:pt x="5" y="3"/>
                      <a:pt x="5" y="3"/>
                    </a:cubicBezTo>
                    <a:cubicBezTo>
                      <a:pt x="5" y="3"/>
                      <a:pt x="5"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1" name="Freeform 370">
                <a:extLst>
                  <a:ext uri="{FF2B5EF4-FFF2-40B4-BE49-F238E27FC236}">
                    <a16:creationId xmlns:a16="http://schemas.microsoft.com/office/drawing/2014/main" id="{98A33524-DA3D-681E-B4C9-A08B93BD2D07}"/>
                  </a:ext>
                </a:extLst>
              </p:cNvPr>
              <p:cNvSpPr>
                <a:spLocks/>
              </p:cNvSpPr>
              <p:nvPr/>
            </p:nvSpPr>
            <p:spPr bwMode="auto">
              <a:xfrm>
                <a:off x="2085976" y="1501903"/>
                <a:ext cx="123824" cy="64294"/>
              </a:xfrm>
              <a:custGeom>
                <a:avLst/>
                <a:gdLst>
                  <a:gd name="T0" fmla="*/ 7 w 23"/>
                  <a:gd name="T1" fmla="*/ 12 h 12"/>
                  <a:gd name="T2" fmla="*/ 6 w 23"/>
                  <a:gd name="T3" fmla="*/ 12 h 12"/>
                  <a:gd name="T4" fmla="*/ 1 w 23"/>
                  <a:gd name="T5" fmla="*/ 9 h 12"/>
                  <a:gd name="T6" fmla="*/ 0 w 23"/>
                  <a:gd name="T7" fmla="*/ 7 h 12"/>
                  <a:gd name="T8" fmla="*/ 2 w 23"/>
                  <a:gd name="T9" fmla="*/ 7 h 12"/>
                  <a:gd name="T10" fmla="*/ 6 w 23"/>
                  <a:gd name="T11" fmla="*/ 8 h 12"/>
                  <a:gd name="T12" fmla="*/ 7 w 23"/>
                  <a:gd name="T13" fmla="*/ 4 h 12"/>
                  <a:gd name="T14" fmla="*/ 8 w 23"/>
                  <a:gd name="T15" fmla="*/ 4 h 12"/>
                  <a:gd name="T16" fmla="*/ 9 w 23"/>
                  <a:gd name="T17" fmla="*/ 4 h 12"/>
                  <a:gd name="T18" fmla="*/ 13 w 23"/>
                  <a:gd name="T19" fmla="*/ 5 h 12"/>
                  <a:gd name="T20" fmla="*/ 15 w 23"/>
                  <a:gd name="T21" fmla="*/ 1 h 12"/>
                  <a:gd name="T22" fmla="*/ 15 w 23"/>
                  <a:gd name="T23" fmla="*/ 0 h 12"/>
                  <a:gd name="T24" fmla="*/ 17 w 23"/>
                  <a:gd name="T25" fmla="*/ 0 h 12"/>
                  <a:gd name="T26" fmla="*/ 22 w 23"/>
                  <a:gd name="T27" fmla="*/ 3 h 12"/>
                  <a:gd name="T28" fmla="*/ 23 w 23"/>
                  <a:gd name="T29" fmla="*/ 5 h 12"/>
                  <a:gd name="T30" fmla="*/ 21 w 23"/>
                  <a:gd name="T31" fmla="*/ 5 h 12"/>
                  <a:gd name="T32" fmla="*/ 17 w 23"/>
                  <a:gd name="T33" fmla="*/ 4 h 12"/>
                  <a:gd name="T34" fmla="*/ 15 w 23"/>
                  <a:gd name="T35" fmla="*/ 8 h 12"/>
                  <a:gd name="T36" fmla="*/ 14 w 23"/>
                  <a:gd name="T37" fmla="*/ 8 h 12"/>
                  <a:gd name="T38" fmla="*/ 13 w 23"/>
                  <a:gd name="T39" fmla="*/ 8 h 12"/>
                  <a:gd name="T40" fmla="*/ 10 w 23"/>
                  <a:gd name="T41" fmla="*/ 7 h 12"/>
                  <a:gd name="T42" fmla="*/ 8 w 23"/>
                  <a:gd name="T43" fmla="*/ 11 h 12"/>
                  <a:gd name="T44" fmla="*/ 7 w 23"/>
                  <a:gd name="T45" fmla="*/ 12 h 12"/>
                  <a:gd name="T46" fmla="*/ 7 w 23"/>
                  <a:gd name="T4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12">
                    <a:moveTo>
                      <a:pt x="7" y="12"/>
                    </a:moveTo>
                    <a:cubicBezTo>
                      <a:pt x="6" y="12"/>
                      <a:pt x="6" y="12"/>
                      <a:pt x="6" y="12"/>
                    </a:cubicBezTo>
                    <a:cubicBezTo>
                      <a:pt x="1" y="9"/>
                      <a:pt x="1" y="9"/>
                      <a:pt x="1" y="9"/>
                    </a:cubicBezTo>
                    <a:cubicBezTo>
                      <a:pt x="0" y="9"/>
                      <a:pt x="0" y="8"/>
                      <a:pt x="0" y="7"/>
                    </a:cubicBezTo>
                    <a:cubicBezTo>
                      <a:pt x="0" y="7"/>
                      <a:pt x="1" y="6"/>
                      <a:pt x="2" y="7"/>
                    </a:cubicBezTo>
                    <a:cubicBezTo>
                      <a:pt x="6" y="8"/>
                      <a:pt x="6" y="8"/>
                      <a:pt x="6" y="8"/>
                    </a:cubicBezTo>
                    <a:cubicBezTo>
                      <a:pt x="7" y="4"/>
                      <a:pt x="7" y="4"/>
                      <a:pt x="7" y="4"/>
                    </a:cubicBezTo>
                    <a:cubicBezTo>
                      <a:pt x="7" y="4"/>
                      <a:pt x="8" y="4"/>
                      <a:pt x="8" y="4"/>
                    </a:cubicBezTo>
                    <a:cubicBezTo>
                      <a:pt x="8" y="3"/>
                      <a:pt x="9" y="3"/>
                      <a:pt x="9" y="4"/>
                    </a:cubicBezTo>
                    <a:cubicBezTo>
                      <a:pt x="13" y="5"/>
                      <a:pt x="13" y="5"/>
                      <a:pt x="13" y="5"/>
                    </a:cubicBezTo>
                    <a:cubicBezTo>
                      <a:pt x="15" y="1"/>
                      <a:pt x="15" y="1"/>
                      <a:pt x="15" y="1"/>
                    </a:cubicBezTo>
                    <a:cubicBezTo>
                      <a:pt x="15" y="1"/>
                      <a:pt x="15" y="1"/>
                      <a:pt x="15" y="0"/>
                    </a:cubicBezTo>
                    <a:cubicBezTo>
                      <a:pt x="16" y="0"/>
                      <a:pt x="16" y="0"/>
                      <a:pt x="17" y="0"/>
                    </a:cubicBezTo>
                    <a:cubicBezTo>
                      <a:pt x="22" y="3"/>
                      <a:pt x="22" y="3"/>
                      <a:pt x="22" y="3"/>
                    </a:cubicBezTo>
                    <a:cubicBezTo>
                      <a:pt x="23" y="3"/>
                      <a:pt x="23" y="4"/>
                      <a:pt x="23" y="5"/>
                    </a:cubicBezTo>
                    <a:cubicBezTo>
                      <a:pt x="22" y="5"/>
                      <a:pt x="21" y="6"/>
                      <a:pt x="21" y="5"/>
                    </a:cubicBezTo>
                    <a:cubicBezTo>
                      <a:pt x="17" y="4"/>
                      <a:pt x="17" y="4"/>
                      <a:pt x="17" y="4"/>
                    </a:cubicBezTo>
                    <a:cubicBezTo>
                      <a:pt x="15" y="8"/>
                      <a:pt x="15" y="8"/>
                      <a:pt x="15" y="8"/>
                    </a:cubicBezTo>
                    <a:cubicBezTo>
                      <a:pt x="15" y="8"/>
                      <a:pt x="15" y="8"/>
                      <a:pt x="14" y="8"/>
                    </a:cubicBezTo>
                    <a:cubicBezTo>
                      <a:pt x="14" y="9"/>
                      <a:pt x="14" y="9"/>
                      <a:pt x="13" y="8"/>
                    </a:cubicBezTo>
                    <a:cubicBezTo>
                      <a:pt x="10" y="7"/>
                      <a:pt x="10" y="7"/>
                      <a:pt x="10" y="7"/>
                    </a:cubicBezTo>
                    <a:cubicBezTo>
                      <a:pt x="8" y="11"/>
                      <a:pt x="8" y="11"/>
                      <a:pt x="8" y="11"/>
                    </a:cubicBezTo>
                    <a:cubicBezTo>
                      <a:pt x="8" y="11"/>
                      <a:pt x="8" y="11"/>
                      <a:pt x="7" y="12"/>
                    </a:cubicBezTo>
                    <a:cubicBezTo>
                      <a:pt x="7" y="12"/>
                      <a:pt x="7" y="12"/>
                      <a:pt x="7" y="12"/>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2" name="Freeform 371">
                <a:extLst>
                  <a:ext uri="{FF2B5EF4-FFF2-40B4-BE49-F238E27FC236}">
                    <a16:creationId xmlns:a16="http://schemas.microsoft.com/office/drawing/2014/main" id="{87AD7D67-8A0F-C42D-4E60-F4F4085F05E9}"/>
                  </a:ext>
                </a:extLst>
              </p:cNvPr>
              <p:cNvSpPr>
                <a:spLocks/>
              </p:cNvSpPr>
              <p:nvPr/>
            </p:nvSpPr>
            <p:spPr bwMode="auto">
              <a:xfrm>
                <a:off x="2313385" y="1332834"/>
                <a:ext cx="119062" cy="76200"/>
              </a:xfrm>
              <a:custGeom>
                <a:avLst/>
                <a:gdLst>
                  <a:gd name="T0" fmla="*/ 7 w 22"/>
                  <a:gd name="T1" fmla="*/ 14 h 14"/>
                  <a:gd name="T2" fmla="*/ 7 w 22"/>
                  <a:gd name="T3" fmla="*/ 13 h 14"/>
                  <a:gd name="T4" fmla="*/ 2 w 22"/>
                  <a:gd name="T5" fmla="*/ 13 h 14"/>
                  <a:gd name="T6" fmla="*/ 0 w 22"/>
                  <a:gd name="T7" fmla="*/ 11 h 14"/>
                  <a:gd name="T8" fmla="*/ 2 w 22"/>
                  <a:gd name="T9" fmla="*/ 10 h 14"/>
                  <a:gd name="T10" fmla="*/ 6 w 22"/>
                  <a:gd name="T11" fmla="*/ 10 h 14"/>
                  <a:gd name="T12" fmla="*/ 7 w 22"/>
                  <a:gd name="T13" fmla="*/ 6 h 14"/>
                  <a:gd name="T14" fmla="*/ 7 w 22"/>
                  <a:gd name="T15" fmla="*/ 5 h 14"/>
                  <a:gd name="T16" fmla="*/ 8 w 22"/>
                  <a:gd name="T17" fmla="*/ 5 h 14"/>
                  <a:gd name="T18" fmla="*/ 12 w 22"/>
                  <a:gd name="T19" fmla="*/ 6 h 14"/>
                  <a:gd name="T20" fmla="*/ 13 w 22"/>
                  <a:gd name="T21" fmla="*/ 1 h 14"/>
                  <a:gd name="T22" fmla="*/ 14 w 22"/>
                  <a:gd name="T23" fmla="*/ 0 h 14"/>
                  <a:gd name="T24" fmla="*/ 15 w 22"/>
                  <a:gd name="T25" fmla="*/ 0 h 14"/>
                  <a:gd name="T26" fmla="*/ 20 w 22"/>
                  <a:gd name="T27" fmla="*/ 1 h 14"/>
                  <a:gd name="T28" fmla="*/ 21 w 22"/>
                  <a:gd name="T29" fmla="*/ 3 h 14"/>
                  <a:gd name="T30" fmla="*/ 20 w 22"/>
                  <a:gd name="T31" fmla="*/ 4 h 14"/>
                  <a:gd name="T32" fmla="*/ 16 w 22"/>
                  <a:gd name="T33" fmla="*/ 3 h 14"/>
                  <a:gd name="T34" fmla="*/ 15 w 22"/>
                  <a:gd name="T35" fmla="*/ 7 h 14"/>
                  <a:gd name="T36" fmla="*/ 15 w 22"/>
                  <a:gd name="T37" fmla="*/ 8 h 14"/>
                  <a:gd name="T38" fmla="*/ 13 w 22"/>
                  <a:gd name="T39" fmla="*/ 9 h 14"/>
                  <a:gd name="T40" fmla="*/ 9 w 22"/>
                  <a:gd name="T41" fmla="*/ 8 h 14"/>
                  <a:gd name="T42" fmla="*/ 9 w 22"/>
                  <a:gd name="T43" fmla="*/ 12 h 14"/>
                  <a:gd name="T44" fmla="*/ 8 w 22"/>
                  <a:gd name="T45" fmla="*/ 13 h 14"/>
                  <a:gd name="T46" fmla="*/ 7 w 22"/>
                  <a:gd name="T4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14">
                    <a:moveTo>
                      <a:pt x="7" y="14"/>
                    </a:moveTo>
                    <a:cubicBezTo>
                      <a:pt x="7" y="14"/>
                      <a:pt x="7" y="14"/>
                      <a:pt x="7" y="13"/>
                    </a:cubicBezTo>
                    <a:cubicBezTo>
                      <a:pt x="2" y="13"/>
                      <a:pt x="2" y="13"/>
                      <a:pt x="2" y="13"/>
                    </a:cubicBezTo>
                    <a:cubicBezTo>
                      <a:pt x="1" y="13"/>
                      <a:pt x="0" y="12"/>
                      <a:pt x="0" y="11"/>
                    </a:cubicBezTo>
                    <a:cubicBezTo>
                      <a:pt x="0" y="10"/>
                      <a:pt x="1" y="10"/>
                      <a:pt x="2" y="10"/>
                    </a:cubicBezTo>
                    <a:cubicBezTo>
                      <a:pt x="6" y="10"/>
                      <a:pt x="6" y="10"/>
                      <a:pt x="6" y="10"/>
                    </a:cubicBezTo>
                    <a:cubicBezTo>
                      <a:pt x="7" y="6"/>
                      <a:pt x="7" y="6"/>
                      <a:pt x="7" y="6"/>
                    </a:cubicBezTo>
                    <a:cubicBezTo>
                      <a:pt x="7" y="6"/>
                      <a:pt x="7" y="5"/>
                      <a:pt x="7" y="5"/>
                    </a:cubicBezTo>
                    <a:cubicBezTo>
                      <a:pt x="7" y="5"/>
                      <a:pt x="8" y="5"/>
                      <a:pt x="8" y="5"/>
                    </a:cubicBezTo>
                    <a:cubicBezTo>
                      <a:pt x="12" y="6"/>
                      <a:pt x="12" y="6"/>
                      <a:pt x="12" y="6"/>
                    </a:cubicBezTo>
                    <a:cubicBezTo>
                      <a:pt x="13" y="1"/>
                      <a:pt x="13" y="1"/>
                      <a:pt x="13" y="1"/>
                    </a:cubicBezTo>
                    <a:cubicBezTo>
                      <a:pt x="13" y="1"/>
                      <a:pt x="13" y="1"/>
                      <a:pt x="14" y="0"/>
                    </a:cubicBezTo>
                    <a:cubicBezTo>
                      <a:pt x="14" y="0"/>
                      <a:pt x="14" y="0"/>
                      <a:pt x="15" y="0"/>
                    </a:cubicBezTo>
                    <a:cubicBezTo>
                      <a:pt x="20" y="1"/>
                      <a:pt x="20" y="1"/>
                      <a:pt x="20" y="1"/>
                    </a:cubicBezTo>
                    <a:cubicBezTo>
                      <a:pt x="21" y="1"/>
                      <a:pt x="22" y="2"/>
                      <a:pt x="21" y="3"/>
                    </a:cubicBezTo>
                    <a:cubicBezTo>
                      <a:pt x="21" y="4"/>
                      <a:pt x="21" y="4"/>
                      <a:pt x="20" y="4"/>
                    </a:cubicBezTo>
                    <a:cubicBezTo>
                      <a:pt x="16" y="3"/>
                      <a:pt x="16" y="3"/>
                      <a:pt x="16" y="3"/>
                    </a:cubicBezTo>
                    <a:cubicBezTo>
                      <a:pt x="15" y="7"/>
                      <a:pt x="15" y="7"/>
                      <a:pt x="15" y="7"/>
                    </a:cubicBezTo>
                    <a:cubicBezTo>
                      <a:pt x="15" y="8"/>
                      <a:pt x="15" y="8"/>
                      <a:pt x="15" y="8"/>
                    </a:cubicBezTo>
                    <a:cubicBezTo>
                      <a:pt x="14" y="9"/>
                      <a:pt x="14" y="9"/>
                      <a:pt x="13" y="9"/>
                    </a:cubicBezTo>
                    <a:cubicBezTo>
                      <a:pt x="9" y="8"/>
                      <a:pt x="9" y="8"/>
                      <a:pt x="9" y="8"/>
                    </a:cubicBezTo>
                    <a:cubicBezTo>
                      <a:pt x="9" y="12"/>
                      <a:pt x="9" y="12"/>
                      <a:pt x="9" y="12"/>
                    </a:cubicBezTo>
                    <a:cubicBezTo>
                      <a:pt x="9" y="13"/>
                      <a:pt x="9" y="13"/>
                      <a:pt x="8" y="13"/>
                    </a:cubicBezTo>
                    <a:cubicBezTo>
                      <a:pt x="8" y="13"/>
                      <a:pt x="8" y="14"/>
                      <a:pt x="7" y="14"/>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3" name="Freeform 372">
                <a:extLst>
                  <a:ext uri="{FF2B5EF4-FFF2-40B4-BE49-F238E27FC236}">
                    <a16:creationId xmlns:a16="http://schemas.microsoft.com/office/drawing/2014/main" id="{6FAA824C-7989-EDD1-D565-5D02B9AF32EF}"/>
                  </a:ext>
                </a:extLst>
              </p:cNvPr>
              <p:cNvSpPr>
                <a:spLocks noEditPoints="1"/>
              </p:cNvSpPr>
              <p:nvPr/>
            </p:nvSpPr>
            <p:spPr bwMode="auto">
              <a:xfrm>
                <a:off x="2328862" y="1262585"/>
                <a:ext cx="48816" cy="48816"/>
              </a:xfrm>
              <a:custGeom>
                <a:avLst/>
                <a:gdLst>
                  <a:gd name="T0" fmla="*/ 5 w 9"/>
                  <a:gd name="T1" fmla="*/ 9 h 9"/>
                  <a:gd name="T2" fmla="*/ 0 w 9"/>
                  <a:gd name="T3" fmla="*/ 4 h 9"/>
                  <a:gd name="T4" fmla="*/ 5 w 9"/>
                  <a:gd name="T5" fmla="*/ 0 h 9"/>
                  <a:gd name="T6" fmla="*/ 9 w 9"/>
                  <a:gd name="T7" fmla="*/ 4 h 9"/>
                  <a:gd name="T8" fmla="*/ 5 w 9"/>
                  <a:gd name="T9" fmla="*/ 9 h 9"/>
                  <a:gd name="T10" fmla="*/ 5 w 9"/>
                  <a:gd name="T11" fmla="*/ 3 h 9"/>
                  <a:gd name="T12" fmla="*/ 3 w 9"/>
                  <a:gd name="T13" fmla="*/ 4 h 9"/>
                  <a:gd name="T14" fmla="*/ 5 w 9"/>
                  <a:gd name="T15" fmla="*/ 6 h 9"/>
                  <a:gd name="T16" fmla="*/ 6 w 9"/>
                  <a:gd name="T17" fmla="*/ 4 h 9"/>
                  <a:gd name="T18" fmla="*/ 5 w 9"/>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5" y="9"/>
                    </a:moveTo>
                    <a:cubicBezTo>
                      <a:pt x="2" y="9"/>
                      <a:pt x="0" y="7"/>
                      <a:pt x="0" y="4"/>
                    </a:cubicBezTo>
                    <a:cubicBezTo>
                      <a:pt x="0" y="2"/>
                      <a:pt x="2" y="0"/>
                      <a:pt x="5" y="0"/>
                    </a:cubicBezTo>
                    <a:cubicBezTo>
                      <a:pt x="7" y="0"/>
                      <a:pt x="9" y="2"/>
                      <a:pt x="9" y="4"/>
                    </a:cubicBezTo>
                    <a:cubicBezTo>
                      <a:pt x="9" y="7"/>
                      <a:pt x="7" y="9"/>
                      <a:pt x="5" y="9"/>
                    </a:cubicBezTo>
                    <a:close/>
                    <a:moveTo>
                      <a:pt x="5" y="3"/>
                    </a:moveTo>
                    <a:cubicBezTo>
                      <a:pt x="4" y="3"/>
                      <a:pt x="3" y="4"/>
                      <a:pt x="3" y="4"/>
                    </a:cubicBezTo>
                    <a:cubicBezTo>
                      <a:pt x="3" y="5"/>
                      <a:pt x="4" y="6"/>
                      <a:pt x="5" y="6"/>
                    </a:cubicBezTo>
                    <a:cubicBezTo>
                      <a:pt x="6" y="6"/>
                      <a:pt x="6" y="5"/>
                      <a:pt x="6" y="4"/>
                    </a:cubicBezTo>
                    <a:cubicBezTo>
                      <a:pt x="6" y="4"/>
                      <a:pt x="6"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4" name="Freeform 373">
                <a:extLst>
                  <a:ext uri="{FF2B5EF4-FFF2-40B4-BE49-F238E27FC236}">
                    <a16:creationId xmlns:a16="http://schemas.microsoft.com/office/drawing/2014/main" id="{4A561FD3-51D3-06E5-55BD-9F6DA450F323}"/>
                  </a:ext>
                </a:extLst>
              </p:cNvPr>
              <p:cNvSpPr>
                <a:spLocks noEditPoints="1"/>
              </p:cNvSpPr>
              <p:nvPr/>
            </p:nvSpPr>
            <p:spPr bwMode="auto">
              <a:xfrm>
                <a:off x="2052638" y="1453086"/>
                <a:ext cx="48816" cy="48816"/>
              </a:xfrm>
              <a:custGeom>
                <a:avLst/>
                <a:gdLst>
                  <a:gd name="T0" fmla="*/ 4 w 9"/>
                  <a:gd name="T1" fmla="*/ 9 h 9"/>
                  <a:gd name="T2" fmla="*/ 0 w 9"/>
                  <a:gd name="T3" fmla="*/ 4 h 9"/>
                  <a:gd name="T4" fmla="*/ 4 w 9"/>
                  <a:gd name="T5" fmla="*/ 0 h 9"/>
                  <a:gd name="T6" fmla="*/ 9 w 9"/>
                  <a:gd name="T7" fmla="*/ 4 h 9"/>
                  <a:gd name="T8" fmla="*/ 4 w 9"/>
                  <a:gd name="T9" fmla="*/ 9 h 9"/>
                  <a:gd name="T10" fmla="*/ 4 w 9"/>
                  <a:gd name="T11" fmla="*/ 3 h 9"/>
                  <a:gd name="T12" fmla="*/ 3 w 9"/>
                  <a:gd name="T13" fmla="*/ 4 h 9"/>
                  <a:gd name="T14" fmla="*/ 4 w 9"/>
                  <a:gd name="T15" fmla="*/ 6 h 9"/>
                  <a:gd name="T16" fmla="*/ 6 w 9"/>
                  <a:gd name="T17" fmla="*/ 4 h 9"/>
                  <a:gd name="T18" fmla="*/ 4 w 9"/>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4" y="9"/>
                    </a:moveTo>
                    <a:cubicBezTo>
                      <a:pt x="2" y="9"/>
                      <a:pt x="0" y="7"/>
                      <a:pt x="0" y="4"/>
                    </a:cubicBezTo>
                    <a:cubicBezTo>
                      <a:pt x="0" y="2"/>
                      <a:pt x="2" y="0"/>
                      <a:pt x="4" y="0"/>
                    </a:cubicBezTo>
                    <a:cubicBezTo>
                      <a:pt x="7" y="0"/>
                      <a:pt x="9" y="2"/>
                      <a:pt x="9" y="4"/>
                    </a:cubicBezTo>
                    <a:cubicBezTo>
                      <a:pt x="9" y="7"/>
                      <a:pt x="7" y="9"/>
                      <a:pt x="4" y="9"/>
                    </a:cubicBezTo>
                    <a:close/>
                    <a:moveTo>
                      <a:pt x="4" y="3"/>
                    </a:moveTo>
                    <a:cubicBezTo>
                      <a:pt x="3" y="3"/>
                      <a:pt x="3" y="3"/>
                      <a:pt x="3" y="4"/>
                    </a:cubicBezTo>
                    <a:cubicBezTo>
                      <a:pt x="3" y="5"/>
                      <a:pt x="3" y="6"/>
                      <a:pt x="4" y="6"/>
                    </a:cubicBezTo>
                    <a:cubicBezTo>
                      <a:pt x="5" y="6"/>
                      <a:pt x="6" y="5"/>
                      <a:pt x="6" y="4"/>
                    </a:cubicBezTo>
                    <a:cubicBezTo>
                      <a:pt x="6" y="3"/>
                      <a:pt x="5" y="3"/>
                      <a:pt x="4"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5" name="Freeform 374">
                <a:extLst>
                  <a:ext uri="{FF2B5EF4-FFF2-40B4-BE49-F238E27FC236}">
                    <a16:creationId xmlns:a16="http://schemas.microsoft.com/office/drawing/2014/main" id="{77FC491C-797F-4049-E71D-E5402F409FE4}"/>
                  </a:ext>
                </a:extLst>
              </p:cNvPr>
              <p:cNvSpPr>
                <a:spLocks noEditPoints="1"/>
              </p:cNvSpPr>
              <p:nvPr/>
            </p:nvSpPr>
            <p:spPr bwMode="auto">
              <a:xfrm>
                <a:off x="2324100" y="1555482"/>
                <a:ext cx="48816" cy="48816"/>
              </a:xfrm>
              <a:custGeom>
                <a:avLst/>
                <a:gdLst>
                  <a:gd name="T0" fmla="*/ 4 w 9"/>
                  <a:gd name="T1" fmla="*/ 9 h 9"/>
                  <a:gd name="T2" fmla="*/ 0 w 9"/>
                  <a:gd name="T3" fmla="*/ 5 h 9"/>
                  <a:gd name="T4" fmla="*/ 4 w 9"/>
                  <a:gd name="T5" fmla="*/ 0 h 9"/>
                  <a:gd name="T6" fmla="*/ 9 w 9"/>
                  <a:gd name="T7" fmla="*/ 5 h 9"/>
                  <a:gd name="T8" fmla="*/ 4 w 9"/>
                  <a:gd name="T9" fmla="*/ 9 h 9"/>
                  <a:gd name="T10" fmla="*/ 4 w 9"/>
                  <a:gd name="T11" fmla="*/ 3 h 9"/>
                  <a:gd name="T12" fmla="*/ 3 w 9"/>
                  <a:gd name="T13" fmla="*/ 5 h 9"/>
                  <a:gd name="T14" fmla="*/ 4 w 9"/>
                  <a:gd name="T15" fmla="*/ 6 h 9"/>
                  <a:gd name="T16" fmla="*/ 6 w 9"/>
                  <a:gd name="T17" fmla="*/ 5 h 9"/>
                  <a:gd name="T18" fmla="*/ 4 w 9"/>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4" y="9"/>
                    </a:moveTo>
                    <a:cubicBezTo>
                      <a:pt x="2" y="9"/>
                      <a:pt x="0" y="7"/>
                      <a:pt x="0" y="5"/>
                    </a:cubicBezTo>
                    <a:cubicBezTo>
                      <a:pt x="0" y="2"/>
                      <a:pt x="2" y="0"/>
                      <a:pt x="4" y="0"/>
                    </a:cubicBezTo>
                    <a:cubicBezTo>
                      <a:pt x="7" y="0"/>
                      <a:pt x="9" y="2"/>
                      <a:pt x="9" y="5"/>
                    </a:cubicBezTo>
                    <a:cubicBezTo>
                      <a:pt x="9" y="7"/>
                      <a:pt x="7" y="9"/>
                      <a:pt x="4" y="9"/>
                    </a:cubicBezTo>
                    <a:close/>
                    <a:moveTo>
                      <a:pt x="4" y="3"/>
                    </a:moveTo>
                    <a:cubicBezTo>
                      <a:pt x="3" y="3"/>
                      <a:pt x="3" y="4"/>
                      <a:pt x="3" y="5"/>
                    </a:cubicBezTo>
                    <a:cubicBezTo>
                      <a:pt x="3" y="6"/>
                      <a:pt x="3" y="6"/>
                      <a:pt x="4" y="6"/>
                    </a:cubicBezTo>
                    <a:cubicBezTo>
                      <a:pt x="5" y="6"/>
                      <a:pt x="6" y="6"/>
                      <a:pt x="6" y="5"/>
                    </a:cubicBezTo>
                    <a:cubicBezTo>
                      <a:pt x="6" y="4"/>
                      <a:pt x="5" y="3"/>
                      <a:pt x="4"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56" name="Freeform 375">
                <a:extLst>
                  <a:ext uri="{FF2B5EF4-FFF2-40B4-BE49-F238E27FC236}">
                    <a16:creationId xmlns:a16="http://schemas.microsoft.com/office/drawing/2014/main" id="{394619CB-EF57-9E24-1F19-ED9D28A67EDB}"/>
                  </a:ext>
                </a:extLst>
              </p:cNvPr>
              <p:cNvSpPr>
                <a:spLocks noEditPoints="1"/>
              </p:cNvSpPr>
              <p:nvPr/>
            </p:nvSpPr>
            <p:spPr bwMode="auto">
              <a:xfrm>
                <a:off x="2264569" y="1485233"/>
                <a:ext cx="53579" cy="53579"/>
              </a:xfrm>
              <a:custGeom>
                <a:avLst/>
                <a:gdLst>
                  <a:gd name="T0" fmla="*/ 5 w 10"/>
                  <a:gd name="T1" fmla="*/ 10 h 10"/>
                  <a:gd name="T2" fmla="*/ 0 w 10"/>
                  <a:gd name="T3" fmla="*/ 5 h 10"/>
                  <a:gd name="T4" fmla="*/ 5 w 10"/>
                  <a:gd name="T5" fmla="*/ 0 h 10"/>
                  <a:gd name="T6" fmla="*/ 10 w 10"/>
                  <a:gd name="T7" fmla="*/ 5 h 10"/>
                  <a:gd name="T8" fmla="*/ 5 w 10"/>
                  <a:gd name="T9" fmla="*/ 10 h 10"/>
                  <a:gd name="T10" fmla="*/ 5 w 10"/>
                  <a:gd name="T11" fmla="*/ 3 h 10"/>
                  <a:gd name="T12" fmla="*/ 3 w 10"/>
                  <a:gd name="T13" fmla="*/ 5 h 10"/>
                  <a:gd name="T14" fmla="*/ 5 w 10"/>
                  <a:gd name="T15" fmla="*/ 7 h 10"/>
                  <a:gd name="T16" fmla="*/ 7 w 10"/>
                  <a:gd name="T17" fmla="*/ 5 h 10"/>
                  <a:gd name="T18" fmla="*/ 5 w 10"/>
                  <a:gd name="T1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10"/>
                    </a:moveTo>
                    <a:cubicBezTo>
                      <a:pt x="3" y="10"/>
                      <a:pt x="0" y="8"/>
                      <a:pt x="0" y="5"/>
                    </a:cubicBezTo>
                    <a:cubicBezTo>
                      <a:pt x="0" y="3"/>
                      <a:pt x="3" y="0"/>
                      <a:pt x="5" y="0"/>
                    </a:cubicBezTo>
                    <a:cubicBezTo>
                      <a:pt x="8" y="0"/>
                      <a:pt x="10" y="3"/>
                      <a:pt x="10" y="5"/>
                    </a:cubicBezTo>
                    <a:cubicBezTo>
                      <a:pt x="10" y="8"/>
                      <a:pt x="8" y="10"/>
                      <a:pt x="5" y="10"/>
                    </a:cubicBezTo>
                    <a:close/>
                    <a:moveTo>
                      <a:pt x="5" y="3"/>
                    </a:moveTo>
                    <a:cubicBezTo>
                      <a:pt x="4" y="3"/>
                      <a:pt x="3" y="4"/>
                      <a:pt x="3" y="5"/>
                    </a:cubicBezTo>
                    <a:cubicBezTo>
                      <a:pt x="3" y="6"/>
                      <a:pt x="4" y="7"/>
                      <a:pt x="5" y="7"/>
                    </a:cubicBezTo>
                    <a:cubicBezTo>
                      <a:pt x="6" y="7"/>
                      <a:pt x="7" y="6"/>
                      <a:pt x="7" y="5"/>
                    </a:cubicBezTo>
                    <a:cubicBezTo>
                      <a:pt x="7" y="4"/>
                      <a:pt x="6" y="3"/>
                      <a:pt x="5" y="3"/>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nvGrpSpPr>
            <p:cNvPr id="1057" name="Group 1056">
              <a:extLst>
                <a:ext uri="{FF2B5EF4-FFF2-40B4-BE49-F238E27FC236}">
                  <a16:creationId xmlns:a16="http://schemas.microsoft.com/office/drawing/2014/main" id="{7EF23190-96C6-6DA6-0756-8C8B6B0044F5}"/>
                </a:ext>
              </a:extLst>
            </p:cNvPr>
            <p:cNvGrpSpPr>
              <a:grpSpLocks noChangeAspect="1"/>
            </p:cNvGrpSpPr>
            <p:nvPr/>
          </p:nvGrpSpPr>
          <p:grpSpPr>
            <a:xfrm>
              <a:off x="6183817" y="1189709"/>
              <a:ext cx="264410" cy="541537"/>
              <a:chOff x="1121569" y="2952457"/>
              <a:chExt cx="346472" cy="709616"/>
            </a:xfrm>
            <a:solidFill>
              <a:schemeClr val="accent3"/>
            </a:solidFill>
          </p:grpSpPr>
          <p:sp>
            <p:nvSpPr>
              <p:cNvPr id="1058" name="Freeform 41">
                <a:extLst>
                  <a:ext uri="{FF2B5EF4-FFF2-40B4-BE49-F238E27FC236}">
                    <a16:creationId xmlns:a16="http://schemas.microsoft.com/office/drawing/2014/main" id="{81F30A84-B2C2-025A-049C-E690F004B862}"/>
                  </a:ext>
                </a:extLst>
              </p:cNvPr>
              <p:cNvSpPr>
                <a:spLocks noEditPoints="1"/>
              </p:cNvSpPr>
              <p:nvPr/>
            </p:nvSpPr>
            <p:spPr bwMode="auto">
              <a:xfrm>
                <a:off x="1121569" y="3039377"/>
                <a:ext cx="346472" cy="59532"/>
              </a:xfrm>
              <a:custGeom>
                <a:avLst/>
                <a:gdLst>
                  <a:gd name="T0" fmla="*/ 61 w 64"/>
                  <a:gd name="T1" fmla="*/ 11 h 11"/>
                  <a:gd name="T2" fmla="*/ 4 w 64"/>
                  <a:gd name="T3" fmla="*/ 11 h 11"/>
                  <a:gd name="T4" fmla="*/ 2 w 64"/>
                  <a:gd name="T5" fmla="*/ 10 h 11"/>
                  <a:gd name="T6" fmla="*/ 0 w 64"/>
                  <a:gd name="T7" fmla="*/ 2 h 11"/>
                  <a:gd name="T8" fmla="*/ 0 w 64"/>
                  <a:gd name="T9" fmla="*/ 1 h 11"/>
                  <a:gd name="T10" fmla="*/ 2 w 64"/>
                  <a:gd name="T11" fmla="*/ 0 h 11"/>
                  <a:gd name="T12" fmla="*/ 63 w 64"/>
                  <a:gd name="T13" fmla="*/ 0 h 11"/>
                  <a:gd name="T14" fmla="*/ 64 w 64"/>
                  <a:gd name="T15" fmla="*/ 1 h 11"/>
                  <a:gd name="T16" fmla="*/ 64 w 64"/>
                  <a:gd name="T17" fmla="*/ 2 h 11"/>
                  <a:gd name="T18" fmla="*/ 62 w 64"/>
                  <a:gd name="T19" fmla="*/ 10 h 11"/>
                  <a:gd name="T20" fmla="*/ 61 w 64"/>
                  <a:gd name="T21" fmla="*/ 11 h 11"/>
                  <a:gd name="T22" fmla="*/ 5 w 64"/>
                  <a:gd name="T23" fmla="*/ 8 h 11"/>
                  <a:gd name="T24" fmla="*/ 59 w 64"/>
                  <a:gd name="T25" fmla="*/ 8 h 11"/>
                  <a:gd name="T26" fmla="*/ 61 w 64"/>
                  <a:gd name="T27" fmla="*/ 3 h 11"/>
                  <a:gd name="T28" fmla="*/ 3 w 64"/>
                  <a:gd name="T29" fmla="*/ 3 h 11"/>
                  <a:gd name="T30" fmla="*/ 5 w 64"/>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11">
                    <a:moveTo>
                      <a:pt x="61" y="11"/>
                    </a:moveTo>
                    <a:cubicBezTo>
                      <a:pt x="4" y="11"/>
                      <a:pt x="4" y="11"/>
                      <a:pt x="4" y="11"/>
                    </a:cubicBezTo>
                    <a:cubicBezTo>
                      <a:pt x="3" y="11"/>
                      <a:pt x="2" y="11"/>
                      <a:pt x="2" y="10"/>
                    </a:cubicBezTo>
                    <a:cubicBezTo>
                      <a:pt x="0" y="2"/>
                      <a:pt x="0" y="2"/>
                      <a:pt x="0" y="2"/>
                    </a:cubicBezTo>
                    <a:cubicBezTo>
                      <a:pt x="0" y="2"/>
                      <a:pt x="0" y="1"/>
                      <a:pt x="0" y="1"/>
                    </a:cubicBezTo>
                    <a:cubicBezTo>
                      <a:pt x="1" y="0"/>
                      <a:pt x="1" y="0"/>
                      <a:pt x="2" y="0"/>
                    </a:cubicBezTo>
                    <a:cubicBezTo>
                      <a:pt x="63" y="0"/>
                      <a:pt x="63" y="0"/>
                      <a:pt x="63" y="0"/>
                    </a:cubicBezTo>
                    <a:cubicBezTo>
                      <a:pt x="63" y="0"/>
                      <a:pt x="63" y="0"/>
                      <a:pt x="64" y="1"/>
                    </a:cubicBezTo>
                    <a:cubicBezTo>
                      <a:pt x="64" y="1"/>
                      <a:pt x="64" y="2"/>
                      <a:pt x="64" y="2"/>
                    </a:cubicBezTo>
                    <a:cubicBezTo>
                      <a:pt x="62" y="10"/>
                      <a:pt x="62" y="10"/>
                      <a:pt x="62" y="10"/>
                    </a:cubicBezTo>
                    <a:cubicBezTo>
                      <a:pt x="62" y="11"/>
                      <a:pt x="61" y="11"/>
                      <a:pt x="61" y="11"/>
                    </a:cubicBezTo>
                    <a:close/>
                    <a:moveTo>
                      <a:pt x="5" y="8"/>
                    </a:moveTo>
                    <a:cubicBezTo>
                      <a:pt x="59" y="8"/>
                      <a:pt x="59" y="8"/>
                      <a:pt x="59" y="8"/>
                    </a:cubicBezTo>
                    <a:cubicBezTo>
                      <a:pt x="61" y="3"/>
                      <a:pt x="61" y="3"/>
                      <a:pt x="61" y="3"/>
                    </a:cubicBezTo>
                    <a:cubicBezTo>
                      <a:pt x="3" y="3"/>
                      <a:pt x="3" y="3"/>
                      <a:pt x="3" y="3"/>
                    </a:cubicBez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9" name="Freeform 42">
                <a:extLst>
                  <a:ext uri="{FF2B5EF4-FFF2-40B4-BE49-F238E27FC236}">
                    <a16:creationId xmlns:a16="http://schemas.microsoft.com/office/drawing/2014/main" id="{3B1C0AA6-CB0E-9C56-DCB6-A619037538E7}"/>
                  </a:ext>
                </a:extLst>
              </p:cNvPr>
              <p:cNvSpPr>
                <a:spLocks noEditPoints="1"/>
              </p:cNvSpPr>
              <p:nvPr/>
            </p:nvSpPr>
            <p:spPr bwMode="auto">
              <a:xfrm>
                <a:off x="1132285" y="3462059"/>
                <a:ext cx="325041" cy="59532"/>
              </a:xfrm>
              <a:custGeom>
                <a:avLst/>
                <a:gdLst>
                  <a:gd name="T0" fmla="*/ 45 w 60"/>
                  <a:gd name="T1" fmla="*/ 11 h 11"/>
                  <a:gd name="T2" fmla="*/ 15 w 60"/>
                  <a:gd name="T3" fmla="*/ 11 h 11"/>
                  <a:gd name="T4" fmla="*/ 15 w 60"/>
                  <a:gd name="T5" fmla="*/ 11 h 11"/>
                  <a:gd name="T6" fmla="*/ 1 w 60"/>
                  <a:gd name="T7" fmla="*/ 3 h 11"/>
                  <a:gd name="T8" fmla="*/ 0 w 60"/>
                  <a:gd name="T9" fmla="*/ 1 h 11"/>
                  <a:gd name="T10" fmla="*/ 2 w 60"/>
                  <a:gd name="T11" fmla="*/ 0 h 11"/>
                  <a:gd name="T12" fmla="*/ 59 w 60"/>
                  <a:gd name="T13" fmla="*/ 0 h 11"/>
                  <a:gd name="T14" fmla="*/ 60 w 60"/>
                  <a:gd name="T15" fmla="*/ 1 h 11"/>
                  <a:gd name="T16" fmla="*/ 59 w 60"/>
                  <a:gd name="T17" fmla="*/ 3 h 11"/>
                  <a:gd name="T18" fmla="*/ 45 w 60"/>
                  <a:gd name="T19" fmla="*/ 11 h 11"/>
                  <a:gd name="T20" fmla="*/ 45 w 60"/>
                  <a:gd name="T21" fmla="*/ 11 h 11"/>
                  <a:gd name="T22" fmla="*/ 16 w 60"/>
                  <a:gd name="T23" fmla="*/ 8 h 11"/>
                  <a:gd name="T24" fmla="*/ 44 w 60"/>
                  <a:gd name="T25" fmla="*/ 8 h 11"/>
                  <a:gd name="T26" fmla="*/ 53 w 60"/>
                  <a:gd name="T27" fmla="*/ 3 h 11"/>
                  <a:gd name="T28" fmla="*/ 7 w 60"/>
                  <a:gd name="T29" fmla="*/ 3 h 11"/>
                  <a:gd name="T30" fmla="*/ 16 w 60"/>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1">
                    <a:moveTo>
                      <a:pt x="45" y="11"/>
                    </a:moveTo>
                    <a:cubicBezTo>
                      <a:pt x="15" y="11"/>
                      <a:pt x="15" y="11"/>
                      <a:pt x="15" y="11"/>
                    </a:cubicBezTo>
                    <a:cubicBezTo>
                      <a:pt x="15" y="11"/>
                      <a:pt x="15" y="11"/>
                      <a:pt x="15" y="11"/>
                    </a:cubicBezTo>
                    <a:cubicBezTo>
                      <a:pt x="1" y="3"/>
                      <a:pt x="1" y="3"/>
                      <a:pt x="1" y="3"/>
                    </a:cubicBezTo>
                    <a:cubicBezTo>
                      <a:pt x="0" y="2"/>
                      <a:pt x="0" y="2"/>
                      <a:pt x="0" y="1"/>
                    </a:cubicBezTo>
                    <a:cubicBezTo>
                      <a:pt x="0" y="0"/>
                      <a:pt x="1" y="0"/>
                      <a:pt x="2" y="0"/>
                    </a:cubicBezTo>
                    <a:cubicBezTo>
                      <a:pt x="59" y="0"/>
                      <a:pt x="59" y="0"/>
                      <a:pt x="59" y="0"/>
                    </a:cubicBezTo>
                    <a:cubicBezTo>
                      <a:pt x="59" y="0"/>
                      <a:pt x="60" y="0"/>
                      <a:pt x="60" y="1"/>
                    </a:cubicBezTo>
                    <a:cubicBezTo>
                      <a:pt x="60" y="2"/>
                      <a:pt x="60" y="2"/>
                      <a:pt x="59" y="3"/>
                    </a:cubicBezTo>
                    <a:cubicBezTo>
                      <a:pt x="45" y="11"/>
                      <a:pt x="45" y="11"/>
                      <a:pt x="45" y="11"/>
                    </a:cubicBezTo>
                    <a:cubicBezTo>
                      <a:pt x="45" y="11"/>
                      <a:pt x="45" y="11"/>
                      <a:pt x="45" y="11"/>
                    </a:cubicBezTo>
                    <a:close/>
                    <a:moveTo>
                      <a:pt x="16" y="8"/>
                    </a:moveTo>
                    <a:cubicBezTo>
                      <a:pt x="44" y="8"/>
                      <a:pt x="44" y="8"/>
                      <a:pt x="44" y="8"/>
                    </a:cubicBezTo>
                    <a:cubicBezTo>
                      <a:pt x="53" y="3"/>
                      <a:pt x="53" y="3"/>
                      <a:pt x="53" y="3"/>
                    </a:cubicBezTo>
                    <a:cubicBezTo>
                      <a:pt x="7" y="3"/>
                      <a:pt x="7" y="3"/>
                      <a:pt x="7" y="3"/>
                    </a:cubicBezTo>
                    <a:lnTo>
                      <a:pt x="16"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0" name="Freeform 43">
                <a:extLst>
                  <a:ext uri="{FF2B5EF4-FFF2-40B4-BE49-F238E27FC236}">
                    <a16:creationId xmlns:a16="http://schemas.microsoft.com/office/drawing/2014/main" id="{F347610F-125A-8169-51B4-E40E79886120}"/>
                  </a:ext>
                </a:extLst>
              </p:cNvPr>
              <p:cNvSpPr>
                <a:spLocks noEditPoints="1"/>
              </p:cNvSpPr>
              <p:nvPr/>
            </p:nvSpPr>
            <p:spPr bwMode="auto">
              <a:xfrm>
                <a:off x="1208485" y="3504913"/>
                <a:ext cx="172641" cy="65486"/>
              </a:xfrm>
              <a:custGeom>
                <a:avLst/>
                <a:gdLst>
                  <a:gd name="T0" fmla="*/ 30 w 32"/>
                  <a:gd name="T1" fmla="*/ 12 h 12"/>
                  <a:gd name="T2" fmla="*/ 1 w 32"/>
                  <a:gd name="T3" fmla="*/ 12 h 12"/>
                  <a:gd name="T4" fmla="*/ 0 w 32"/>
                  <a:gd name="T5" fmla="*/ 11 h 12"/>
                  <a:gd name="T6" fmla="*/ 0 w 32"/>
                  <a:gd name="T7" fmla="*/ 2 h 12"/>
                  <a:gd name="T8" fmla="*/ 1 w 32"/>
                  <a:gd name="T9" fmla="*/ 0 h 12"/>
                  <a:gd name="T10" fmla="*/ 30 w 32"/>
                  <a:gd name="T11" fmla="*/ 0 h 12"/>
                  <a:gd name="T12" fmla="*/ 32 w 32"/>
                  <a:gd name="T13" fmla="*/ 2 h 12"/>
                  <a:gd name="T14" fmla="*/ 32 w 32"/>
                  <a:gd name="T15" fmla="*/ 11 h 12"/>
                  <a:gd name="T16" fmla="*/ 30 w 32"/>
                  <a:gd name="T17" fmla="*/ 12 h 12"/>
                  <a:gd name="T18" fmla="*/ 3 w 32"/>
                  <a:gd name="T19" fmla="*/ 9 h 12"/>
                  <a:gd name="T20" fmla="*/ 29 w 32"/>
                  <a:gd name="T21" fmla="*/ 9 h 12"/>
                  <a:gd name="T22" fmla="*/ 29 w 32"/>
                  <a:gd name="T23" fmla="*/ 3 h 12"/>
                  <a:gd name="T24" fmla="*/ 3 w 32"/>
                  <a:gd name="T25" fmla="*/ 3 h 12"/>
                  <a:gd name="T26" fmla="*/ 3 w 32"/>
                  <a:gd name="T2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2">
                    <a:moveTo>
                      <a:pt x="30" y="12"/>
                    </a:moveTo>
                    <a:cubicBezTo>
                      <a:pt x="1" y="12"/>
                      <a:pt x="1" y="12"/>
                      <a:pt x="1" y="12"/>
                    </a:cubicBezTo>
                    <a:cubicBezTo>
                      <a:pt x="1" y="12"/>
                      <a:pt x="0" y="12"/>
                      <a:pt x="0" y="11"/>
                    </a:cubicBezTo>
                    <a:cubicBezTo>
                      <a:pt x="0" y="2"/>
                      <a:pt x="0" y="2"/>
                      <a:pt x="0" y="2"/>
                    </a:cubicBezTo>
                    <a:cubicBezTo>
                      <a:pt x="0" y="1"/>
                      <a:pt x="1" y="0"/>
                      <a:pt x="1" y="0"/>
                    </a:cubicBezTo>
                    <a:cubicBezTo>
                      <a:pt x="30" y="0"/>
                      <a:pt x="30" y="0"/>
                      <a:pt x="30" y="0"/>
                    </a:cubicBezTo>
                    <a:cubicBezTo>
                      <a:pt x="31" y="0"/>
                      <a:pt x="32" y="1"/>
                      <a:pt x="32" y="2"/>
                    </a:cubicBezTo>
                    <a:cubicBezTo>
                      <a:pt x="32" y="11"/>
                      <a:pt x="32" y="11"/>
                      <a:pt x="32" y="11"/>
                    </a:cubicBezTo>
                    <a:cubicBezTo>
                      <a:pt x="32" y="12"/>
                      <a:pt x="31" y="12"/>
                      <a:pt x="30" y="12"/>
                    </a:cubicBezTo>
                    <a:close/>
                    <a:moveTo>
                      <a:pt x="3" y="9"/>
                    </a:moveTo>
                    <a:cubicBezTo>
                      <a:pt x="29" y="9"/>
                      <a:pt x="29" y="9"/>
                      <a:pt x="29" y="9"/>
                    </a:cubicBezTo>
                    <a:cubicBezTo>
                      <a:pt x="29" y="3"/>
                      <a:pt x="29" y="3"/>
                      <a:pt x="29" y="3"/>
                    </a:cubicBezTo>
                    <a:cubicBezTo>
                      <a:pt x="3" y="3"/>
                      <a:pt x="3" y="3"/>
                      <a:pt x="3" y="3"/>
                    </a:cubicBezTo>
                    <a:lnTo>
                      <a:pt x="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1" name="Rectangle 44">
                <a:extLst>
                  <a:ext uri="{FF2B5EF4-FFF2-40B4-BE49-F238E27FC236}">
                    <a16:creationId xmlns:a16="http://schemas.microsoft.com/office/drawing/2014/main" id="{54FB1C0C-B2B2-3FD2-AA60-7F1D5213EA2B}"/>
                  </a:ext>
                </a:extLst>
              </p:cNvPr>
              <p:cNvSpPr>
                <a:spLocks noChangeArrowheads="1"/>
              </p:cNvSpPr>
              <p:nvPr/>
            </p:nvSpPr>
            <p:spPr bwMode="auto">
              <a:xfrm>
                <a:off x="1283494" y="3564441"/>
                <a:ext cx="16669" cy="976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2" name="Rectangle 45">
                <a:extLst>
                  <a:ext uri="{FF2B5EF4-FFF2-40B4-BE49-F238E27FC236}">
                    <a16:creationId xmlns:a16="http://schemas.microsoft.com/office/drawing/2014/main" id="{97C01B55-ECB8-F1A9-EF43-8F5E56312F4E}"/>
                  </a:ext>
                </a:extLst>
              </p:cNvPr>
              <p:cNvSpPr>
                <a:spLocks noChangeArrowheads="1"/>
              </p:cNvSpPr>
              <p:nvPr/>
            </p:nvSpPr>
            <p:spPr bwMode="auto">
              <a:xfrm>
                <a:off x="1283494" y="2952457"/>
                <a:ext cx="16669" cy="976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3" name="Freeform 46">
                <a:extLst>
                  <a:ext uri="{FF2B5EF4-FFF2-40B4-BE49-F238E27FC236}">
                    <a16:creationId xmlns:a16="http://schemas.microsoft.com/office/drawing/2014/main" id="{363721C5-BB1F-8563-0921-2812FD0C97DC}"/>
                  </a:ext>
                </a:extLst>
              </p:cNvPr>
              <p:cNvSpPr>
                <a:spLocks noEditPoints="1"/>
              </p:cNvSpPr>
              <p:nvPr/>
            </p:nvSpPr>
            <p:spPr bwMode="auto">
              <a:xfrm>
                <a:off x="1210270" y="3156700"/>
                <a:ext cx="163116" cy="244079"/>
              </a:xfrm>
              <a:custGeom>
                <a:avLst/>
                <a:gdLst>
                  <a:gd name="T0" fmla="*/ 15 w 30"/>
                  <a:gd name="T1" fmla="*/ 45 h 45"/>
                  <a:gd name="T2" fmla="*/ 0 w 30"/>
                  <a:gd name="T3" fmla="*/ 30 h 45"/>
                  <a:gd name="T4" fmla="*/ 14 w 30"/>
                  <a:gd name="T5" fmla="*/ 1 h 45"/>
                  <a:gd name="T6" fmla="*/ 16 w 30"/>
                  <a:gd name="T7" fmla="*/ 1 h 45"/>
                  <a:gd name="T8" fmla="*/ 30 w 30"/>
                  <a:gd name="T9" fmla="*/ 30 h 45"/>
                  <a:gd name="T10" fmla="*/ 15 w 30"/>
                  <a:gd name="T11" fmla="*/ 45 h 45"/>
                  <a:gd name="T12" fmla="*/ 15 w 30"/>
                  <a:gd name="T13" fmla="*/ 5 h 45"/>
                  <a:gd name="T14" fmla="*/ 3 w 30"/>
                  <a:gd name="T15" fmla="*/ 30 h 45"/>
                  <a:gd name="T16" fmla="*/ 15 w 30"/>
                  <a:gd name="T17" fmla="*/ 42 h 45"/>
                  <a:gd name="T18" fmla="*/ 27 w 30"/>
                  <a:gd name="T19" fmla="*/ 30 h 45"/>
                  <a:gd name="T20" fmla="*/ 15 w 30"/>
                  <a:gd name="T2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45">
                    <a:moveTo>
                      <a:pt x="15" y="45"/>
                    </a:moveTo>
                    <a:cubicBezTo>
                      <a:pt x="7" y="45"/>
                      <a:pt x="0" y="38"/>
                      <a:pt x="0" y="30"/>
                    </a:cubicBezTo>
                    <a:cubicBezTo>
                      <a:pt x="0" y="23"/>
                      <a:pt x="12" y="3"/>
                      <a:pt x="14" y="1"/>
                    </a:cubicBezTo>
                    <a:cubicBezTo>
                      <a:pt x="14" y="0"/>
                      <a:pt x="16" y="0"/>
                      <a:pt x="16" y="1"/>
                    </a:cubicBezTo>
                    <a:cubicBezTo>
                      <a:pt x="17" y="3"/>
                      <a:pt x="30" y="23"/>
                      <a:pt x="30" y="30"/>
                    </a:cubicBezTo>
                    <a:cubicBezTo>
                      <a:pt x="30" y="38"/>
                      <a:pt x="23" y="45"/>
                      <a:pt x="15" y="45"/>
                    </a:cubicBezTo>
                    <a:close/>
                    <a:moveTo>
                      <a:pt x="15" y="5"/>
                    </a:moveTo>
                    <a:cubicBezTo>
                      <a:pt x="11" y="11"/>
                      <a:pt x="3" y="25"/>
                      <a:pt x="3" y="30"/>
                    </a:cubicBezTo>
                    <a:cubicBezTo>
                      <a:pt x="3" y="37"/>
                      <a:pt x="8" y="42"/>
                      <a:pt x="15" y="42"/>
                    </a:cubicBezTo>
                    <a:cubicBezTo>
                      <a:pt x="21" y="42"/>
                      <a:pt x="27" y="37"/>
                      <a:pt x="27" y="30"/>
                    </a:cubicBezTo>
                    <a:cubicBezTo>
                      <a:pt x="27" y="25"/>
                      <a:pt x="19" y="11"/>
                      <a:pt x="1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4" name="Freeform 47">
                <a:extLst>
                  <a:ext uri="{FF2B5EF4-FFF2-40B4-BE49-F238E27FC236}">
                    <a16:creationId xmlns:a16="http://schemas.microsoft.com/office/drawing/2014/main" id="{7073D665-433A-A211-F023-F7A2EBB5B5C2}"/>
                  </a:ext>
                </a:extLst>
              </p:cNvPr>
              <p:cNvSpPr>
                <a:spLocks noEditPoints="1"/>
              </p:cNvSpPr>
              <p:nvPr/>
            </p:nvSpPr>
            <p:spPr bwMode="auto">
              <a:xfrm>
                <a:off x="1132285" y="3082246"/>
                <a:ext cx="325041" cy="146449"/>
              </a:xfrm>
              <a:custGeom>
                <a:avLst/>
                <a:gdLst>
                  <a:gd name="T0" fmla="*/ 59 w 60"/>
                  <a:gd name="T1" fmla="*/ 27 h 27"/>
                  <a:gd name="T2" fmla="*/ 36 w 60"/>
                  <a:gd name="T3" fmla="*/ 27 h 27"/>
                  <a:gd name="T4" fmla="*/ 34 w 60"/>
                  <a:gd name="T5" fmla="*/ 27 h 27"/>
                  <a:gd name="T6" fmla="*/ 30 w 60"/>
                  <a:gd name="T7" fmla="*/ 19 h 27"/>
                  <a:gd name="T8" fmla="*/ 25 w 60"/>
                  <a:gd name="T9" fmla="*/ 27 h 27"/>
                  <a:gd name="T10" fmla="*/ 24 w 60"/>
                  <a:gd name="T11" fmla="*/ 27 h 27"/>
                  <a:gd name="T12" fmla="*/ 2 w 60"/>
                  <a:gd name="T13" fmla="*/ 27 h 27"/>
                  <a:gd name="T14" fmla="*/ 0 w 60"/>
                  <a:gd name="T15" fmla="*/ 26 h 27"/>
                  <a:gd name="T16" fmla="*/ 0 w 60"/>
                  <a:gd name="T17" fmla="*/ 2 h 27"/>
                  <a:gd name="T18" fmla="*/ 2 w 60"/>
                  <a:gd name="T19" fmla="*/ 0 h 27"/>
                  <a:gd name="T20" fmla="*/ 59 w 60"/>
                  <a:gd name="T21" fmla="*/ 0 h 27"/>
                  <a:gd name="T22" fmla="*/ 60 w 60"/>
                  <a:gd name="T23" fmla="*/ 2 h 27"/>
                  <a:gd name="T24" fmla="*/ 60 w 60"/>
                  <a:gd name="T25" fmla="*/ 26 h 27"/>
                  <a:gd name="T26" fmla="*/ 59 w 60"/>
                  <a:gd name="T27" fmla="*/ 27 h 27"/>
                  <a:gd name="T28" fmla="*/ 37 w 60"/>
                  <a:gd name="T29" fmla="*/ 24 h 27"/>
                  <a:gd name="T30" fmla="*/ 57 w 60"/>
                  <a:gd name="T31" fmla="*/ 24 h 27"/>
                  <a:gd name="T32" fmla="*/ 57 w 60"/>
                  <a:gd name="T33" fmla="*/ 3 h 27"/>
                  <a:gd name="T34" fmla="*/ 3 w 60"/>
                  <a:gd name="T35" fmla="*/ 3 h 27"/>
                  <a:gd name="T36" fmla="*/ 3 w 60"/>
                  <a:gd name="T37" fmla="*/ 24 h 27"/>
                  <a:gd name="T38" fmla="*/ 23 w 60"/>
                  <a:gd name="T39" fmla="*/ 24 h 27"/>
                  <a:gd name="T40" fmla="*/ 29 w 60"/>
                  <a:gd name="T41" fmla="*/ 15 h 27"/>
                  <a:gd name="T42" fmla="*/ 31 w 60"/>
                  <a:gd name="T43" fmla="*/ 15 h 27"/>
                  <a:gd name="T44" fmla="*/ 37 w 60"/>
                  <a:gd name="T45"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27">
                    <a:moveTo>
                      <a:pt x="59" y="27"/>
                    </a:moveTo>
                    <a:cubicBezTo>
                      <a:pt x="36" y="27"/>
                      <a:pt x="36" y="27"/>
                      <a:pt x="36" y="27"/>
                    </a:cubicBezTo>
                    <a:cubicBezTo>
                      <a:pt x="35" y="27"/>
                      <a:pt x="35" y="27"/>
                      <a:pt x="34" y="27"/>
                    </a:cubicBezTo>
                    <a:cubicBezTo>
                      <a:pt x="33" y="23"/>
                      <a:pt x="31" y="20"/>
                      <a:pt x="30" y="19"/>
                    </a:cubicBezTo>
                    <a:cubicBezTo>
                      <a:pt x="29" y="20"/>
                      <a:pt x="27" y="23"/>
                      <a:pt x="25" y="27"/>
                    </a:cubicBezTo>
                    <a:cubicBezTo>
                      <a:pt x="25" y="27"/>
                      <a:pt x="24" y="27"/>
                      <a:pt x="24" y="27"/>
                    </a:cubicBezTo>
                    <a:cubicBezTo>
                      <a:pt x="2" y="27"/>
                      <a:pt x="2" y="27"/>
                      <a:pt x="2" y="27"/>
                    </a:cubicBezTo>
                    <a:cubicBezTo>
                      <a:pt x="1" y="27"/>
                      <a:pt x="0" y="27"/>
                      <a:pt x="0" y="26"/>
                    </a:cubicBezTo>
                    <a:cubicBezTo>
                      <a:pt x="0" y="2"/>
                      <a:pt x="0" y="2"/>
                      <a:pt x="0" y="2"/>
                    </a:cubicBezTo>
                    <a:cubicBezTo>
                      <a:pt x="0" y="1"/>
                      <a:pt x="1" y="0"/>
                      <a:pt x="2" y="0"/>
                    </a:cubicBezTo>
                    <a:cubicBezTo>
                      <a:pt x="59" y="0"/>
                      <a:pt x="59" y="0"/>
                      <a:pt x="59" y="0"/>
                    </a:cubicBezTo>
                    <a:cubicBezTo>
                      <a:pt x="59" y="0"/>
                      <a:pt x="60" y="1"/>
                      <a:pt x="60" y="2"/>
                    </a:cubicBezTo>
                    <a:cubicBezTo>
                      <a:pt x="60" y="26"/>
                      <a:pt x="60" y="26"/>
                      <a:pt x="60" y="26"/>
                    </a:cubicBezTo>
                    <a:cubicBezTo>
                      <a:pt x="60" y="27"/>
                      <a:pt x="59" y="27"/>
                      <a:pt x="59" y="27"/>
                    </a:cubicBezTo>
                    <a:close/>
                    <a:moveTo>
                      <a:pt x="37" y="24"/>
                    </a:moveTo>
                    <a:cubicBezTo>
                      <a:pt x="57" y="24"/>
                      <a:pt x="57" y="24"/>
                      <a:pt x="57" y="24"/>
                    </a:cubicBezTo>
                    <a:cubicBezTo>
                      <a:pt x="57" y="3"/>
                      <a:pt x="57" y="3"/>
                      <a:pt x="57" y="3"/>
                    </a:cubicBezTo>
                    <a:cubicBezTo>
                      <a:pt x="3" y="3"/>
                      <a:pt x="3" y="3"/>
                      <a:pt x="3" y="3"/>
                    </a:cubicBezTo>
                    <a:cubicBezTo>
                      <a:pt x="3" y="24"/>
                      <a:pt x="3" y="24"/>
                      <a:pt x="3" y="24"/>
                    </a:cubicBezTo>
                    <a:cubicBezTo>
                      <a:pt x="23" y="24"/>
                      <a:pt x="23" y="24"/>
                      <a:pt x="23" y="24"/>
                    </a:cubicBezTo>
                    <a:cubicBezTo>
                      <a:pt x="26" y="19"/>
                      <a:pt x="29" y="15"/>
                      <a:pt x="29" y="15"/>
                    </a:cubicBezTo>
                    <a:cubicBezTo>
                      <a:pt x="29" y="14"/>
                      <a:pt x="31" y="14"/>
                      <a:pt x="31" y="15"/>
                    </a:cubicBezTo>
                    <a:cubicBezTo>
                      <a:pt x="31" y="15"/>
                      <a:pt x="34" y="19"/>
                      <a:pt x="3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5" name="Freeform 48">
                <a:extLst>
                  <a:ext uri="{FF2B5EF4-FFF2-40B4-BE49-F238E27FC236}">
                    <a16:creationId xmlns:a16="http://schemas.microsoft.com/office/drawing/2014/main" id="{9019AADB-69EC-E1D0-20EA-E80B27DD504B}"/>
                  </a:ext>
                </a:extLst>
              </p:cNvPr>
              <p:cNvSpPr>
                <a:spLocks noEditPoints="1"/>
              </p:cNvSpPr>
              <p:nvPr/>
            </p:nvSpPr>
            <p:spPr bwMode="auto">
              <a:xfrm>
                <a:off x="1132285" y="3212020"/>
                <a:ext cx="325041" cy="265510"/>
              </a:xfrm>
              <a:custGeom>
                <a:avLst/>
                <a:gdLst>
                  <a:gd name="T0" fmla="*/ 59 w 60"/>
                  <a:gd name="T1" fmla="*/ 49 h 49"/>
                  <a:gd name="T2" fmla="*/ 2 w 60"/>
                  <a:gd name="T3" fmla="*/ 49 h 49"/>
                  <a:gd name="T4" fmla="*/ 0 w 60"/>
                  <a:gd name="T5" fmla="*/ 48 h 49"/>
                  <a:gd name="T6" fmla="*/ 0 w 60"/>
                  <a:gd name="T7" fmla="*/ 2 h 49"/>
                  <a:gd name="T8" fmla="*/ 2 w 60"/>
                  <a:gd name="T9" fmla="*/ 0 h 49"/>
                  <a:gd name="T10" fmla="*/ 24 w 60"/>
                  <a:gd name="T11" fmla="*/ 0 h 49"/>
                  <a:gd name="T12" fmla="*/ 25 w 60"/>
                  <a:gd name="T13" fmla="*/ 1 h 49"/>
                  <a:gd name="T14" fmla="*/ 25 w 60"/>
                  <a:gd name="T15" fmla="*/ 3 h 49"/>
                  <a:gd name="T16" fmla="*/ 18 w 60"/>
                  <a:gd name="T17" fmla="*/ 20 h 49"/>
                  <a:gd name="T18" fmla="*/ 30 w 60"/>
                  <a:gd name="T19" fmla="*/ 32 h 49"/>
                  <a:gd name="T20" fmla="*/ 42 w 60"/>
                  <a:gd name="T21" fmla="*/ 20 h 49"/>
                  <a:gd name="T22" fmla="*/ 34 w 60"/>
                  <a:gd name="T23" fmla="*/ 3 h 49"/>
                  <a:gd name="T24" fmla="*/ 34 w 60"/>
                  <a:gd name="T25" fmla="*/ 1 h 49"/>
                  <a:gd name="T26" fmla="*/ 36 w 60"/>
                  <a:gd name="T27" fmla="*/ 0 h 49"/>
                  <a:gd name="T28" fmla="*/ 59 w 60"/>
                  <a:gd name="T29" fmla="*/ 0 h 49"/>
                  <a:gd name="T30" fmla="*/ 60 w 60"/>
                  <a:gd name="T31" fmla="*/ 2 h 49"/>
                  <a:gd name="T32" fmla="*/ 60 w 60"/>
                  <a:gd name="T33" fmla="*/ 48 h 49"/>
                  <a:gd name="T34" fmla="*/ 59 w 60"/>
                  <a:gd name="T35" fmla="*/ 49 h 49"/>
                  <a:gd name="T36" fmla="*/ 3 w 60"/>
                  <a:gd name="T37" fmla="*/ 46 h 49"/>
                  <a:gd name="T38" fmla="*/ 57 w 60"/>
                  <a:gd name="T39" fmla="*/ 46 h 49"/>
                  <a:gd name="T40" fmla="*/ 57 w 60"/>
                  <a:gd name="T41" fmla="*/ 3 h 49"/>
                  <a:gd name="T42" fmla="*/ 38 w 60"/>
                  <a:gd name="T43" fmla="*/ 3 h 49"/>
                  <a:gd name="T44" fmla="*/ 45 w 60"/>
                  <a:gd name="T45" fmla="*/ 20 h 49"/>
                  <a:gd name="T46" fmla="*/ 30 w 60"/>
                  <a:gd name="T47" fmla="*/ 35 h 49"/>
                  <a:gd name="T48" fmla="*/ 15 w 60"/>
                  <a:gd name="T49" fmla="*/ 20 h 49"/>
                  <a:gd name="T50" fmla="*/ 21 w 60"/>
                  <a:gd name="T51" fmla="*/ 3 h 49"/>
                  <a:gd name="T52" fmla="*/ 3 w 60"/>
                  <a:gd name="T53" fmla="*/ 3 h 49"/>
                  <a:gd name="T54" fmla="*/ 3 w 60"/>
                  <a:gd name="T55"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49">
                    <a:moveTo>
                      <a:pt x="59" y="49"/>
                    </a:moveTo>
                    <a:cubicBezTo>
                      <a:pt x="2" y="49"/>
                      <a:pt x="2" y="49"/>
                      <a:pt x="2" y="49"/>
                    </a:cubicBezTo>
                    <a:cubicBezTo>
                      <a:pt x="1" y="49"/>
                      <a:pt x="0" y="48"/>
                      <a:pt x="0" y="48"/>
                    </a:cubicBezTo>
                    <a:cubicBezTo>
                      <a:pt x="0" y="2"/>
                      <a:pt x="0" y="2"/>
                      <a:pt x="0" y="2"/>
                    </a:cubicBezTo>
                    <a:cubicBezTo>
                      <a:pt x="0" y="1"/>
                      <a:pt x="1" y="0"/>
                      <a:pt x="2" y="0"/>
                    </a:cubicBezTo>
                    <a:cubicBezTo>
                      <a:pt x="24" y="0"/>
                      <a:pt x="24" y="0"/>
                      <a:pt x="24" y="0"/>
                    </a:cubicBezTo>
                    <a:cubicBezTo>
                      <a:pt x="24" y="0"/>
                      <a:pt x="25" y="1"/>
                      <a:pt x="25" y="1"/>
                    </a:cubicBezTo>
                    <a:cubicBezTo>
                      <a:pt x="25" y="2"/>
                      <a:pt x="25" y="2"/>
                      <a:pt x="25" y="3"/>
                    </a:cubicBezTo>
                    <a:cubicBezTo>
                      <a:pt x="21" y="11"/>
                      <a:pt x="18" y="17"/>
                      <a:pt x="18" y="20"/>
                    </a:cubicBezTo>
                    <a:cubicBezTo>
                      <a:pt x="18" y="27"/>
                      <a:pt x="23" y="32"/>
                      <a:pt x="30" y="32"/>
                    </a:cubicBezTo>
                    <a:cubicBezTo>
                      <a:pt x="36" y="32"/>
                      <a:pt x="42" y="27"/>
                      <a:pt x="42" y="20"/>
                    </a:cubicBezTo>
                    <a:cubicBezTo>
                      <a:pt x="42" y="17"/>
                      <a:pt x="39" y="11"/>
                      <a:pt x="34" y="3"/>
                    </a:cubicBezTo>
                    <a:cubicBezTo>
                      <a:pt x="34" y="2"/>
                      <a:pt x="34" y="2"/>
                      <a:pt x="34" y="1"/>
                    </a:cubicBezTo>
                    <a:cubicBezTo>
                      <a:pt x="35" y="1"/>
                      <a:pt x="35" y="0"/>
                      <a:pt x="36" y="0"/>
                    </a:cubicBezTo>
                    <a:cubicBezTo>
                      <a:pt x="59" y="0"/>
                      <a:pt x="59" y="0"/>
                      <a:pt x="59" y="0"/>
                    </a:cubicBezTo>
                    <a:cubicBezTo>
                      <a:pt x="59" y="0"/>
                      <a:pt x="60" y="1"/>
                      <a:pt x="60" y="2"/>
                    </a:cubicBezTo>
                    <a:cubicBezTo>
                      <a:pt x="60" y="48"/>
                      <a:pt x="60" y="48"/>
                      <a:pt x="60" y="48"/>
                    </a:cubicBezTo>
                    <a:cubicBezTo>
                      <a:pt x="60" y="48"/>
                      <a:pt x="59" y="49"/>
                      <a:pt x="59" y="49"/>
                    </a:cubicBezTo>
                    <a:close/>
                    <a:moveTo>
                      <a:pt x="3" y="46"/>
                    </a:moveTo>
                    <a:cubicBezTo>
                      <a:pt x="57" y="46"/>
                      <a:pt x="57" y="46"/>
                      <a:pt x="57" y="46"/>
                    </a:cubicBezTo>
                    <a:cubicBezTo>
                      <a:pt x="57" y="3"/>
                      <a:pt x="57" y="3"/>
                      <a:pt x="57" y="3"/>
                    </a:cubicBezTo>
                    <a:cubicBezTo>
                      <a:pt x="38" y="3"/>
                      <a:pt x="38" y="3"/>
                      <a:pt x="38" y="3"/>
                    </a:cubicBezTo>
                    <a:cubicBezTo>
                      <a:pt x="42" y="11"/>
                      <a:pt x="45" y="17"/>
                      <a:pt x="45" y="20"/>
                    </a:cubicBezTo>
                    <a:cubicBezTo>
                      <a:pt x="45" y="28"/>
                      <a:pt x="38" y="35"/>
                      <a:pt x="30" y="35"/>
                    </a:cubicBezTo>
                    <a:cubicBezTo>
                      <a:pt x="22" y="35"/>
                      <a:pt x="15" y="28"/>
                      <a:pt x="15" y="20"/>
                    </a:cubicBezTo>
                    <a:cubicBezTo>
                      <a:pt x="15" y="17"/>
                      <a:pt x="17" y="11"/>
                      <a:pt x="21" y="3"/>
                    </a:cubicBezTo>
                    <a:cubicBezTo>
                      <a:pt x="3" y="3"/>
                      <a:pt x="3" y="3"/>
                      <a:pt x="3" y="3"/>
                    </a:cubicBezTo>
                    <a:lnTo>
                      <a:pt x="3"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sp>
        <p:nvSpPr>
          <p:cNvPr id="1067" name="TextBox 1066">
            <a:extLst>
              <a:ext uri="{FF2B5EF4-FFF2-40B4-BE49-F238E27FC236}">
                <a16:creationId xmlns:a16="http://schemas.microsoft.com/office/drawing/2014/main" id="{1B6FB3F3-E202-0E52-0DA5-200627B4E162}"/>
              </a:ext>
            </a:extLst>
          </p:cNvPr>
          <p:cNvSpPr txBox="1">
            <a:spLocks/>
          </p:cNvSpPr>
          <p:nvPr/>
        </p:nvSpPr>
        <p:spPr>
          <a:xfrm>
            <a:off x="240428" y="1512326"/>
            <a:ext cx="1714018" cy="430483"/>
          </a:xfrm>
          <a:prstGeom prst="roundRect">
            <a:avLst/>
          </a:prstGeom>
          <a:solidFill>
            <a:schemeClr val="accent2"/>
          </a:solidFill>
        </p:spPr>
        <p:txBody>
          <a:bodyPr wrap="square" lIns="0" tIns="0" rIns="0" bIns="0" rtlCol="0">
            <a:noAutofit/>
          </a:bodyPr>
          <a:lstStyle/>
          <a:p>
            <a:pPr algn="ctr"/>
            <a:r>
              <a:rPr lang="en-GB" sz="1200" b="1" spc="-10">
                <a:solidFill>
                  <a:schemeClr val="bg1"/>
                </a:solidFill>
              </a:rPr>
              <a:t>Inherent</a:t>
            </a:r>
            <a:br>
              <a:rPr lang="en-GB" sz="1200" b="1" spc="-10">
                <a:solidFill>
                  <a:schemeClr val="bg1"/>
                </a:solidFill>
              </a:rPr>
            </a:br>
            <a:r>
              <a:rPr lang="en-GB" sz="1200" b="1" spc="-10">
                <a:solidFill>
                  <a:schemeClr val="bg1"/>
                </a:solidFill>
              </a:rPr>
              <a:t>variability</a:t>
            </a:r>
            <a:endParaRPr lang="en-US" sz="1200" b="1" spc="-10">
              <a:solidFill>
                <a:schemeClr val="bg1"/>
              </a:solidFill>
            </a:endParaRPr>
          </a:p>
        </p:txBody>
      </p:sp>
      <p:sp>
        <p:nvSpPr>
          <p:cNvPr id="1068" name="TextBox 1067">
            <a:extLst>
              <a:ext uri="{FF2B5EF4-FFF2-40B4-BE49-F238E27FC236}">
                <a16:creationId xmlns:a16="http://schemas.microsoft.com/office/drawing/2014/main" id="{C06D7B32-4837-22AC-6D6F-B0A07A215A40}"/>
              </a:ext>
            </a:extLst>
          </p:cNvPr>
          <p:cNvSpPr txBox="1">
            <a:spLocks/>
          </p:cNvSpPr>
          <p:nvPr/>
        </p:nvSpPr>
        <p:spPr>
          <a:xfrm flipH="1">
            <a:off x="7144515" y="1513293"/>
            <a:ext cx="1719001" cy="430483"/>
          </a:xfrm>
          <a:prstGeom prst="roundRect">
            <a:avLst/>
          </a:prstGeom>
          <a:solidFill>
            <a:schemeClr val="accent3"/>
          </a:solidFill>
        </p:spPr>
        <p:txBody>
          <a:bodyPr wrap="square" lIns="0" tIns="0" rIns="0" bIns="0" rtlCol="0">
            <a:noAutofit/>
          </a:bodyPr>
          <a:lstStyle/>
          <a:p>
            <a:pPr algn="ctr"/>
            <a:r>
              <a:rPr lang="en-GB" sz="1200" b="1" spc="-10">
                <a:solidFill>
                  <a:schemeClr val="bg1"/>
                </a:solidFill>
              </a:rPr>
              <a:t>Manufacturing variability</a:t>
            </a:r>
            <a:endParaRPr lang="en-US" sz="1200" b="1" spc="-10">
              <a:solidFill>
                <a:schemeClr val="bg1"/>
              </a:solidFill>
            </a:endParaRPr>
          </a:p>
        </p:txBody>
      </p:sp>
      <p:sp>
        <p:nvSpPr>
          <p:cNvPr id="1069" name="TextBox 1068">
            <a:extLst>
              <a:ext uri="{FF2B5EF4-FFF2-40B4-BE49-F238E27FC236}">
                <a16:creationId xmlns:a16="http://schemas.microsoft.com/office/drawing/2014/main" id="{C3F61765-514E-189C-E78A-C0356330D549}"/>
              </a:ext>
            </a:extLst>
          </p:cNvPr>
          <p:cNvSpPr txBox="1">
            <a:spLocks/>
          </p:cNvSpPr>
          <p:nvPr/>
        </p:nvSpPr>
        <p:spPr>
          <a:xfrm>
            <a:off x="6699386" y="2234241"/>
            <a:ext cx="2204108" cy="415498"/>
          </a:xfrm>
          <a:prstGeom prst="rect">
            <a:avLst/>
          </a:prstGeom>
          <a:noFill/>
        </p:spPr>
        <p:txBody>
          <a:bodyPr wrap="square" lIns="0" tIns="0" rIns="0" bIns="0" rtlCol="0">
            <a:spAutoFit/>
          </a:bodyPr>
          <a:lstStyle/>
          <a:p>
            <a:pPr algn="r" defTabSz="685800"/>
            <a:r>
              <a:rPr lang="en-US" sz="900" b="1" dirty="0">
                <a:solidFill>
                  <a:schemeClr val="accent3"/>
                </a:solidFill>
                <a:latin typeface="Arial" panose="020B0604020202020204"/>
              </a:rPr>
              <a:t>Example of manufacturing</a:t>
            </a:r>
            <a:br>
              <a:rPr lang="en-US" sz="900" b="1" dirty="0">
                <a:solidFill>
                  <a:schemeClr val="accent3"/>
                </a:solidFill>
                <a:latin typeface="Arial" panose="020B0604020202020204"/>
              </a:rPr>
            </a:br>
            <a:r>
              <a:rPr lang="en-US" sz="900" b="1" dirty="0">
                <a:solidFill>
                  <a:schemeClr val="accent3"/>
                </a:solidFill>
                <a:latin typeface="Arial" panose="020B0604020202020204"/>
              </a:rPr>
              <a:t>variability: </a:t>
            </a:r>
            <a:r>
              <a:rPr lang="en-US" sz="900" dirty="0">
                <a:solidFill>
                  <a:schemeClr val="accent3"/>
                </a:solidFill>
                <a:latin typeface="Arial" panose="020B0604020202020204"/>
              </a:rPr>
              <a:t>Batch-to-batch variability</a:t>
            </a:r>
            <a:br>
              <a:rPr lang="en-US" sz="900" dirty="0">
                <a:solidFill>
                  <a:schemeClr val="accent3"/>
                </a:solidFill>
                <a:latin typeface="Arial" panose="020B0604020202020204"/>
              </a:rPr>
            </a:br>
            <a:r>
              <a:rPr lang="en-US" sz="900" dirty="0">
                <a:solidFill>
                  <a:schemeClr val="accent3"/>
                </a:solidFill>
                <a:latin typeface="Arial" panose="020B0604020202020204"/>
              </a:rPr>
              <a:t>of an anti-CD20 biologic medicine</a:t>
            </a:r>
            <a:r>
              <a:rPr lang="en-US" sz="900" baseline="30000" dirty="0">
                <a:solidFill>
                  <a:schemeClr val="accent3"/>
                </a:solidFill>
                <a:latin typeface="Arial" panose="020B0604020202020204"/>
              </a:rPr>
              <a:t>4</a:t>
            </a:r>
            <a:endParaRPr lang="de-DE" sz="900" dirty="0">
              <a:solidFill>
                <a:schemeClr val="accent3"/>
              </a:solidFill>
              <a:latin typeface="Arial" panose="020B0604020202020204"/>
            </a:endParaRPr>
          </a:p>
        </p:txBody>
      </p:sp>
      <p:sp>
        <p:nvSpPr>
          <p:cNvPr id="1070" name="TextBox 1069">
            <a:extLst>
              <a:ext uri="{FF2B5EF4-FFF2-40B4-BE49-F238E27FC236}">
                <a16:creationId xmlns:a16="http://schemas.microsoft.com/office/drawing/2014/main" id="{32198007-E00D-D9AF-AFD0-6A6555AC8E50}"/>
              </a:ext>
            </a:extLst>
          </p:cNvPr>
          <p:cNvSpPr txBox="1">
            <a:spLocks/>
          </p:cNvSpPr>
          <p:nvPr/>
        </p:nvSpPr>
        <p:spPr>
          <a:xfrm>
            <a:off x="243001" y="2234241"/>
            <a:ext cx="2204108" cy="415498"/>
          </a:xfrm>
          <a:prstGeom prst="rect">
            <a:avLst/>
          </a:prstGeom>
          <a:noFill/>
        </p:spPr>
        <p:txBody>
          <a:bodyPr wrap="square" lIns="0" tIns="0" rIns="0" bIns="0" rtlCol="0">
            <a:spAutoFit/>
          </a:bodyPr>
          <a:lstStyle/>
          <a:p>
            <a:pPr defTabSz="685800"/>
            <a:r>
              <a:rPr lang="en-US" sz="900" b="1" dirty="0">
                <a:solidFill>
                  <a:schemeClr val="accent2"/>
                </a:solidFill>
                <a:latin typeface="Arial" panose="020B0604020202020204"/>
              </a:rPr>
              <a:t>Example of inherent variability:</a:t>
            </a:r>
            <a:br>
              <a:rPr lang="en-US" sz="900" b="1" dirty="0">
                <a:solidFill>
                  <a:schemeClr val="accent2"/>
                </a:solidFill>
                <a:latin typeface="Arial" panose="020B0604020202020204"/>
              </a:rPr>
            </a:br>
            <a:r>
              <a:rPr lang="en-US" sz="900" dirty="0">
                <a:solidFill>
                  <a:schemeClr val="accent2"/>
                </a:solidFill>
                <a:latin typeface="Arial" panose="020B0604020202020204"/>
              </a:rPr>
              <a:t>Within-batch variability of a VEGF-A inhibitor biologic medicine</a:t>
            </a:r>
            <a:r>
              <a:rPr lang="en-US" sz="900" baseline="30000" dirty="0">
                <a:solidFill>
                  <a:schemeClr val="accent2"/>
                </a:solidFill>
                <a:latin typeface="Arial" panose="020B0604020202020204"/>
              </a:rPr>
              <a:t>2</a:t>
            </a:r>
            <a:endParaRPr lang="de-DE" sz="900" baseline="30000" dirty="0">
              <a:solidFill>
                <a:schemeClr val="accent2"/>
              </a:solidFill>
              <a:latin typeface="Arial" panose="020B0604020202020204"/>
            </a:endParaRPr>
          </a:p>
        </p:txBody>
      </p:sp>
      <p:grpSp>
        <p:nvGrpSpPr>
          <p:cNvPr id="1077" name="Group 1076">
            <a:extLst>
              <a:ext uri="{FF2B5EF4-FFF2-40B4-BE49-F238E27FC236}">
                <a16:creationId xmlns:a16="http://schemas.microsoft.com/office/drawing/2014/main" id="{DACC29EB-1CAE-E889-5AAC-18D982E52850}"/>
              </a:ext>
            </a:extLst>
          </p:cNvPr>
          <p:cNvGrpSpPr/>
          <p:nvPr/>
        </p:nvGrpSpPr>
        <p:grpSpPr>
          <a:xfrm>
            <a:off x="7497637" y="3140822"/>
            <a:ext cx="1281494" cy="669404"/>
            <a:chOff x="8061482" y="3587078"/>
            <a:chExt cx="1106499" cy="669404"/>
          </a:xfrm>
        </p:grpSpPr>
        <p:sp>
          <p:nvSpPr>
            <p:cNvPr id="1073" name="Rectangle 1072">
              <a:extLst>
                <a:ext uri="{FF2B5EF4-FFF2-40B4-BE49-F238E27FC236}">
                  <a16:creationId xmlns:a16="http://schemas.microsoft.com/office/drawing/2014/main" id="{4B293176-DDF9-38F1-BEB5-EB77E61DDFAD}"/>
                </a:ext>
              </a:extLst>
            </p:cNvPr>
            <p:cNvSpPr/>
            <p:nvPr/>
          </p:nvSpPr>
          <p:spPr>
            <a:xfrm>
              <a:off x="8156486" y="3587078"/>
              <a:ext cx="1011495" cy="284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defTabSz="685800">
                <a:spcAft>
                  <a:spcPts val="300"/>
                </a:spcAft>
              </a:pPr>
              <a:r>
                <a:rPr lang="en-GB" sz="800" dirty="0">
                  <a:solidFill>
                    <a:schemeClr val="accent1"/>
                  </a:solidFill>
                  <a:latin typeface="Arial" panose="020B0604020202020204"/>
                </a:rPr>
                <a:t>Pre-change batches*</a:t>
              </a:r>
            </a:p>
            <a:p>
              <a:pPr defTabSz="685800">
                <a:spcAft>
                  <a:spcPts val="300"/>
                </a:spcAft>
              </a:pPr>
              <a:r>
                <a:rPr lang="en-GB" sz="800" dirty="0">
                  <a:solidFill>
                    <a:schemeClr val="accent1"/>
                  </a:solidFill>
                  <a:latin typeface="Arial" panose="020B0604020202020204"/>
                </a:rPr>
                <a:t>Post-change batches*</a:t>
              </a:r>
              <a:endParaRPr lang="en-US" sz="800" dirty="0">
                <a:solidFill>
                  <a:schemeClr val="accent1"/>
                </a:solidFill>
                <a:latin typeface="Arial" panose="020B0604020202020204"/>
              </a:endParaRPr>
            </a:p>
          </p:txBody>
        </p:sp>
        <p:sp>
          <p:nvSpPr>
            <p:cNvPr id="1074" name="Rectangle 1073">
              <a:extLst>
                <a:ext uri="{FF2B5EF4-FFF2-40B4-BE49-F238E27FC236}">
                  <a16:creationId xmlns:a16="http://schemas.microsoft.com/office/drawing/2014/main" id="{C9239201-B249-6A50-AD14-E4B568AEEF96}"/>
                </a:ext>
              </a:extLst>
            </p:cNvPr>
            <p:cNvSpPr/>
            <p:nvPr/>
          </p:nvSpPr>
          <p:spPr>
            <a:xfrm>
              <a:off x="8061482" y="3626748"/>
              <a:ext cx="66684" cy="73579"/>
            </a:xfrm>
            <a:prstGeom prst="rect">
              <a:avLst/>
            </a:pr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076" name="TextBox 1075">
              <a:extLst>
                <a:ext uri="{FF2B5EF4-FFF2-40B4-BE49-F238E27FC236}">
                  <a16:creationId xmlns:a16="http://schemas.microsoft.com/office/drawing/2014/main" id="{592D6E5B-963C-56E9-4803-0EEDC967C395}"/>
                </a:ext>
              </a:extLst>
            </p:cNvPr>
            <p:cNvSpPr txBox="1"/>
            <p:nvPr/>
          </p:nvSpPr>
          <p:spPr>
            <a:xfrm>
              <a:off x="8061482" y="3887150"/>
              <a:ext cx="1011494" cy="3693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1">
                  <a:ln>
                    <a:noFill/>
                  </a:ln>
                  <a:solidFill>
                    <a:schemeClr val="accent1"/>
                  </a:solidFill>
                  <a:effectLst/>
                  <a:uLnTx/>
                  <a:uFillTx/>
                  <a:latin typeface="Arial" panose="020B0604020202020204"/>
                  <a:ea typeface="+mn-ea"/>
                  <a:cs typeface="+mn-cs"/>
                </a:rPr>
                <a:t>*Change in quality profile due to revised manufacturing process</a:t>
              </a:r>
            </a:p>
          </p:txBody>
        </p:sp>
      </p:grpSp>
      <p:grpSp>
        <p:nvGrpSpPr>
          <p:cNvPr id="1099" name="Group 1098">
            <a:extLst>
              <a:ext uri="{FF2B5EF4-FFF2-40B4-BE49-F238E27FC236}">
                <a16:creationId xmlns:a16="http://schemas.microsoft.com/office/drawing/2014/main" id="{E54C305F-37DE-E205-9EA7-D505B41E600C}"/>
              </a:ext>
            </a:extLst>
          </p:cNvPr>
          <p:cNvGrpSpPr/>
          <p:nvPr/>
        </p:nvGrpSpPr>
        <p:grpSpPr>
          <a:xfrm>
            <a:off x="837442" y="3309399"/>
            <a:ext cx="21923" cy="461065"/>
            <a:chOff x="679884" y="3591029"/>
            <a:chExt cx="17393" cy="353062"/>
          </a:xfrm>
          <a:solidFill>
            <a:schemeClr val="tx2"/>
          </a:solidFill>
        </p:grpSpPr>
        <p:sp>
          <p:nvSpPr>
            <p:cNvPr id="31" name="Freeform 30">
              <a:extLst>
                <a:ext uri="{FF2B5EF4-FFF2-40B4-BE49-F238E27FC236}">
                  <a16:creationId xmlns:a16="http://schemas.microsoft.com/office/drawing/2014/main" id="{851DD1FD-6F66-BF41-34F0-FC7BC4F7D8E1}"/>
                </a:ext>
              </a:extLst>
            </p:cNvPr>
            <p:cNvSpPr/>
            <p:nvPr/>
          </p:nvSpPr>
          <p:spPr>
            <a:xfrm>
              <a:off x="679884" y="359102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D674946B-4215-549E-8F3B-FC0F095EB875}"/>
                </a:ext>
              </a:extLst>
            </p:cNvPr>
            <p:cNvSpPr/>
            <p:nvPr/>
          </p:nvSpPr>
          <p:spPr>
            <a:xfrm>
              <a:off x="679884" y="361151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CE778FD-765B-D1E7-EA6D-043EC8291C22}"/>
                </a:ext>
              </a:extLst>
            </p:cNvPr>
            <p:cNvSpPr/>
            <p:nvPr/>
          </p:nvSpPr>
          <p:spPr>
            <a:xfrm>
              <a:off x="679884" y="366039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F611AC13-7867-9AE4-ECB0-3DE38D0155C4}"/>
                </a:ext>
              </a:extLst>
            </p:cNvPr>
            <p:cNvSpPr/>
            <p:nvPr/>
          </p:nvSpPr>
          <p:spPr>
            <a:xfrm>
              <a:off x="679884" y="367060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4663364C-229D-66D7-83B1-186C6B14904D}"/>
                </a:ext>
              </a:extLst>
            </p:cNvPr>
            <p:cNvSpPr/>
            <p:nvPr/>
          </p:nvSpPr>
          <p:spPr>
            <a:xfrm>
              <a:off x="679884" y="370946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FA1FDD32-AC3D-7BAA-9214-758FEC300515}"/>
                </a:ext>
              </a:extLst>
            </p:cNvPr>
            <p:cNvSpPr/>
            <p:nvPr/>
          </p:nvSpPr>
          <p:spPr>
            <a:xfrm>
              <a:off x="679884" y="374966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61C8A22-0CCA-F0B3-E3B0-C26E9A7389BD}"/>
                </a:ext>
              </a:extLst>
            </p:cNvPr>
            <p:cNvSpPr/>
            <p:nvPr/>
          </p:nvSpPr>
          <p:spPr>
            <a:xfrm>
              <a:off x="679884" y="378858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3A4197E3-0C86-AFAB-C2F6-973A41DD6E7B}"/>
                </a:ext>
              </a:extLst>
            </p:cNvPr>
            <p:cNvSpPr/>
            <p:nvPr/>
          </p:nvSpPr>
          <p:spPr>
            <a:xfrm>
              <a:off x="679884" y="381857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74DAFB67-829B-5553-182B-622539854C12}"/>
                </a:ext>
              </a:extLst>
            </p:cNvPr>
            <p:cNvSpPr/>
            <p:nvPr/>
          </p:nvSpPr>
          <p:spPr>
            <a:xfrm>
              <a:off x="679884" y="388659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55E75AAF-C18B-B850-D882-58EFF68A02E5}"/>
                </a:ext>
              </a:extLst>
            </p:cNvPr>
            <p:cNvSpPr/>
            <p:nvPr/>
          </p:nvSpPr>
          <p:spPr>
            <a:xfrm>
              <a:off x="679884" y="392660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1" name="Group 1100">
            <a:extLst>
              <a:ext uri="{FF2B5EF4-FFF2-40B4-BE49-F238E27FC236}">
                <a16:creationId xmlns:a16="http://schemas.microsoft.com/office/drawing/2014/main" id="{871184DF-5A92-6CF9-8FD6-06927906C20C}"/>
              </a:ext>
            </a:extLst>
          </p:cNvPr>
          <p:cNvGrpSpPr/>
          <p:nvPr/>
        </p:nvGrpSpPr>
        <p:grpSpPr>
          <a:xfrm>
            <a:off x="1583919" y="3451643"/>
            <a:ext cx="21923" cy="113329"/>
            <a:chOff x="1048891" y="3699953"/>
            <a:chExt cx="17393" cy="86782"/>
          </a:xfrm>
          <a:solidFill>
            <a:schemeClr val="tx2">
              <a:lumMod val="50000"/>
              <a:lumOff val="50000"/>
            </a:schemeClr>
          </a:solidFill>
        </p:grpSpPr>
        <p:sp>
          <p:nvSpPr>
            <p:cNvPr id="56" name="Freeform 55">
              <a:extLst>
                <a:ext uri="{FF2B5EF4-FFF2-40B4-BE49-F238E27FC236}">
                  <a16:creationId xmlns:a16="http://schemas.microsoft.com/office/drawing/2014/main" id="{79648336-AB5E-5BFB-45E3-5F83D1793328}"/>
                </a:ext>
              </a:extLst>
            </p:cNvPr>
            <p:cNvSpPr/>
            <p:nvPr/>
          </p:nvSpPr>
          <p:spPr>
            <a:xfrm>
              <a:off x="1048891" y="3699953"/>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01488E55-4953-7170-4BC0-639849BE15D3}"/>
                </a:ext>
              </a:extLst>
            </p:cNvPr>
            <p:cNvSpPr/>
            <p:nvPr/>
          </p:nvSpPr>
          <p:spPr>
            <a:xfrm>
              <a:off x="1048891" y="372924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D996583E-9500-FF7D-F482-F90561BABE0E}"/>
                </a:ext>
              </a:extLst>
            </p:cNvPr>
            <p:cNvSpPr/>
            <p:nvPr/>
          </p:nvSpPr>
          <p:spPr>
            <a:xfrm>
              <a:off x="1048891" y="374927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314DAB0F-C363-D87C-BF14-0544B7BE3C29}"/>
                </a:ext>
              </a:extLst>
            </p:cNvPr>
            <p:cNvSpPr/>
            <p:nvPr/>
          </p:nvSpPr>
          <p:spPr>
            <a:xfrm>
              <a:off x="1048891" y="376925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3" name="Group 1102">
            <a:extLst>
              <a:ext uri="{FF2B5EF4-FFF2-40B4-BE49-F238E27FC236}">
                <a16:creationId xmlns:a16="http://schemas.microsoft.com/office/drawing/2014/main" id="{E8397BF6-D917-3E97-699E-56082380EB57}"/>
              </a:ext>
            </a:extLst>
          </p:cNvPr>
          <p:cNvGrpSpPr/>
          <p:nvPr/>
        </p:nvGrpSpPr>
        <p:grpSpPr>
          <a:xfrm>
            <a:off x="2330393" y="3386895"/>
            <a:ext cx="21923" cy="294073"/>
            <a:chOff x="1417263" y="3650372"/>
            <a:chExt cx="17393" cy="225187"/>
          </a:xfrm>
          <a:solidFill>
            <a:schemeClr val="accent2">
              <a:lumMod val="75000"/>
            </a:schemeClr>
          </a:solidFill>
        </p:grpSpPr>
        <p:sp>
          <p:nvSpPr>
            <p:cNvPr id="61" name="Freeform 60">
              <a:extLst>
                <a:ext uri="{FF2B5EF4-FFF2-40B4-BE49-F238E27FC236}">
                  <a16:creationId xmlns:a16="http://schemas.microsoft.com/office/drawing/2014/main" id="{398D6305-D085-C924-CC49-FC73F5321826}"/>
                </a:ext>
              </a:extLst>
            </p:cNvPr>
            <p:cNvSpPr/>
            <p:nvPr/>
          </p:nvSpPr>
          <p:spPr>
            <a:xfrm>
              <a:off x="1417263" y="385807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62" name="Freeform 61">
              <a:extLst>
                <a:ext uri="{FF2B5EF4-FFF2-40B4-BE49-F238E27FC236}">
                  <a16:creationId xmlns:a16="http://schemas.microsoft.com/office/drawing/2014/main" id="{0FBBE924-D117-5759-ADB8-FDD734F4AB1F}"/>
                </a:ext>
              </a:extLst>
            </p:cNvPr>
            <p:cNvSpPr/>
            <p:nvPr/>
          </p:nvSpPr>
          <p:spPr>
            <a:xfrm>
              <a:off x="1417263" y="383816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5BF47C8F-9166-0E5D-2C48-115214D6457D}"/>
                </a:ext>
              </a:extLst>
            </p:cNvPr>
            <p:cNvSpPr/>
            <p:nvPr/>
          </p:nvSpPr>
          <p:spPr>
            <a:xfrm>
              <a:off x="1417263" y="378884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EB4D7ECC-061D-9E3E-4417-99437B673227}"/>
                </a:ext>
              </a:extLst>
            </p:cNvPr>
            <p:cNvSpPr/>
            <p:nvPr/>
          </p:nvSpPr>
          <p:spPr>
            <a:xfrm>
              <a:off x="1417263" y="365037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5" name="Group 1104">
            <a:extLst>
              <a:ext uri="{FF2B5EF4-FFF2-40B4-BE49-F238E27FC236}">
                <a16:creationId xmlns:a16="http://schemas.microsoft.com/office/drawing/2014/main" id="{0A8492A8-7709-4D4D-3ABA-5BE9F32BDD65}"/>
              </a:ext>
            </a:extLst>
          </p:cNvPr>
          <p:cNvGrpSpPr/>
          <p:nvPr/>
        </p:nvGrpSpPr>
        <p:grpSpPr>
          <a:xfrm>
            <a:off x="3076873" y="3425478"/>
            <a:ext cx="21923" cy="114244"/>
            <a:chOff x="1784809" y="3679917"/>
            <a:chExt cx="17393" cy="87483"/>
          </a:xfrm>
          <a:solidFill>
            <a:srgbClr val="332D72"/>
          </a:solidFill>
        </p:grpSpPr>
        <p:sp>
          <p:nvSpPr>
            <p:cNvPr id="1026" name="Freeform 1025">
              <a:extLst>
                <a:ext uri="{FF2B5EF4-FFF2-40B4-BE49-F238E27FC236}">
                  <a16:creationId xmlns:a16="http://schemas.microsoft.com/office/drawing/2014/main" id="{56644963-091B-6B6B-E39F-2AE5C623E3C0}"/>
                </a:ext>
              </a:extLst>
            </p:cNvPr>
            <p:cNvSpPr/>
            <p:nvPr/>
          </p:nvSpPr>
          <p:spPr>
            <a:xfrm>
              <a:off x="1784809" y="367991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7" name="Freeform 1026">
              <a:extLst>
                <a:ext uri="{FF2B5EF4-FFF2-40B4-BE49-F238E27FC236}">
                  <a16:creationId xmlns:a16="http://schemas.microsoft.com/office/drawing/2014/main" id="{0546A03D-E558-0616-960C-5B57BC5374BB}"/>
                </a:ext>
              </a:extLst>
            </p:cNvPr>
            <p:cNvSpPr/>
            <p:nvPr/>
          </p:nvSpPr>
          <p:spPr>
            <a:xfrm>
              <a:off x="1784809" y="371979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EDF23213-8E64-9113-FBC2-5BDA13F6E0D7}"/>
                </a:ext>
              </a:extLst>
            </p:cNvPr>
            <p:cNvSpPr/>
            <p:nvPr/>
          </p:nvSpPr>
          <p:spPr>
            <a:xfrm>
              <a:off x="1784809" y="37301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4533DE45-C0F7-38F1-3E7F-2D995B66A7B2}"/>
                </a:ext>
              </a:extLst>
            </p:cNvPr>
            <p:cNvSpPr/>
            <p:nvPr/>
          </p:nvSpPr>
          <p:spPr>
            <a:xfrm>
              <a:off x="1784809" y="374991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4" name="Group 1103">
            <a:extLst>
              <a:ext uri="{FF2B5EF4-FFF2-40B4-BE49-F238E27FC236}">
                <a16:creationId xmlns:a16="http://schemas.microsoft.com/office/drawing/2014/main" id="{F61D84D6-6F02-98C6-FE17-444CEC3DD7C9}"/>
              </a:ext>
            </a:extLst>
          </p:cNvPr>
          <p:cNvGrpSpPr/>
          <p:nvPr/>
        </p:nvGrpSpPr>
        <p:grpSpPr>
          <a:xfrm>
            <a:off x="2703631" y="3129406"/>
            <a:ext cx="21923" cy="744388"/>
            <a:chOff x="1600846" y="3453199"/>
            <a:chExt cx="17393" cy="570017"/>
          </a:xfrm>
          <a:solidFill>
            <a:schemeClr val="accent4">
              <a:lumMod val="75000"/>
            </a:schemeClr>
          </a:solidFill>
        </p:grpSpPr>
        <p:sp>
          <p:nvSpPr>
            <p:cNvPr id="1025" name="Freeform 1024">
              <a:extLst>
                <a:ext uri="{FF2B5EF4-FFF2-40B4-BE49-F238E27FC236}">
                  <a16:creationId xmlns:a16="http://schemas.microsoft.com/office/drawing/2014/main" id="{F89EEAB4-26E9-7849-F4B6-AEEEF44FFBA6}"/>
                </a:ext>
              </a:extLst>
            </p:cNvPr>
            <p:cNvSpPr/>
            <p:nvPr/>
          </p:nvSpPr>
          <p:spPr>
            <a:xfrm>
              <a:off x="1600846" y="366064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591CC75C-E83C-4123-0EBA-B1F699D02CC3}"/>
                </a:ext>
              </a:extLst>
            </p:cNvPr>
            <p:cNvSpPr/>
            <p:nvPr/>
          </p:nvSpPr>
          <p:spPr>
            <a:xfrm>
              <a:off x="1600846" y="347323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1" name="Freeform 1030">
              <a:extLst>
                <a:ext uri="{FF2B5EF4-FFF2-40B4-BE49-F238E27FC236}">
                  <a16:creationId xmlns:a16="http://schemas.microsoft.com/office/drawing/2014/main" id="{1F114237-3F0D-ACD2-C9D2-15526C80BF41}"/>
                </a:ext>
              </a:extLst>
            </p:cNvPr>
            <p:cNvSpPr/>
            <p:nvPr/>
          </p:nvSpPr>
          <p:spPr>
            <a:xfrm>
              <a:off x="1600846" y="34531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2" name="Freeform 1031">
              <a:extLst>
                <a:ext uri="{FF2B5EF4-FFF2-40B4-BE49-F238E27FC236}">
                  <a16:creationId xmlns:a16="http://schemas.microsoft.com/office/drawing/2014/main" id="{455CF613-DBF7-1C77-2A04-0DCD4A90FEEB}"/>
                </a:ext>
              </a:extLst>
            </p:cNvPr>
            <p:cNvSpPr/>
            <p:nvPr/>
          </p:nvSpPr>
          <p:spPr>
            <a:xfrm>
              <a:off x="1600846" y="376906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3" name="Freeform 1032">
              <a:extLst>
                <a:ext uri="{FF2B5EF4-FFF2-40B4-BE49-F238E27FC236}">
                  <a16:creationId xmlns:a16="http://schemas.microsoft.com/office/drawing/2014/main" id="{368BF7B9-5202-189C-BC53-BDCA8C19C101}"/>
                </a:ext>
              </a:extLst>
            </p:cNvPr>
            <p:cNvSpPr/>
            <p:nvPr/>
          </p:nvSpPr>
          <p:spPr>
            <a:xfrm>
              <a:off x="1600846" y="400573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2" name="Group 1101">
            <a:extLst>
              <a:ext uri="{FF2B5EF4-FFF2-40B4-BE49-F238E27FC236}">
                <a16:creationId xmlns:a16="http://schemas.microsoft.com/office/drawing/2014/main" id="{832BBDBE-F042-55A3-0000-E415A3B9BF45}"/>
              </a:ext>
            </a:extLst>
          </p:cNvPr>
          <p:cNvGrpSpPr/>
          <p:nvPr/>
        </p:nvGrpSpPr>
        <p:grpSpPr>
          <a:xfrm>
            <a:off x="1957157" y="3618387"/>
            <a:ext cx="21923" cy="178410"/>
            <a:chOff x="1232854" y="3827637"/>
            <a:chExt cx="17393" cy="136618"/>
          </a:xfrm>
          <a:solidFill>
            <a:schemeClr val="accent1">
              <a:lumMod val="25000"/>
              <a:lumOff val="75000"/>
            </a:schemeClr>
          </a:solidFill>
        </p:grpSpPr>
        <p:sp>
          <p:nvSpPr>
            <p:cNvPr id="60" name="Freeform 59">
              <a:extLst>
                <a:ext uri="{FF2B5EF4-FFF2-40B4-BE49-F238E27FC236}">
                  <a16:creationId xmlns:a16="http://schemas.microsoft.com/office/drawing/2014/main" id="{424F89AC-46E6-645E-2572-271F409F05BA}"/>
                </a:ext>
              </a:extLst>
            </p:cNvPr>
            <p:cNvSpPr/>
            <p:nvPr/>
          </p:nvSpPr>
          <p:spPr>
            <a:xfrm>
              <a:off x="1232854" y="382763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34" name="Freeform 1033">
              <a:extLst>
                <a:ext uri="{FF2B5EF4-FFF2-40B4-BE49-F238E27FC236}">
                  <a16:creationId xmlns:a16="http://schemas.microsoft.com/office/drawing/2014/main" id="{D5D8F7B3-B9C6-40EA-9FC7-F32E2572D102}"/>
                </a:ext>
              </a:extLst>
            </p:cNvPr>
            <p:cNvSpPr/>
            <p:nvPr/>
          </p:nvSpPr>
          <p:spPr>
            <a:xfrm>
              <a:off x="1232854" y="388742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09DD110E-F91B-4F2D-8890-3878720D23CF}"/>
                </a:ext>
              </a:extLst>
            </p:cNvPr>
            <p:cNvSpPr/>
            <p:nvPr/>
          </p:nvSpPr>
          <p:spPr>
            <a:xfrm>
              <a:off x="1232854" y="39170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71" name="Freeform 1070">
              <a:extLst>
                <a:ext uri="{FF2B5EF4-FFF2-40B4-BE49-F238E27FC236}">
                  <a16:creationId xmlns:a16="http://schemas.microsoft.com/office/drawing/2014/main" id="{0A77A0BE-8979-72B8-3FB1-74818D8148D9}"/>
                </a:ext>
              </a:extLst>
            </p:cNvPr>
            <p:cNvSpPr/>
            <p:nvPr/>
          </p:nvSpPr>
          <p:spPr>
            <a:xfrm>
              <a:off x="1232854" y="394677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grpSp>
        <p:nvGrpSpPr>
          <p:cNvPr id="1100" name="Group 1099">
            <a:extLst>
              <a:ext uri="{FF2B5EF4-FFF2-40B4-BE49-F238E27FC236}">
                <a16:creationId xmlns:a16="http://schemas.microsoft.com/office/drawing/2014/main" id="{BD90A7C1-7C8D-202E-0591-0FA53B7D8699}"/>
              </a:ext>
            </a:extLst>
          </p:cNvPr>
          <p:cNvGrpSpPr/>
          <p:nvPr/>
        </p:nvGrpSpPr>
        <p:grpSpPr>
          <a:xfrm>
            <a:off x="1210681" y="3193070"/>
            <a:ext cx="21923" cy="667307"/>
            <a:chOff x="865117" y="3501950"/>
            <a:chExt cx="17393" cy="510992"/>
          </a:xfrm>
          <a:solidFill>
            <a:schemeClr val="tx2">
              <a:lumMod val="75000"/>
              <a:lumOff val="25000"/>
            </a:schemeClr>
          </a:solidFill>
        </p:grpSpPr>
        <p:sp>
          <p:nvSpPr>
            <p:cNvPr id="41" name="Freeform 40">
              <a:extLst>
                <a:ext uri="{FF2B5EF4-FFF2-40B4-BE49-F238E27FC236}">
                  <a16:creationId xmlns:a16="http://schemas.microsoft.com/office/drawing/2014/main" id="{215D3961-A62D-4C47-A1AD-C32694DA7111}"/>
                </a:ext>
              </a:extLst>
            </p:cNvPr>
            <p:cNvSpPr/>
            <p:nvPr/>
          </p:nvSpPr>
          <p:spPr>
            <a:xfrm>
              <a:off x="865117" y="399545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8C6CFBE2-D1FA-1E38-3D4A-FD5102962C1E}"/>
                </a:ext>
              </a:extLst>
            </p:cNvPr>
            <p:cNvSpPr/>
            <p:nvPr/>
          </p:nvSpPr>
          <p:spPr>
            <a:xfrm>
              <a:off x="865117" y="3916844"/>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39D200AA-1A1F-A17F-EB98-8BC88099458D}"/>
                </a:ext>
              </a:extLst>
            </p:cNvPr>
            <p:cNvSpPr/>
            <p:nvPr/>
          </p:nvSpPr>
          <p:spPr>
            <a:xfrm>
              <a:off x="865117" y="3886598"/>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D03F013C-913D-3B33-C790-E0678548D14C}"/>
                </a:ext>
              </a:extLst>
            </p:cNvPr>
            <p:cNvSpPr/>
            <p:nvPr/>
          </p:nvSpPr>
          <p:spPr>
            <a:xfrm>
              <a:off x="865117" y="389789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562ABFB1-91C0-ED4C-2884-D3479D553229}"/>
                </a:ext>
              </a:extLst>
            </p:cNvPr>
            <p:cNvSpPr/>
            <p:nvPr/>
          </p:nvSpPr>
          <p:spPr>
            <a:xfrm>
              <a:off x="865117" y="3768804"/>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CE65599D-F8EB-ABB0-20D8-6332F28E0272}"/>
                </a:ext>
              </a:extLst>
            </p:cNvPr>
            <p:cNvSpPr/>
            <p:nvPr/>
          </p:nvSpPr>
          <p:spPr>
            <a:xfrm>
              <a:off x="865117" y="3781247"/>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D87A08ED-9A1C-2153-BF89-9B95EF5B628C}"/>
                </a:ext>
              </a:extLst>
            </p:cNvPr>
            <p:cNvSpPr/>
            <p:nvPr/>
          </p:nvSpPr>
          <p:spPr>
            <a:xfrm>
              <a:off x="865117" y="379369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4CC4D017-8DAE-FF67-D1C1-0ECAFCBEE4E5}"/>
                </a:ext>
              </a:extLst>
            </p:cNvPr>
            <p:cNvSpPr/>
            <p:nvPr/>
          </p:nvSpPr>
          <p:spPr>
            <a:xfrm>
              <a:off x="865117" y="3806133"/>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091D69E5-CE5B-4697-6249-A834565E1764}"/>
                </a:ext>
              </a:extLst>
            </p:cNvPr>
            <p:cNvSpPr/>
            <p:nvPr/>
          </p:nvSpPr>
          <p:spPr>
            <a:xfrm>
              <a:off x="865117" y="381857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1A20272E-FD1A-74D0-7222-B7C41F0065AC}"/>
                </a:ext>
              </a:extLst>
            </p:cNvPr>
            <p:cNvSpPr/>
            <p:nvPr/>
          </p:nvSpPr>
          <p:spPr>
            <a:xfrm>
              <a:off x="865117" y="3711056"/>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81AEB0D4-A39D-9928-3509-3DACBA418B9E}"/>
                </a:ext>
              </a:extLst>
            </p:cNvPr>
            <p:cNvSpPr/>
            <p:nvPr/>
          </p:nvSpPr>
          <p:spPr>
            <a:xfrm>
              <a:off x="865117" y="3723499"/>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69652CB4-CAAD-4426-1A55-0B998CD78E1D}"/>
                </a:ext>
              </a:extLst>
            </p:cNvPr>
            <p:cNvSpPr/>
            <p:nvPr/>
          </p:nvSpPr>
          <p:spPr>
            <a:xfrm>
              <a:off x="865117" y="3630591"/>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39F38625-5EA1-1A7B-0906-7FE2C66340D7}"/>
                </a:ext>
              </a:extLst>
            </p:cNvPr>
            <p:cNvSpPr/>
            <p:nvPr/>
          </p:nvSpPr>
          <p:spPr>
            <a:xfrm>
              <a:off x="865117" y="350195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78" name="Freeform 1077">
              <a:extLst>
                <a:ext uri="{FF2B5EF4-FFF2-40B4-BE49-F238E27FC236}">
                  <a16:creationId xmlns:a16="http://schemas.microsoft.com/office/drawing/2014/main" id="{FE8BC707-157B-DCA7-A225-59E7D6BAFF9B}"/>
                </a:ext>
              </a:extLst>
            </p:cNvPr>
            <p:cNvSpPr/>
            <p:nvPr/>
          </p:nvSpPr>
          <p:spPr>
            <a:xfrm>
              <a:off x="865117" y="3670600"/>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79" name="Freeform 1078">
              <a:extLst>
                <a:ext uri="{FF2B5EF4-FFF2-40B4-BE49-F238E27FC236}">
                  <a16:creationId xmlns:a16="http://schemas.microsoft.com/office/drawing/2014/main" id="{70C37755-EECE-ED79-5EF9-B821EF79B99F}"/>
                </a:ext>
              </a:extLst>
            </p:cNvPr>
            <p:cNvSpPr/>
            <p:nvPr/>
          </p:nvSpPr>
          <p:spPr>
            <a:xfrm>
              <a:off x="865117" y="3735942"/>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sp>
          <p:nvSpPr>
            <p:cNvPr id="1080" name="Freeform 1079">
              <a:extLst>
                <a:ext uri="{FF2B5EF4-FFF2-40B4-BE49-F238E27FC236}">
                  <a16:creationId xmlns:a16="http://schemas.microsoft.com/office/drawing/2014/main" id="{2F3ABA77-D530-0293-FA7C-1D2DAE427824}"/>
                </a:ext>
              </a:extLst>
            </p:cNvPr>
            <p:cNvSpPr/>
            <p:nvPr/>
          </p:nvSpPr>
          <p:spPr>
            <a:xfrm>
              <a:off x="865117" y="3748385"/>
              <a:ext cx="17393" cy="17484"/>
            </a:xfrm>
            <a:custGeom>
              <a:avLst/>
              <a:gdLst>
                <a:gd name="connsiteX0" fmla="*/ 17393 w 17393"/>
                <a:gd name="connsiteY0" fmla="*/ 8742 h 17484"/>
                <a:gd name="connsiteX1" fmla="*/ 8697 w 17393"/>
                <a:gd name="connsiteY1" fmla="*/ 17484 h 17484"/>
                <a:gd name="connsiteX2" fmla="*/ 0 w 17393"/>
                <a:gd name="connsiteY2" fmla="*/ 8742 h 17484"/>
                <a:gd name="connsiteX3" fmla="*/ 8697 w 17393"/>
                <a:gd name="connsiteY3" fmla="*/ 0 h 17484"/>
                <a:gd name="connsiteX4" fmla="*/ 17393 w 17393"/>
                <a:gd name="connsiteY4" fmla="*/ 8742 h 17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3" h="17484">
                  <a:moveTo>
                    <a:pt x="17393" y="8742"/>
                  </a:moveTo>
                  <a:cubicBezTo>
                    <a:pt x="17393" y="13570"/>
                    <a:pt x="13500" y="17484"/>
                    <a:pt x="8697" y="17484"/>
                  </a:cubicBezTo>
                  <a:cubicBezTo>
                    <a:pt x="3894" y="17484"/>
                    <a:pt x="0" y="13570"/>
                    <a:pt x="0" y="8742"/>
                  </a:cubicBezTo>
                  <a:cubicBezTo>
                    <a:pt x="0" y="3914"/>
                    <a:pt x="3894" y="0"/>
                    <a:pt x="8697" y="0"/>
                  </a:cubicBezTo>
                  <a:cubicBezTo>
                    <a:pt x="13500" y="0"/>
                    <a:pt x="17393" y="3914"/>
                    <a:pt x="17393" y="8742"/>
                  </a:cubicBezTo>
                  <a:close/>
                </a:path>
              </a:pathLst>
            </a:custGeom>
            <a:grpFill/>
            <a:ln w="0" cap="flat">
              <a:noFill/>
              <a:prstDash val="solid"/>
              <a:miter/>
            </a:ln>
          </p:spPr>
          <p:txBody>
            <a:bodyPr rtlCol="0" anchor="ctr"/>
            <a:lstStyle/>
            <a:p>
              <a:endParaRPr lang="en-US"/>
            </a:p>
          </p:txBody>
        </p:sp>
      </p:grpSp>
      <p:sp>
        <p:nvSpPr>
          <p:cNvPr id="12" name="Freeform 11">
            <a:extLst>
              <a:ext uri="{FF2B5EF4-FFF2-40B4-BE49-F238E27FC236}">
                <a16:creationId xmlns:a16="http://schemas.microsoft.com/office/drawing/2014/main" id="{D8B18AF0-27C0-AC35-682E-7A1F2B641606}"/>
              </a:ext>
            </a:extLst>
          </p:cNvPr>
          <p:cNvSpPr>
            <a:spLocks/>
          </p:cNvSpPr>
          <p:nvPr/>
        </p:nvSpPr>
        <p:spPr>
          <a:xfrm>
            <a:off x="752078" y="2815919"/>
            <a:ext cx="2421024" cy="1396195"/>
          </a:xfrm>
          <a:custGeom>
            <a:avLst/>
            <a:gdLst>
              <a:gd name="connsiteX0" fmla="*/ 0 w 1195003"/>
              <a:gd name="connsiteY0" fmla="*/ 0 h 1069140"/>
              <a:gd name="connsiteX1" fmla="*/ 1195003 w 1195003"/>
              <a:gd name="connsiteY1" fmla="*/ 0 h 1069140"/>
              <a:gd name="connsiteX2" fmla="*/ 1195003 w 1195003"/>
              <a:gd name="connsiteY2" fmla="*/ 1069141 h 1069140"/>
              <a:gd name="connsiteX3" fmla="*/ 0 w 1195003"/>
              <a:gd name="connsiteY3" fmla="*/ 1069141 h 1069140"/>
            </a:gdLst>
            <a:ahLst/>
            <a:cxnLst>
              <a:cxn ang="0">
                <a:pos x="connsiteX0" y="connsiteY0"/>
              </a:cxn>
              <a:cxn ang="0">
                <a:pos x="connsiteX1" y="connsiteY1"/>
              </a:cxn>
              <a:cxn ang="0">
                <a:pos x="connsiteX2" y="connsiteY2"/>
              </a:cxn>
              <a:cxn ang="0">
                <a:pos x="connsiteX3" y="connsiteY3"/>
              </a:cxn>
            </a:cxnLst>
            <a:rect l="l" t="t" r="r" b="b"/>
            <a:pathLst>
              <a:path w="1195003" h="1069140">
                <a:moveTo>
                  <a:pt x="0" y="0"/>
                </a:moveTo>
                <a:lnTo>
                  <a:pt x="1195003" y="0"/>
                </a:lnTo>
                <a:lnTo>
                  <a:pt x="1195003" y="1069141"/>
                </a:lnTo>
                <a:lnTo>
                  <a:pt x="0" y="1069141"/>
                </a:lnTo>
                <a:close/>
              </a:path>
            </a:pathLst>
          </a:custGeom>
          <a:noFill/>
          <a:ln w="6350" cap="flat">
            <a:solidFill>
              <a:srgbClr val="4D4D57"/>
            </a:solidFill>
            <a:prstDash val="solid"/>
            <a:miter/>
          </a:ln>
        </p:spPr>
        <p:txBody>
          <a:bodyPr rtlCol="0" anchor="ctr"/>
          <a:lstStyle/>
          <a:p>
            <a:endParaRPr lang="en-US" dirty="0">
              <a:solidFill>
                <a:schemeClr val="tx2"/>
              </a:solidFill>
            </a:endParaRPr>
          </a:p>
        </p:txBody>
      </p:sp>
      <p:sp>
        <p:nvSpPr>
          <p:cNvPr id="19" name="Freeform 18">
            <a:extLst>
              <a:ext uri="{FF2B5EF4-FFF2-40B4-BE49-F238E27FC236}">
                <a16:creationId xmlns:a16="http://schemas.microsoft.com/office/drawing/2014/main" id="{0B151AD4-B77B-90D0-D639-5DC1DEB5B141}"/>
              </a:ext>
            </a:extLst>
          </p:cNvPr>
          <p:cNvSpPr>
            <a:spLocks/>
          </p:cNvSpPr>
          <p:nvPr/>
        </p:nvSpPr>
        <p:spPr>
          <a:xfrm>
            <a:off x="841974"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1" name="Freeform 20">
            <a:extLst>
              <a:ext uri="{FF2B5EF4-FFF2-40B4-BE49-F238E27FC236}">
                <a16:creationId xmlns:a16="http://schemas.microsoft.com/office/drawing/2014/main" id="{7014FAF4-3D32-139F-FC77-6174FD387603}"/>
              </a:ext>
            </a:extLst>
          </p:cNvPr>
          <p:cNvSpPr>
            <a:spLocks/>
          </p:cNvSpPr>
          <p:nvPr/>
        </p:nvSpPr>
        <p:spPr>
          <a:xfrm>
            <a:off x="1215192"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2" name="Freeform 21">
            <a:extLst>
              <a:ext uri="{FF2B5EF4-FFF2-40B4-BE49-F238E27FC236}">
                <a16:creationId xmlns:a16="http://schemas.microsoft.com/office/drawing/2014/main" id="{9B0EE0A3-8EDD-FA98-2E44-0764A97095B7}"/>
              </a:ext>
            </a:extLst>
          </p:cNvPr>
          <p:cNvSpPr>
            <a:spLocks/>
          </p:cNvSpPr>
          <p:nvPr/>
        </p:nvSpPr>
        <p:spPr>
          <a:xfrm>
            <a:off x="1588410"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3" name="Freeform 22">
            <a:extLst>
              <a:ext uri="{FF2B5EF4-FFF2-40B4-BE49-F238E27FC236}">
                <a16:creationId xmlns:a16="http://schemas.microsoft.com/office/drawing/2014/main" id="{DFA9841C-E833-386D-5CDC-7F39F2FA7A06}"/>
              </a:ext>
            </a:extLst>
          </p:cNvPr>
          <p:cNvSpPr>
            <a:spLocks/>
          </p:cNvSpPr>
          <p:nvPr/>
        </p:nvSpPr>
        <p:spPr>
          <a:xfrm>
            <a:off x="1961755"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4" name="Freeform 23">
            <a:extLst>
              <a:ext uri="{FF2B5EF4-FFF2-40B4-BE49-F238E27FC236}">
                <a16:creationId xmlns:a16="http://schemas.microsoft.com/office/drawing/2014/main" id="{E7CFF442-519B-084E-643E-DB291B3F1FB9}"/>
              </a:ext>
            </a:extLst>
          </p:cNvPr>
          <p:cNvSpPr>
            <a:spLocks/>
          </p:cNvSpPr>
          <p:nvPr/>
        </p:nvSpPr>
        <p:spPr>
          <a:xfrm>
            <a:off x="2334972"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5" name="Freeform 24">
            <a:extLst>
              <a:ext uri="{FF2B5EF4-FFF2-40B4-BE49-F238E27FC236}">
                <a16:creationId xmlns:a16="http://schemas.microsoft.com/office/drawing/2014/main" id="{6DCBE898-A285-2375-7B4E-23377040D261}"/>
              </a:ext>
            </a:extLst>
          </p:cNvPr>
          <p:cNvSpPr>
            <a:spLocks/>
          </p:cNvSpPr>
          <p:nvPr/>
        </p:nvSpPr>
        <p:spPr>
          <a:xfrm>
            <a:off x="2708188"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6" name="Freeform 25">
            <a:extLst>
              <a:ext uri="{FF2B5EF4-FFF2-40B4-BE49-F238E27FC236}">
                <a16:creationId xmlns:a16="http://schemas.microsoft.com/office/drawing/2014/main" id="{0B6B385A-6CBB-814F-23B6-0BBAF5755AC4}"/>
              </a:ext>
            </a:extLst>
          </p:cNvPr>
          <p:cNvSpPr>
            <a:spLocks/>
          </p:cNvSpPr>
          <p:nvPr/>
        </p:nvSpPr>
        <p:spPr>
          <a:xfrm>
            <a:off x="3081405" y="4212114"/>
            <a:ext cx="12859" cy="34831"/>
          </a:xfrm>
          <a:custGeom>
            <a:avLst/>
            <a:gdLst>
              <a:gd name="connsiteX0" fmla="*/ 0 w 6347"/>
              <a:gd name="connsiteY0" fmla="*/ 0 h 26672"/>
              <a:gd name="connsiteX1" fmla="*/ 0 w 6347"/>
              <a:gd name="connsiteY1" fmla="*/ 26673 h 26672"/>
            </a:gdLst>
            <a:ahLst/>
            <a:cxnLst>
              <a:cxn ang="0">
                <a:pos x="connsiteX0" y="connsiteY0"/>
              </a:cxn>
              <a:cxn ang="0">
                <a:pos x="connsiteX1" y="connsiteY1"/>
              </a:cxn>
            </a:cxnLst>
            <a:rect l="l" t="t" r="r" b="b"/>
            <a:pathLst>
              <a:path w="6347" h="26672">
                <a:moveTo>
                  <a:pt x="0" y="0"/>
                </a:moveTo>
                <a:lnTo>
                  <a:pt x="0" y="26673"/>
                </a:lnTo>
              </a:path>
            </a:pathLst>
          </a:custGeom>
          <a:ln w="6350" cap="flat">
            <a:solidFill>
              <a:schemeClr val="tx2"/>
            </a:solidFill>
            <a:prstDash val="solid"/>
            <a:miter/>
          </a:ln>
        </p:spPr>
        <p:txBody>
          <a:bodyPr rtlCol="0" anchor="ctr"/>
          <a:lstStyle/>
          <a:p>
            <a:endParaRPr lang="en-US">
              <a:solidFill>
                <a:srgbClr val="000000"/>
              </a:solidFill>
            </a:endParaRPr>
          </a:p>
        </p:txBody>
      </p:sp>
      <p:sp>
        <p:nvSpPr>
          <p:cNvPr id="27" name="Freeform 26">
            <a:extLst>
              <a:ext uri="{FF2B5EF4-FFF2-40B4-BE49-F238E27FC236}">
                <a16:creationId xmlns:a16="http://schemas.microsoft.com/office/drawing/2014/main" id="{C473D609-49AC-02B0-7744-40FE95596D3B}"/>
              </a:ext>
            </a:extLst>
          </p:cNvPr>
          <p:cNvSpPr>
            <a:spLocks/>
          </p:cNvSpPr>
          <p:nvPr/>
        </p:nvSpPr>
        <p:spPr>
          <a:xfrm>
            <a:off x="746290" y="3075492"/>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sp>
        <p:nvSpPr>
          <p:cNvPr id="28" name="Freeform 27">
            <a:extLst>
              <a:ext uri="{FF2B5EF4-FFF2-40B4-BE49-F238E27FC236}">
                <a16:creationId xmlns:a16="http://schemas.microsoft.com/office/drawing/2014/main" id="{38177462-1736-E7B1-9547-4D03924B6277}"/>
              </a:ext>
            </a:extLst>
          </p:cNvPr>
          <p:cNvSpPr>
            <a:spLocks/>
          </p:cNvSpPr>
          <p:nvPr/>
        </p:nvSpPr>
        <p:spPr>
          <a:xfrm>
            <a:off x="746290" y="3229819"/>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sp>
        <p:nvSpPr>
          <p:cNvPr id="29" name="Freeform 28">
            <a:extLst>
              <a:ext uri="{FF2B5EF4-FFF2-40B4-BE49-F238E27FC236}">
                <a16:creationId xmlns:a16="http://schemas.microsoft.com/office/drawing/2014/main" id="{B320C2C7-4EBA-7814-EE1E-4FD0F1471DC8}"/>
              </a:ext>
            </a:extLst>
          </p:cNvPr>
          <p:cNvSpPr>
            <a:spLocks/>
          </p:cNvSpPr>
          <p:nvPr/>
        </p:nvSpPr>
        <p:spPr>
          <a:xfrm>
            <a:off x="746290" y="3847628"/>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sp>
        <p:nvSpPr>
          <p:cNvPr id="30" name="Freeform 29">
            <a:extLst>
              <a:ext uri="{FF2B5EF4-FFF2-40B4-BE49-F238E27FC236}">
                <a16:creationId xmlns:a16="http://schemas.microsoft.com/office/drawing/2014/main" id="{34F6F627-66F4-0074-6933-6AA13B4E32FE}"/>
              </a:ext>
            </a:extLst>
          </p:cNvPr>
          <p:cNvSpPr>
            <a:spLocks/>
          </p:cNvSpPr>
          <p:nvPr/>
        </p:nvSpPr>
        <p:spPr>
          <a:xfrm>
            <a:off x="746290" y="4001956"/>
            <a:ext cx="2421024" cy="8333"/>
          </a:xfrm>
          <a:custGeom>
            <a:avLst/>
            <a:gdLst>
              <a:gd name="connsiteX0" fmla="*/ 0 w 1195003"/>
              <a:gd name="connsiteY0" fmla="*/ 0 h 6381"/>
              <a:gd name="connsiteX1" fmla="*/ 1195003 w 1195003"/>
              <a:gd name="connsiteY1" fmla="*/ 0 h 6381"/>
            </a:gdLst>
            <a:ahLst/>
            <a:cxnLst>
              <a:cxn ang="0">
                <a:pos x="connsiteX0" y="connsiteY0"/>
              </a:cxn>
              <a:cxn ang="0">
                <a:pos x="connsiteX1" y="connsiteY1"/>
              </a:cxn>
            </a:cxnLst>
            <a:rect l="l" t="t" r="r" b="b"/>
            <a:pathLst>
              <a:path w="1195003" h="6381">
                <a:moveTo>
                  <a:pt x="0" y="0"/>
                </a:moveTo>
                <a:lnTo>
                  <a:pt x="1195003" y="0"/>
                </a:lnTo>
              </a:path>
            </a:pathLst>
          </a:custGeom>
          <a:ln w="6350" cap="flat">
            <a:solidFill>
              <a:schemeClr val="tx2"/>
            </a:solidFill>
            <a:prstDash val="sysDot"/>
            <a:miter/>
          </a:ln>
        </p:spPr>
        <p:txBody>
          <a:bodyPr rtlCol="0" anchor="ctr"/>
          <a:lstStyle/>
          <a:p>
            <a:endParaRPr lang="en-US">
              <a:solidFill>
                <a:schemeClr val="tx2"/>
              </a:solidFill>
            </a:endParaRPr>
          </a:p>
        </p:txBody>
      </p:sp>
      <p:grpSp>
        <p:nvGrpSpPr>
          <p:cNvPr id="6" name="Group 5">
            <a:extLst>
              <a:ext uri="{FF2B5EF4-FFF2-40B4-BE49-F238E27FC236}">
                <a16:creationId xmlns:a16="http://schemas.microsoft.com/office/drawing/2014/main" id="{E05468CF-D0B7-2199-55FD-BE2C45949B2F}"/>
              </a:ext>
            </a:extLst>
          </p:cNvPr>
          <p:cNvGrpSpPr/>
          <p:nvPr/>
        </p:nvGrpSpPr>
        <p:grpSpPr>
          <a:xfrm>
            <a:off x="348383" y="2811294"/>
            <a:ext cx="403695" cy="1384033"/>
            <a:chOff x="326079" y="3209603"/>
            <a:chExt cx="320285" cy="1059827"/>
          </a:xfrm>
        </p:grpSpPr>
        <p:sp>
          <p:nvSpPr>
            <p:cNvPr id="13" name="Freeform 12">
              <a:extLst>
                <a:ext uri="{FF2B5EF4-FFF2-40B4-BE49-F238E27FC236}">
                  <a16:creationId xmlns:a16="http://schemas.microsoft.com/office/drawing/2014/main" id="{2083E6A6-EF79-91C8-D383-792544B3CA3B}"/>
                </a:ext>
              </a:extLst>
            </p:cNvPr>
            <p:cNvSpPr>
              <a:spLocks/>
            </p:cNvSpPr>
            <p:nvPr/>
          </p:nvSpPr>
          <p:spPr>
            <a:xfrm>
              <a:off x="603714" y="3252579"/>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4" name="Freeform 13">
              <a:extLst>
                <a:ext uri="{FF2B5EF4-FFF2-40B4-BE49-F238E27FC236}">
                  <a16:creationId xmlns:a16="http://schemas.microsoft.com/office/drawing/2014/main" id="{6D6AB792-CC19-BBF1-B4C0-A5E8138145D2}"/>
                </a:ext>
              </a:extLst>
            </p:cNvPr>
            <p:cNvSpPr>
              <a:spLocks/>
            </p:cNvSpPr>
            <p:nvPr/>
          </p:nvSpPr>
          <p:spPr>
            <a:xfrm>
              <a:off x="603714" y="3450391"/>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5" name="Freeform 14">
              <a:extLst>
                <a:ext uri="{FF2B5EF4-FFF2-40B4-BE49-F238E27FC236}">
                  <a16:creationId xmlns:a16="http://schemas.microsoft.com/office/drawing/2014/main" id="{B7693673-459A-6A76-210A-7A0553530982}"/>
                </a:ext>
              </a:extLst>
            </p:cNvPr>
            <p:cNvSpPr>
              <a:spLocks/>
            </p:cNvSpPr>
            <p:nvPr/>
          </p:nvSpPr>
          <p:spPr>
            <a:xfrm>
              <a:off x="603714" y="3648203"/>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6" name="Freeform 15">
              <a:extLst>
                <a:ext uri="{FF2B5EF4-FFF2-40B4-BE49-F238E27FC236}">
                  <a16:creationId xmlns:a16="http://schemas.microsoft.com/office/drawing/2014/main" id="{CD75EE1F-AD7F-0ADF-BD09-2D74F01350B5}"/>
                </a:ext>
              </a:extLst>
            </p:cNvPr>
            <p:cNvSpPr>
              <a:spLocks/>
            </p:cNvSpPr>
            <p:nvPr/>
          </p:nvSpPr>
          <p:spPr>
            <a:xfrm>
              <a:off x="603714" y="3846078"/>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7" name="Freeform 16">
              <a:extLst>
                <a:ext uri="{FF2B5EF4-FFF2-40B4-BE49-F238E27FC236}">
                  <a16:creationId xmlns:a16="http://schemas.microsoft.com/office/drawing/2014/main" id="{7EBE75BF-D1EE-6CC9-9CAD-FBD874BCD435}"/>
                </a:ext>
              </a:extLst>
            </p:cNvPr>
            <p:cNvSpPr>
              <a:spLocks/>
            </p:cNvSpPr>
            <p:nvPr/>
          </p:nvSpPr>
          <p:spPr>
            <a:xfrm>
              <a:off x="603714" y="4043890"/>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8" name="Freeform 17">
              <a:extLst>
                <a:ext uri="{FF2B5EF4-FFF2-40B4-BE49-F238E27FC236}">
                  <a16:creationId xmlns:a16="http://schemas.microsoft.com/office/drawing/2014/main" id="{E3F6138B-F2F0-1E35-C274-F4F2F2565ECC}"/>
                </a:ext>
              </a:extLst>
            </p:cNvPr>
            <p:cNvSpPr>
              <a:spLocks/>
            </p:cNvSpPr>
            <p:nvPr/>
          </p:nvSpPr>
          <p:spPr>
            <a:xfrm>
              <a:off x="603714" y="4241702"/>
              <a:ext cx="42650" cy="6381"/>
            </a:xfrm>
            <a:custGeom>
              <a:avLst/>
              <a:gdLst>
                <a:gd name="connsiteX0" fmla="*/ 26534 w 26534"/>
                <a:gd name="connsiteY0" fmla="*/ 0 h 6381"/>
                <a:gd name="connsiteX1" fmla="*/ 0 w 26534"/>
                <a:gd name="connsiteY1" fmla="*/ 0 h 6381"/>
              </a:gdLst>
              <a:ahLst/>
              <a:cxnLst>
                <a:cxn ang="0">
                  <a:pos x="connsiteX0" y="connsiteY0"/>
                </a:cxn>
                <a:cxn ang="0">
                  <a:pos x="connsiteX1" y="connsiteY1"/>
                </a:cxn>
              </a:cxnLst>
              <a:rect l="l" t="t" r="r" b="b"/>
              <a:pathLst>
                <a:path w="26534" h="6381">
                  <a:moveTo>
                    <a:pt x="26534" y="0"/>
                  </a:moveTo>
                  <a:lnTo>
                    <a:pt x="0" y="0"/>
                  </a:lnTo>
                </a:path>
              </a:pathLst>
            </a:custGeom>
            <a:ln w="6350" cap="flat">
              <a:solidFill>
                <a:schemeClr val="tx2"/>
              </a:solidFill>
              <a:prstDash val="solid"/>
              <a:miter/>
            </a:ln>
          </p:spPr>
          <p:txBody>
            <a:bodyPr rtlCol="0" anchor="ctr"/>
            <a:lstStyle/>
            <a:p>
              <a:endParaRPr lang="en-US">
                <a:solidFill>
                  <a:sysClr val="windowText" lastClr="000000"/>
                </a:solidFill>
              </a:endParaRPr>
            </a:p>
          </p:txBody>
        </p:sp>
        <p:sp>
          <p:nvSpPr>
            <p:cNvPr id="10" name="TextBox 9">
              <a:extLst>
                <a:ext uri="{FF2B5EF4-FFF2-40B4-BE49-F238E27FC236}">
                  <a16:creationId xmlns:a16="http://schemas.microsoft.com/office/drawing/2014/main" id="{B93E452E-73B2-D9FF-7381-6401C2B37402}"/>
                </a:ext>
              </a:extLst>
            </p:cNvPr>
            <p:cNvSpPr txBox="1">
              <a:spLocks/>
            </p:cNvSpPr>
            <p:nvPr/>
          </p:nvSpPr>
          <p:spPr>
            <a:xfrm>
              <a:off x="467563" y="3209603"/>
              <a:ext cx="99963" cy="70704"/>
            </a:xfrm>
            <a:prstGeom prst="rect">
              <a:avLst/>
            </a:prstGeom>
            <a:noFill/>
          </p:spPr>
          <p:txBody>
            <a:bodyPr wrap="none" lIns="0" tIns="0" rIns="0" bIns="0" rtlCol="0">
              <a:spAutoFit/>
            </a:bodyPr>
            <a:lstStyle/>
            <a:p>
              <a:pPr algn="r"/>
              <a:r>
                <a:rPr lang="en-US" sz="600" spc="-10">
                  <a:solidFill>
                    <a:sysClr val="windowText" lastClr="000000"/>
                  </a:solidFill>
                </a:rPr>
                <a:t>154</a:t>
              </a:r>
            </a:p>
          </p:txBody>
        </p:sp>
        <p:sp>
          <p:nvSpPr>
            <p:cNvPr id="1082" name="TextBox 1081">
              <a:extLst>
                <a:ext uri="{FF2B5EF4-FFF2-40B4-BE49-F238E27FC236}">
                  <a16:creationId xmlns:a16="http://schemas.microsoft.com/office/drawing/2014/main" id="{665ACE4B-958D-5971-2D01-9B55F2E30AED}"/>
                </a:ext>
              </a:extLst>
            </p:cNvPr>
            <p:cNvSpPr txBox="1">
              <a:spLocks/>
            </p:cNvSpPr>
            <p:nvPr/>
          </p:nvSpPr>
          <p:spPr>
            <a:xfrm>
              <a:off x="467563" y="3407428"/>
              <a:ext cx="99963" cy="70704"/>
            </a:xfrm>
            <a:prstGeom prst="rect">
              <a:avLst/>
            </a:prstGeom>
            <a:noFill/>
          </p:spPr>
          <p:txBody>
            <a:bodyPr wrap="none" lIns="0" tIns="0" rIns="0" bIns="0" rtlCol="0">
              <a:spAutoFit/>
            </a:bodyPr>
            <a:lstStyle/>
            <a:p>
              <a:pPr algn="r"/>
              <a:r>
                <a:rPr lang="en-US" sz="600" spc="-10">
                  <a:solidFill>
                    <a:sysClr val="windowText" lastClr="000000"/>
                  </a:solidFill>
                </a:rPr>
                <a:t>152</a:t>
              </a:r>
            </a:p>
          </p:txBody>
        </p:sp>
        <p:sp>
          <p:nvSpPr>
            <p:cNvPr id="1083" name="TextBox 1082">
              <a:extLst>
                <a:ext uri="{FF2B5EF4-FFF2-40B4-BE49-F238E27FC236}">
                  <a16:creationId xmlns:a16="http://schemas.microsoft.com/office/drawing/2014/main" id="{8BA29AB0-D621-8C82-6335-A952741EC5F8}"/>
                </a:ext>
              </a:extLst>
            </p:cNvPr>
            <p:cNvSpPr txBox="1">
              <a:spLocks/>
            </p:cNvSpPr>
            <p:nvPr/>
          </p:nvSpPr>
          <p:spPr>
            <a:xfrm>
              <a:off x="467563" y="3605253"/>
              <a:ext cx="99963" cy="70704"/>
            </a:xfrm>
            <a:prstGeom prst="rect">
              <a:avLst/>
            </a:prstGeom>
            <a:noFill/>
          </p:spPr>
          <p:txBody>
            <a:bodyPr wrap="none" lIns="0" tIns="0" rIns="0" bIns="0" rtlCol="0">
              <a:spAutoFit/>
            </a:bodyPr>
            <a:lstStyle/>
            <a:p>
              <a:pPr algn="r"/>
              <a:r>
                <a:rPr lang="en-US" sz="600" spc="-10">
                  <a:solidFill>
                    <a:sysClr val="windowText" lastClr="000000"/>
                  </a:solidFill>
                </a:rPr>
                <a:t>150</a:t>
              </a:r>
            </a:p>
          </p:txBody>
        </p:sp>
        <p:sp>
          <p:nvSpPr>
            <p:cNvPr id="1084" name="TextBox 1083">
              <a:extLst>
                <a:ext uri="{FF2B5EF4-FFF2-40B4-BE49-F238E27FC236}">
                  <a16:creationId xmlns:a16="http://schemas.microsoft.com/office/drawing/2014/main" id="{7706D673-B6DA-7950-EBE1-3035A69AFC03}"/>
                </a:ext>
              </a:extLst>
            </p:cNvPr>
            <p:cNvSpPr txBox="1">
              <a:spLocks/>
            </p:cNvSpPr>
            <p:nvPr/>
          </p:nvSpPr>
          <p:spPr>
            <a:xfrm>
              <a:off x="467563" y="3803078"/>
              <a:ext cx="99963" cy="70704"/>
            </a:xfrm>
            <a:prstGeom prst="rect">
              <a:avLst/>
            </a:prstGeom>
            <a:noFill/>
          </p:spPr>
          <p:txBody>
            <a:bodyPr wrap="none" lIns="0" tIns="0" rIns="0" bIns="0" rtlCol="0">
              <a:spAutoFit/>
            </a:bodyPr>
            <a:lstStyle/>
            <a:p>
              <a:pPr algn="r"/>
              <a:r>
                <a:rPr lang="en-US" sz="600" spc="-10" dirty="0">
                  <a:solidFill>
                    <a:sysClr val="windowText" lastClr="000000"/>
                  </a:solidFill>
                </a:rPr>
                <a:t>148</a:t>
              </a:r>
            </a:p>
          </p:txBody>
        </p:sp>
        <p:sp>
          <p:nvSpPr>
            <p:cNvPr id="1085" name="TextBox 1084">
              <a:extLst>
                <a:ext uri="{FF2B5EF4-FFF2-40B4-BE49-F238E27FC236}">
                  <a16:creationId xmlns:a16="http://schemas.microsoft.com/office/drawing/2014/main" id="{7D7314EA-659C-424C-4D66-BE00D37DBA51}"/>
                </a:ext>
              </a:extLst>
            </p:cNvPr>
            <p:cNvSpPr txBox="1">
              <a:spLocks/>
            </p:cNvSpPr>
            <p:nvPr/>
          </p:nvSpPr>
          <p:spPr>
            <a:xfrm>
              <a:off x="467563" y="4000903"/>
              <a:ext cx="99963" cy="70704"/>
            </a:xfrm>
            <a:prstGeom prst="rect">
              <a:avLst/>
            </a:prstGeom>
            <a:noFill/>
          </p:spPr>
          <p:txBody>
            <a:bodyPr wrap="none" lIns="0" tIns="0" rIns="0" bIns="0" rtlCol="0">
              <a:spAutoFit/>
            </a:bodyPr>
            <a:lstStyle/>
            <a:p>
              <a:pPr algn="r"/>
              <a:r>
                <a:rPr lang="en-US" sz="600" spc="-10">
                  <a:solidFill>
                    <a:sysClr val="windowText" lastClr="000000"/>
                  </a:solidFill>
                </a:rPr>
                <a:t>146</a:t>
              </a:r>
            </a:p>
          </p:txBody>
        </p:sp>
        <p:sp>
          <p:nvSpPr>
            <p:cNvPr id="1086" name="TextBox 1085">
              <a:extLst>
                <a:ext uri="{FF2B5EF4-FFF2-40B4-BE49-F238E27FC236}">
                  <a16:creationId xmlns:a16="http://schemas.microsoft.com/office/drawing/2014/main" id="{1BF1D9FD-8904-BF2E-2C33-6AED8A039EC2}"/>
                </a:ext>
              </a:extLst>
            </p:cNvPr>
            <p:cNvSpPr txBox="1">
              <a:spLocks/>
            </p:cNvSpPr>
            <p:nvPr/>
          </p:nvSpPr>
          <p:spPr>
            <a:xfrm>
              <a:off x="467563" y="4198726"/>
              <a:ext cx="99963" cy="70704"/>
            </a:xfrm>
            <a:prstGeom prst="rect">
              <a:avLst/>
            </a:prstGeom>
            <a:noFill/>
          </p:spPr>
          <p:txBody>
            <a:bodyPr wrap="none" lIns="0" tIns="0" rIns="0" bIns="0" rtlCol="0">
              <a:spAutoFit/>
            </a:bodyPr>
            <a:lstStyle/>
            <a:p>
              <a:pPr algn="r"/>
              <a:r>
                <a:rPr lang="en-US" sz="600" spc="-10">
                  <a:solidFill>
                    <a:sysClr val="windowText" lastClr="000000"/>
                  </a:solidFill>
                </a:rPr>
                <a:t>144</a:t>
              </a:r>
            </a:p>
          </p:txBody>
        </p:sp>
        <p:sp>
          <p:nvSpPr>
            <p:cNvPr id="1087" name="TextBox 1086">
              <a:extLst>
                <a:ext uri="{FF2B5EF4-FFF2-40B4-BE49-F238E27FC236}">
                  <a16:creationId xmlns:a16="http://schemas.microsoft.com/office/drawing/2014/main" id="{D016C448-4EB2-47CE-0B25-B9D252C8629D}"/>
                </a:ext>
              </a:extLst>
            </p:cNvPr>
            <p:cNvSpPr txBox="1">
              <a:spLocks/>
            </p:cNvSpPr>
            <p:nvPr/>
          </p:nvSpPr>
          <p:spPr>
            <a:xfrm rot="16200000">
              <a:off x="67247" y="3711088"/>
              <a:ext cx="590920" cy="73256"/>
            </a:xfrm>
            <a:prstGeom prst="rect">
              <a:avLst/>
            </a:prstGeom>
            <a:noFill/>
          </p:spPr>
          <p:txBody>
            <a:bodyPr wrap="none" lIns="0" tIns="0" rIns="0" bIns="0" rtlCol="0">
              <a:spAutoFit/>
            </a:bodyPr>
            <a:lstStyle/>
            <a:p>
              <a:pPr algn="ctr"/>
              <a:r>
                <a:rPr lang="en-US" sz="600" spc="-10" dirty="0">
                  <a:solidFill>
                    <a:sysClr val="windowText" lastClr="000000"/>
                  </a:solidFill>
                </a:rPr>
                <a:t>Molecular weight (</a:t>
              </a:r>
              <a:r>
                <a:rPr lang="en-US" sz="600" spc="-10" dirty="0" err="1">
                  <a:solidFill>
                    <a:sysClr val="windowText" lastClr="000000"/>
                  </a:solidFill>
                </a:rPr>
                <a:t>kDA</a:t>
              </a:r>
              <a:r>
                <a:rPr lang="en-US" sz="600" spc="-10" dirty="0">
                  <a:solidFill>
                    <a:sysClr val="windowText" lastClr="000000"/>
                  </a:solidFill>
                </a:rPr>
                <a:t>)</a:t>
              </a:r>
            </a:p>
          </p:txBody>
        </p:sp>
      </p:grpSp>
      <p:sp>
        <p:nvSpPr>
          <p:cNvPr id="1088" name="TextBox 1087">
            <a:extLst>
              <a:ext uri="{FF2B5EF4-FFF2-40B4-BE49-F238E27FC236}">
                <a16:creationId xmlns:a16="http://schemas.microsoft.com/office/drawing/2014/main" id="{BC3C1E6D-D275-4AFF-1207-72BA9A9A0AC2}"/>
              </a:ext>
            </a:extLst>
          </p:cNvPr>
          <p:cNvSpPr txBox="1">
            <a:spLocks/>
          </p:cNvSpPr>
          <p:nvPr/>
        </p:nvSpPr>
        <p:spPr>
          <a:xfrm>
            <a:off x="827404" y="4260278"/>
            <a:ext cx="41998" cy="92333"/>
          </a:xfrm>
          <a:prstGeom prst="rect">
            <a:avLst/>
          </a:prstGeom>
          <a:noFill/>
        </p:spPr>
        <p:txBody>
          <a:bodyPr wrap="none" lIns="0" tIns="0" rIns="0" bIns="0" rtlCol="0">
            <a:spAutoFit/>
          </a:bodyPr>
          <a:lstStyle/>
          <a:p>
            <a:pPr algn="ctr"/>
            <a:r>
              <a:rPr lang="en-US" sz="600" spc="-10">
                <a:solidFill>
                  <a:srgbClr val="000000"/>
                </a:solidFill>
              </a:rPr>
              <a:t>1</a:t>
            </a:r>
          </a:p>
        </p:txBody>
      </p:sp>
      <p:sp>
        <p:nvSpPr>
          <p:cNvPr id="1089" name="TextBox 1088">
            <a:extLst>
              <a:ext uri="{FF2B5EF4-FFF2-40B4-BE49-F238E27FC236}">
                <a16:creationId xmlns:a16="http://schemas.microsoft.com/office/drawing/2014/main" id="{244EFF29-2355-116D-490D-4D3D5DFFF33B}"/>
              </a:ext>
            </a:extLst>
          </p:cNvPr>
          <p:cNvSpPr txBox="1">
            <a:spLocks/>
          </p:cNvSpPr>
          <p:nvPr/>
        </p:nvSpPr>
        <p:spPr>
          <a:xfrm>
            <a:off x="1200642" y="4260278"/>
            <a:ext cx="41998" cy="92333"/>
          </a:xfrm>
          <a:prstGeom prst="rect">
            <a:avLst/>
          </a:prstGeom>
          <a:noFill/>
        </p:spPr>
        <p:txBody>
          <a:bodyPr wrap="none" lIns="0" tIns="0" rIns="0" bIns="0" rtlCol="0">
            <a:spAutoFit/>
          </a:bodyPr>
          <a:lstStyle/>
          <a:p>
            <a:pPr algn="ctr"/>
            <a:r>
              <a:rPr lang="en-US" sz="600" spc="-10">
                <a:solidFill>
                  <a:srgbClr val="000000"/>
                </a:solidFill>
              </a:rPr>
              <a:t>2</a:t>
            </a:r>
          </a:p>
        </p:txBody>
      </p:sp>
      <p:sp>
        <p:nvSpPr>
          <p:cNvPr id="1091" name="TextBox 1090">
            <a:extLst>
              <a:ext uri="{FF2B5EF4-FFF2-40B4-BE49-F238E27FC236}">
                <a16:creationId xmlns:a16="http://schemas.microsoft.com/office/drawing/2014/main" id="{CC3FED30-62CD-DF21-4879-554E03B5A56D}"/>
              </a:ext>
            </a:extLst>
          </p:cNvPr>
          <p:cNvSpPr txBox="1">
            <a:spLocks/>
          </p:cNvSpPr>
          <p:nvPr/>
        </p:nvSpPr>
        <p:spPr>
          <a:xfrm>
            <a:off x="1573880" y="4260278"/>
            <a:ext cx="41998" cy="92333"/>
          </a:xfrm>
          <a:prstGeom prst="rect">
            <a:avLst/>
          </a:prstGeom>
          <a:noFill/>
        </p:spPr>
        <p:txBody>
          <a:bodyPr wrap="none" lIns="0" tIns="0" rIns="0" bIns="0" rtlCol="0">
            <a:spAutoFit/>
          </a:bodyPr>
          <a:lstStyle/>
          <a:p>
            <a:pPr algn="ctr"/>
            <a:r>
              <a:rPr lang="en-US" sz="600" spc="-10">
                <a:solidFill>
                  <a:srgbClr val="000000"/>
                </a:solidFill>
              </a:rPr>
              <a:t>3</a:t>
            </a:r>
          </a:p>
        </p:txBody>
      </p:sp>
      <p:sp>
        <p:nvSpPr>
          <p:cNvPr id="1092" name="TextBox 1091">
            <a:extLst>
              <a:ext uri="{FF2B5EF4-FFF2-40B4-BE49-F238E27FC236}">
                <a16:creationId xmlns:a16="http://schemas.microsoft.com/office/drawing/2014/main" id="{4BB887A1-5039-B801-F7DD-BBBB07358622}"/>
              </a:ext>
            </a:extLst>
          </p:cNvPr>
          <p:cNvSpPr txBox="1">
            <a:spLocks/>
          </p:cNvSpPr>
          <p:nvPr/>
        </p:nvSpPr>
        <p:spPr>
          <a:xfrm>
            <a:off x="1947118" y="4260278"/>
            <a:ext cx="41998" cy="92333"/>
          </a:xfrm>
          <a:prstGeom prst="rect">
            <a:avLst/>
          </a:prstGeom>
          <a:noFill/>
        </p:spPr>
        <p:txBody>
          <a:bodyPr wrap="none" lIns="0" tIns="0" rIns="0" bIns="0" rtlCol="0">
            <a:spAutoFit/>
          </a:bodyPr>
          <a:lstStyle/>
          <a:p>
            <a:pPr algn="ctr"/>
            <a:r>
              <a:rPr lang="en-US" sz="600" spc="-10" dirty="0">
                <a:solidFill>
                  <a:srgbClr val="000000"/>
                </a:solidFill>
              </a:rPr>
              <a:t>4</a:t>
            </a:r>
          </a:p>
        </p:txBody>
      </p:sp>
      <p:sp>
        <p:nvSpPr>
          <p:cNvPr id="1093" name="TextBox 1092">
            <a:extLst>
              <a:ext uri="{FF2B5EF4-FFF2-40B4-BE49-F238E27FC236}">
                <a16:creationId xmlns:a16="http://schemas.microsoft.com/office/drawing/2014/main" id="{1F345B9B-7293-F58A-E059-115FDAE25EE9}"/>
              </a:ext>
            </a:extLst>
          </p:cNvPr>
          <p:cNvSpPr txBox="1">
            <a:spLocks/>
          </p:cNvSpPr>
          <p:nvPr/>
        </p:nvSpPr>
        <p:spPr>
          <a:xfrm>
            <a:off x="2320356" y="4260278"/>
            <a:ext cx="41998" cy="92333"/>
          </a:xfrm>
          <a:prstGeom prst="rect">
            <a:avLst/>
          </a:prstGeom>
          <a:noFill/>
        </p:spPr>
        <p:txBody>
          <a:bodyPr wrap="none" lIns="0" tIns="0" rIns="0" bIns="0" rtlCol="0">
            <a:spAutoFit/>
          </a:bodyPr>
          <a:lstStyle/>
          <a:p>
            <a:pPr algn="ctr"/>
            <a:r>
              <a:rPr lang="en-US" sz="600" spc="-10">
                <a:solidFill>
                  <a:srgbClr val="000000"/>
                </a:solidFill>
              </a:rPr>
              <a:t>5</a:t>
            </a:r>
          </a:p>
        </p:txBody>
      </p:sp>
      <p:sp>
        <p:nvSpPr>
          <p:cNvPr id="1094" name="TextBox 1093">
            <a:extLst>
              <a:ext uri="{FF2B5EF4-FFF2-40B4-BE49-F238E27FC236}">
                <a16:creationId xmlns:a16="http://schemas.microsoft.com/office/drawing/2014/main" id="{25D15CD2-7441-F158-FA07-62A816A5C69C}"/>
              </a:ext>
            </a:extLst>
          </p:cNvPr>
          <p:cNvSpPr txBox="1">
            <a:spLocks/>
          </p:cNvSpPr>
          <p:nvPr/>
        </p:nvSpPr>
        <p:spPr>
          <a:xfrm>
            <a:off x="2693594" y="4260278"/>
            <a:ext cx="41998" cy="92333"/>
          </a:xfrm>
          <a:prstGeom prst="rect">
            <a:avLst/>
          </a:prstGeom>
          <a:noFill/>
        </p:spPr>
        <p:txBody>
          <a:bodyPr wrap="none" lIns="0" tIns="0" rIns="0" bIns="0" rtlCol="0">
            <a:spAutoFit/>
          </a:bodyPr>
          <a:lstStyle/>
          <a:p>
            <a:pPr algn="ctr"/>
            <a:r>
              <a:rPr lang="en-US" sz="600" spc="-10">
                <a:solidFill>
                  <a:srgbClr val="000000"/>
                </a:solidFill>
              </a:rPr>
              <a:t>6</a:t>
            </a:r>
          </a:p>
        </p:txBody>
      </p:sp>
      <p:sp>
        <p:nvSpPr>
          <p:cNvPr id="1095" name="TextBox 1094">
            <a:extLst>
              <a:ext uri="{FF2B5EF4-FFF2-40B4-BE49-F238E27FC236}">
                <a16:creationId xmlns:a16="http://schemas.microsoft.com/office/drawing/2014/main" id="{D029314F-3671-7996-B145-A28318FE2193}"/>
              </a:ext>
            </a:extLst>
          </p:cNvPr>
          <p:cNvSpPr txBox="1">
            <a:spLocks/>
          </p:cNvSpPr>
          <p:nvPr/>
        </p:nvSpPr>
        <p:spPr>
          <a:xfrm>
            <a:off x="3066835" y="4260278"/>
            <a:ext cx="41998" cy="92333"/>
          </a:xfrm>
          <a:prstGeom prst="rect">
            <a:avLst/>
          </a:prstGeom>
          <a:noFill/>
        </p:spPr>
        <p:txBody>
          <a:bodyPr wrap="none" lIns="0" tIns="0" rIns="0" bIns="0" rtlCol="0">
            <a:spAutoFit/>
          </a:bodyPr>
          <a:lstStyle/>
          <a:p>
            <a:pPr algn="ctr"/>
            <a:r>
              <a:rPr lang="en-US" sz="600" spc="-10">
                <a:solidFill>
                  <a:srgbClr val="000000"/>
                </a:solidFill>
              </a:rPr>
              <a:t>7</a:t>
            </a:r>
          </a:p>
        </p:txBody>
      </p:sp>
      <p:sp>
        <p:nvSpPr>
          <p:cNvPr id="1098" name="TextBox 1097">
            <a:extLst>
              <a:ext uri="{FF2B5EF4-FFF2-40B4-BE49-F238E27FC236}">
                <a16:creationId xmlns:a16="http://schemas.microsoft.com/office/drawing/2014/main" id="{BF5B8D0A-2691-7140-9984-AF031DAFDE80}"/>
              </a:ext>
            </a:extLst>
          </p:cNvPr>
          <p:cNvSpPr txBox="1">
            <a:spLocks/>
          </p:cNvSpPr>
          <p:nvPr/>
        </p:nvSpPr>
        <p:spPr>
          <a:xfrm>
            <a:off x="1867209" y="4374191"/>
            <a:ext cx="190758" cy="92333"/>
          </a:xfrm>
          <a:prstGeom prst="rect">
            <a:avLst/>
          </a:prstGeom>
          <a:noFill/>
        </p:spPr>
        <p:txBody>
          <a:bodyPr wrap="none" lIns="0" tIns="0" rIns="0" bIns="0" rtlCol="0">
            <a:spAutoFit/>
          </a:bodyPr>
          <a:lstStyle/>
          <a:p>
            <a:pPr algn="ctr"/>
            <a:r>
              <a:rPr lang="en-US" sz="600" spc="-10" dirty="0">
                <a:solidFill>
                  <a:sysClr val="windowText" lastClr="000000"/>
                </a:solidFill>
              </a:rPr>
              <a:t>Batch</a:t>
            </a:r>
          </a:p>
        </p:txBody>
      </p:sp>
      <p:sp>
        <p:nvSpPr>
          <p:cNvPr id="8" name="Rectangle 7">
            <a:extLst>
              <a:ext uri="{FF2B5EF4-FFF2-40B4-BE49-F238E27FC236}">
                <a16:creationId xmlns:a16="http://schemas.microsoft.com/office/drawing/2014/main" id="{5C917510-3A1A-5225-C0CF-7FF2C83DFC6C}"/>
              </a:ext>
            </a:extLst>
          </p:cNvPr>
          <p:cNvSpPr>
            <a:spLocks/>
          </p:cNvSpPr>
          <p:nvPr/>
        </p:nvSpPr>
        <p:spPr>
          <a:xfrm>
            <a:off x="2086645" y="1425798"/>
            <a:ext cx="1467303" cy="769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defTabSz="685800"/>
            <a:r>
              <a:rPr lang="en-GB" sz="1000" dirty="0">
                <a:solidFill>
                  <a:schemeClr val="tx2"/>
                </a:solidFill>
                <a:latin typeface="Arial" panose="020B0604020202020204"/>
              </a:rPr>
              <a:t>The living organism</a:t>
            </a:r>
            <a:br>
              <a:rPr lang="en-GB" sz="1000" dirty="0">
                <a:solidFill>
                  <a:schemeClr val="tx2"/>
                </a:solidFill>
                <a:latin typeface="Arial" panose="020B0604020202020204"/>
              </a:rPr>
            </a:br>
            <a:r>
              <a:rPr lang="en-GB" sz="1000" dirty="0">
                <a:solidFill>
                  <a:schemeClr val="tx2"/>
                </a:solidFill>
                <a:latin typeface="Arial" panose="020B0604020202020204"/>
              </a:rPr>
              <a:t>(biologic system) has built-in </a:t>
            </a:r>
            <a:r>
              <a:rPr lang="en-GB" sz="1000" b="1" dirty="0">
                <a:solidFill>
                  <a:schemeClr val="tx2"/>
                </a:solidFill>
                <a:latin typeface="Arial" panose="020B0604020202020204"/>
              </a:rPr>
              <a:t>inherent</a:t>
            </a:r>
            <a:r>
              <a:rPr lang="en-GB" sz="1000" dirty="0">
                <a:solidFill>
                  <a:schemeClr val="tx2"/>
                </a:solidFill>
                <a:latin typeface="Arial" panose="020B0604020202020204"/>
              </a:rPr>
              <a:t> </a:t>
            </a:r>
            <a:r>
              <a:rPr lang="en-GB" sz="1000" b="1" dirty="0">
                <a:solidFill>
                  <a:schemeClr val="tx2"/>
                </a:solidFill>
                <a:latin typeface="Arial" panose="020B0604020202020204"/>
              </a:rPr>
              <a:t>natural variability (microheterogeneity)</a:t>
            </a:r>
            <a:r>
              <a:rPr lang="en-GB" sz="1000" baseline="30000" dirty="0">
                <a:solidFill>
                  <a:schemeClr val="tx2"/>
                </a:solidFill>
                <a:latin typeface="Arial" panose="020B0604020202020204"/>
              </a:rPr>
              <a:t>1</a:t>
            </a:r>
            <a:endParaRPr lang="en-US" sz="1000" baseline="30000" dirty="0">
              <a:solidFill>
                <a:schemeClr val="tx2"/>
              </a:solidFill>
              <a:latin typeface="Arial" panose="020B0604020202020204"/>
            </a:endParaRPr>
          </a:p>
        </p:txBody>
      </p:sp>
      <p:sp>
        <p:nvSpPr>
          <p:cNvPr id="1042" name="TextBox 1041">
            <a:extLst>
              <a:ext uri="{FF2B5EF4-FFF2-40B4-BE49-F238E27FC236}">
                <a16:creationId xmlns:a16="http://schemas.microsoft.com/office/drawing/2014/main" id="{AF371E73-ABC1-CA95-20A0-A2CF0E7E9ABB}"/>
              </a:ext>
            </a:extLst>
          </p:cNvPr>
          <p:cNvSpPr txBox="1"/>
          <p:nvPr/>
        </p:nvSpPr>
        <p:spPr>
          <a:xfrm>
            <a:off x="3257665" y="3109759"/>
            <a:ext cx="1032614" cy="954107"/>
          </a:xfrm>
          <a:prstGeom prst="rect">
            <a:avLst/>
          </a:prstGeom>
          <a:noFill/>
        </p:spPr>
        <p:txBody>
          <a:bodyPr wrap="square">
            <a:spAutoFit/>
          </a:bodyPr>
          <a:lstStyle/>
          <a:p>
            <a:r>
              <a:rPr lang="en-US" sz="800" dirty="0">
                <a:solidFill>
                  <a:schemeClr val="accent1"/>
                </a:solidFill>
              </a:rPr>
              <a:t>The within-batch standard deviation ranged from</a:t>
            </a:r>
          </a:p>
          <a:p>
            <a:r>
              <a:rPr lang="en-US" sz="800" dirty="0">
                <a:solidFill>
                  <a:schemeClr val="accent1"/>
                </a:solidFill>
              </a:rPr>
              <a:t>0.294 to 2.07 (</a:t>
            </a:r>
            <a:r>
              <a:rPr lang="en-US" sz="800" b="1" dirty="0">
                <a:solidFill>
                  <a:schemeClr val="accent1"/>
                </a:solidFill>
              </a:rPr>
              <a:t>coefficient of variation from 0.26% to 1.38%)</a:t>
            </a:r>
          </a:p>
        </p:txBody>
      </p:sp>
      <p:sp>
        <p:nvSpPr>
          <p:cNvPr id="1114" name="Freeform 1113">
            <a:extLst>
              <a:ext uri="{FF2B5EF4-FFF2-40B4-BE49-F238E27FC236}">
                <a16:creationId xmlns:a16="http://schemas.microsoft.com/office/drawing/2014/main" id="{26DC7FEB-112F-178A-F435-AB4FD5A228F4}"/>
              </a:ext>
            </a:extLst>
          </p:cNvPr>
          <p:cNvSpPr/>
          <p:nvPr/>
        </p:nvSpPr>
        <p:spPr>
          <a:xfrm>
            <a:off x="5366786" y="3856618"/>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5" name="Freeform 1114">
            <a:extLst>
              <a:ext uri="{FF2B5EF4-FFF2-40B4-BE49-F238E27FC236}">
                <a16:creationId xmlns:a16="http://schemas.microsoft.com/office/drawing/2014/main" id="{FA90C1C0-AA3F-807E-E7F7-24B31D8EE315}"/>
              </a:ext>
            </a:extLst>
          </p:cNvPr>
          <p:cNvSpPr/>
          <p:nvPr/>
        </p:nvSpPr>
        <p:spPr>
          <a:xfrm>
            <a:off x="5408989" y="399326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6" name="Freeform 1115">
            <a:extLst>
              <a:ext uri="{FF2B5EF4-FFF2-40B4-BE49-F238E27FC236}">
                <a16:creationId xmlns:a16="http://schemas.microsoft.com/office/drawing/2014/main" id="{BDE73575-B5D9-6BBC-CA65-6F3A743307EE}"/>
              </a:ext>
            </a:extLst>
          </p:cNvPr>
          <p:cNvSpPr/>
          <p:nvPr/>
        </p:nvSpPr>
        <p:spPr>
          <a:xfrm>
            <a:off x="5541418" y="378302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7" name="Freeform 1116">
            <a:extLst>
              <a:ext uri="{FF2B5EF4-FFF2-40B4-BE49-F238E27FC236}">
                <a16:creationId xmlns:a16="http://schemas.microsoft.com/office/drawing/2014/main" id="{80F0AC96-C4DB-47AB-6391-EBC145F1E296}"/>
              </a:ext>
            </a:extLst>
          </p:cNvPr>
          <p:cNvSpPr/>
          <p:nvPr/>
        </p:nvSpPr>
        <p:spPr>
          <a:xfrm>
            <a:off x="5716798" y="378302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8" name="Freeform 1117">
            <a:extLst>
              <a:ext uri="{FF2B5EF4-FFF2-40B4-BE49-F238E27FC236}">
                <a16:creationId xmlns:a16="http://schemas.microsoft.com/office/drawing/2014/main" id="{1603019B-33C1-107A-B68A-90A9F2AFFC02}"/>
              </a:ext>
            </a:extLst>
          </p:cNvPr>
          <p:cNvSpPr/>
          <p:nvPr/>
        </p:nvSpPr>
        <p:spPr>
          <a:xfrm>
            <a:off x="5716798"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19" name="Freeform 1118">
            <a:extLst>
              <a:ext uri="{FF2B5EF4-FFF2-40B4-BE49-F238E27FC236}">
                <a16:creationId xmlns:a16="http://schemas.microsoft.com/office/drawing/2014/main" id="{44FA239A-5D4E-4171-2392-18BAFC5DDCE0}"/>
              </a:ext>
            </a:extLst>
          </p:cNvPr>
          <p:cNvSpPr/>
          <p:nvPr/>
        </p:nvSpPr>
        <p:spPr>
          <a:xfrm>
            <a:off x="5847411"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0" name="Freeform 1119">
            <a:extLst>
              <a:ext uri="{FF2B5EF4-FFF2-40B4-BE49-F238E27FC236}">
                <a16:creationId xmlns:a16="http://schemas.microsoft.com/office/drawing/2014/main" id="{42E0D5DE-D035-DD04-5EB6-5A63D951864F}"/>
              </a:ext>
            </a:extLst>
          </p:cNvPr>
          <p:cNvSpPr/>
          <p:nvPr/>
        </p:nvSpPr>
        <p:spPr>
          <a:xfrm>
            <a:off x="5978025"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1" name="Freeform 1120">
            <a:extLst>
              <a:ext uri="{FF2B5EF4-FFF2-40B4-BE49-F238E27FC236}">
                <a16:creationId xmlns:a16="http://schemas.microsoft.com/office/drawing/2014/main" id="{929A84CF-A604-EEB4-64A4-E9F1573BFBD1}"/>
              </a:ext>
            </a:extLst>
          </p:cNvPr>
          <p:cNvSpPr/>
          <p:nvPr/>
        </p:nvSpPr>
        <p:spPr>
          <a:xfrm>
            <a:off x="6202151"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2" name="Freeform 1121">
            <a:extLst>
              <a:ext uri="{FF2B5EF4-FFF2-40B4-BE49-F238E27FC236}">
                <a16:creationId xmlns:a16="http://schemas.microsoft.com/office/drawing/2014/main" id="{5C5619E7-5E56-725F-8DEC-CA345C7C062E}"/>
              </a:ext>
            </a:extLst>
          </p:cNvPr>
          <p:cNvSpPr/>
          <p:nvPr/>
        </p:nvSpPr>
        <p:spPr>
          <a:xfrm>
            <a:off x="6379721" y="3923191"/>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3" name="Freeform 1122">
            <a:extLst>
              <a:ext uri="{FF2B5EF4-FFF2-40B4-BE49-F238E27FC236}">
                <a16:creationId xmlns:a16="http://schemas.microsoft.com/office/drawing/2014/main" id="{291C09C7-6187-2F8A-C205-B161DF8D6167}"/>
              </a:ext>
            </a:extLst>
          </p:cNvPr>
          <p:cNvSpPr/>
          <p:nvPr/>
        </p:nvSpPr>
        <p:spPr>
          <a:xfrm>
            <a:off x="6424113" y="3856618"/>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4" name="Freeform 1123">
            <a:extLst>
              <a:ext uri="{FF2B5EF4-FFF2-40B4-BE49-F238E27FC236}">
                <a16:creationId xmlns:a16="http://schemas.microsoft.com/office/drawing/2014/main" id="{03247370-EB58-BAEA-6C29-AB24AE55423E}"/>
              </a:ext>
            </a:extLst>
          </p:cNvPr>
          <p:cNvSpPr/>
          <p:nvPr/>
        </p:nvSpPr>
        <p:spPr>
          <a:xfrm>
            <a:off x="6506327" y="3993982"/>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5" name="Freeform 1124">
            <a:extLst>
              <a:ext uri="{FF2B5EF4-FFF2-40B4-BE49-F238E27FC236}">
                <a16:creationId xmlns:a16="http://schemas.microsoft.com/office/drawing/2014/main" id="{158EBFA6-42CF-9152-EAD6-722F9FDF339F}"/>
              </a:ext>
            </a:extLst>
          </p:cNvPr>
          <p:cNvSpPr/>
          <p:nvPr/>
        </p:nvSpPr>
        <p:spPr>
          <a:xfrm>
            <a:off x="5978025" y="3856618"/>
            <a:ext cx="69126" cy="66572"/>
          </a:xfrm>
          <a:custGeom>
            <a:avLst/>
            <a:gdLst>
              <a:gd name="connsiteX0" fmla="*/ 0 w 69126"/>
              <a:gd name="connsiteY0" fmla="*/ 0 h 66572"/>
              <a:gd name="connsiteX1" fmla="*/ 69126 w 69126"/>
              <a:gd name="connsiteY1" fmla="*/ 0 h 66572"/>
              <a:gd name="connsiteX2" fmla="*/ 69126 w 69126"/>
              <a:gd name="connsiteY2" fmla="*/ 66573 h 66572"/>
              <a:gd name="connsiteX3" fmla="*/ 0 w 69126"/>
              <a:gd name="connsiteY3" fmla="*/ 66573 h 66572"/>
            </a:gdLst>
            <a:ahLst/>
            <a:cxnLst>
              <a:cxn ang="0">
                <a:pos x="connsiteX0" y="connsiteY0"/>
              </a:cxn>
              <a:cxn ang="0">
                <a:pos x="connsiteX1" y="connsiteY1"/>
              </a:cxn>
              <a:cxn ang="0">
                <a:pos x="connsiteX2" y="connsiteY2"/>
              </a:cxn>
              <a:cxn ang="0">
                <a:pos x="connsiteX3" y="connsiteY3"/>
              </a:cxn>
            </a:cxnLst>
            <a:rect l="l" t="t" r="r" b="b"/>
            <a:pathLst>
              <a:path w="69126" h="66572">
                <a:moveTo>
                  <a:pt x="0" y="0"/>
                </a:moveTo>
                <a:lnTo>
                  <a:pt x="69126" y="0"/>
                </a:lnTo>
                <a:lnTo>
                  <a:pt x="69126" y="66573"/>
                </a:lnTo>
                <a:lnTo>
                  <a:pt x="0" y="66573"/>
                </a:lnTo>
                <a:close/>
              </a:path>
            </a:pathLst>
          </a:custGeom>
          <a:solidFill>
            <a:srgbClr val="8CB6E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6" name="Freeform 1125">
            <a:extLst>
              <a:ext uri="{FF2B5EF4-FFF2-40B4-BE49-F238E27FC236}">
                <a16:creationId xmlns:a16="http://schemas.microsoft.com/office/drawing/2014/main" id="{0BB16235-ED62-137A-9E5E-B31CBC3B080A}"/>
              </a:ext>
            </a:extLst>
          </p:cNvPr>
          <p:cNvSpPr/>
          <p:nvPr/>
        </p:nvSpPr>
        <p:spPr>
          <a:xfrm>
            <a:off x="6638517" y="2943221"/>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7" name="Freeform 1126">
            <a:extLst>
              <a:ext uri="{FF2B5EF4-FFF2-40B4-BE49-F238E27FC236}">
                <a16:creationId xmlns:a16="http://schemas.microsoft.com/office/drawing/2014/main" id="{14EC666A-F91D-8E60-9544-77ED708123B2}"/>
              </a:ext>
            </a:extLst>
          </p:cNvPr>
          <p:cNvSpPr/>
          <p:nvPr/>
        </p:nvSpPr>
        <p:spPr>
          <a:xfrm>
            <a:off x="6507262" y="3224304"/>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8" name="Freeform 1127">
            <a:extLst>
              <a:ext uri="{FF2B5EF4-FFF2-40B4-BE49-F238E27FC236}">
                <a16:creationId xmlns:a16="http://schemas.microsoft.com/office/drawing/2014/main" id="{2522E48D-8243-AAE0-C199-B788F60E1EE5}"/>
              </a:ext>
            </a:extLst>
          </p:cNvPr>
          <p:cNvSpPr/>
          <p:nvPr/>
        </p:nvSpPr>
        <p:spPr>
          <a:xfrm>
            <a:off x="6463083" y="3366659"/>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29" name="Freeform 1128">
            <a:extLst>
              <a:ext uri="{FF2B5EF4-FFF2-40B4-BE49-F238E27FC236}">
                <a16:creationId xmlns:a16="http://schemas.microsoft.com/office/drawing/2014/main" id="{390B1D7E-0404-758C-37CB-D5A955CC02E0}"/>
              </a:ext>
            </a:extLst>
          </p:cNvPr>
          <p:cNvSpPr/>
          <p:nvPr/>
        </p:nvSpPr>
        <p:spPr>
          <a:xfrm>
            <a:off x="6729625" y="3295173"/>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0" name="Freeform 1129">
            <a:extLst>
              <a:ext uri="{FF2B5EF4-FFF2-40B4-BE49-F238E27FC236}">
                <a16:creationId xmlns:a16="http://schemas.microsoft.com/office/drawing/2014/main" id="{675B66FE-CBE3-8A30-BD4B-0E79BAE6051D}"/>
              </a:ext>
            </a:extLst>
          </p:cNvPr>
          <p:cNvSpPr/>
          <p:nvPr/>
        </p:nvSpPr>
        <p:spPr>
          <a:xfrm>
            <a:off x="6729625" y="3366659"/>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1" name="Freeform 1130">
            <a:extLst>
              <a:ext uri="{FF2B5EF4-FFF2-40B4-BE49-F238E27FC236}">
                <a16:creationId xmlns:a16="http://schemas.microsoft.com/office/drawing/2014/main" id="{F408B2B2-6E1E-0F45-EE93-93E7175ACE64}"/>
              </a:ext>
            </a:extLst>
          </p:cNvPr>
          <p:cNvSpPr/>
          <p:nvPr/>
        </p:nvSpPr>
        <p:spPr>
          <a:xfrm>
            <a:off x="6772362" y="3428190"/>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2" name="Freeform 1131">
            <a:extLst>
              <a:ext uri="{FF2B5EF4-FFF2-40B4-BE49-F238E27FC236}">
                <a16:creationId xmlns:a16="http://schemas.microsoft.com/office/drawing/2014/main" id="{073CF6D9-6542-74AA-BE3E-998AA93A07DB}"/>
              </a:ext>
            </a:extLst>
          </p:cNvPr>
          <p:cNvSpPr/>
          <p:nvPr/>
        </p:nvSpPr>
        <p:spPr>
          <a:xfrm>
            <a:off x="6772362" y="3460421"/>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3" name="Freeform 1132">
            <a:extLst>
              <a:ext uri="{FF2B5EF4-FFF2-40B4-BE49-F238E27FC236}">
                <a16:creationId xmlns:a16="http://schemas.microsoft.com/office/drawing/2014/main" id="{37BDECF2-C9EA-9F91-049F-70CCA6139FD3}"/>
              </a:ext>
            </a:extLst>
          </p:cNvPr>
          <p:cNvSpPr/>
          <p:nvPr/>
        </p:nvSpPr>
        <p:spPr>
          <a:xfrm>
            <a:off x="7037007" y="3515959"/>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
        <p:nvSpPr>
          <p:cNvPr id="1134" name="Freeform 1133">
            <a:extLst>
              <a:ext uri="{FF2B5EF4-FFF2-40B4-BE49-F238E27FC236}">
                <a16:creationId xmlns:a16="http://schemas.microsoft.com/office/drawing/2014/main" id="{A72464D9-69D8-E5C3-D151-B6012A0B9134}"/>
              </a:ext>
            </a:extLst>
          </p:cNvPr>
          <p:cNvSpPr/>
          <p:nvPr/>
        </p:nvSpPr>
        <p:spPr>
          <a:xfrm>
            <a:off x="7037007" y="3548216"/>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grpSp>
        <p:nvGrpSpPr>
          <p:cNvPr id="1148" name="Group 1147">
            <a:extLst>
              <a:ext uri="{FF2B5EF4-FFF2-40B4-BE49-F238E27FC236}">
                <a16:creationId xmlns:a16="http://schemas.microsoft.com/office/drawing/2014/main" id="{C31E150D-A67D-979D-0770-52AE2B5D3370}"/>
              </a:ext>
            </a:extLst>
          </p:cNvPr>
          <p:cNvGrpSpPr/>
          <p:nvPr/>
        </p:nvGrpSpPr>
        <p:grpSpPr>
          <a:xfrm>
            <a:off x="4822246" y="2794854"/>
            <a:ext cx="2631711" cy="1671670"/>
            <a:chOff x="4822246" y="2794854"/>
            <a:chExt cx="2631711" cy="1671670"/>
          </a:xfrm>
        </p:grpSpPr>
        <p:sp>
          <p:nvSpPr>
            <p:cNvPr id="20" name="Freeform 19">
              <a:extLst>
                <a:ext uri="{FF2B5EF4-FFF2-40B4-BE49-F238E27FC236}">
                  <a16:creationId xmlns:a16="http://schemas.microsoft.com/office/drawing/2014/main" id="{AC25350F-6E49-DBF0-73D2-C598A5BD7E8F}"/>
                </a:ext>
              </a:extLst>
            </p:cNvPr>
            <p:cNvSpPr/>
            <p:nvPr/>
          </p:nvSpPr>
          <p:spPr>
            <a:xfrm>
              <a:off x="5144103" y="2839735"/>
              <a:ext cx="2167780" cy="1400217"/>
            </a:xfrm>
            <a:custGeom>
              <a:avLst/>
              <a:gdLst>
                <a:gd name="connsiteX0" fmla="*/ 0 w 2167780"/>
                <a:gd name="connsiteY0" fmla="*/ 0 h 1400217"/>
                <a:gd name="connsiteX1" fmla="*/ 0 w 2167780"/>
                <a:gd name="connsiteY1" fmla="*/ 1400217 h 1400217"/>
                <a:gd name="connsiteX2" fmla="*/ 2167781 w 2167780"/>
                <a:gd name="connsiteY2" fmla="*/ 1400217 h 1400217"/>
              </a:gdLst>
              <a:ahLst/>
              <a:cxnLst>
                <a:cxn ang="0">
                  <a:pos x="connsiteX0" y="connsiteY0"/>
                </a:cxn>
                <a:cxn ang="0">
                  <a:pos x="connsiteX1" y="connsiteY1"/>
                </a:cxn>
                <a:cxn ang="0">
                  <a:pos x="connsiteX2" y="connsiteY2"/>
                </a:cxn>
              </a:cxnLst>
              <a:rect l="l" t="t" r="r" b="b"/>
              <a:pathLst>
                <a:path w="2167780" h="1400217">
                  <a:moveTo>
                    <a:pt x="0" y="0"/>
                  </a:moveTo>
                  <a:lnTo>
                    <a:pt x="0" y="1400217"/>
                  </a:lnTo>
                  <a:lnTo>
                    <a:pt x="2167781" y="1400217"/>
                  </a:lnTo>
                </a:path>
              </a:pathLst>
            </a:custGeom>
            <a:noFill/>
            <a:ln w="6350" cap="flat">
              <a:solidFill>
                <a:srgbClr val="000000"/>
              </a:solidFill>
              <a:prstDash val="solid"/>
              <a:miter/>
            </a:ln>
          </p:spPr>
          <p:txBody>
            <a:bodyPr rtlCol="0" anchor="ctr"/>
            <a:lstStyle/>
            <a:p>
              <a:endParaRPr lang="en-US"/>
            </a:p>
          </p:txBody>
        </p:sp>
        <p:sp>
          <p:nvSpPr>
            <p:cNvPr id="1096" name="Freeform 1095">
              <a:extLst>
                <a:ext uri="{FF2B5EF4-FFF2-40B4-BE49-F238E27FC236}">
                  <a16:creationId xmlns:a16="http://schemas.microsoft.com/office/drawing/2014/main" id="{9FC0FE9B-794E-5EBC-3887-4C3973E061EF}"/>
                </a:ext>
              </a:extLst>
            </p:cNvPr>
            <p:cNvSpPr/>
            <p:nvPr/>
          </p:nvSpPr>
          <p:spPr>
            <a:xfrm>
              <a:off x="5102622" y="283973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097" name="Freeform 1096">
              <a:extLst>
                <a:ext uri="{FF2B5EF4-FFF2-40B4-BE49-F238E27FC236}">
                  <a16:creationId xmlns:a16="http://schemas.microsoft.com/office/drawing/2014/main" id="{7F62E139-D368-8CA9-DD5D-A224DE2EB156}"/>
                </a:ext>
              </a:extLst>
            </p:cNvPr>
            <p:cNvSpPr/>
            <p:nvPr/>
          </p:nvSpPr>
          <p:spPr>
            <a:xfrm>
              <a:off x="5102622" y="3119840"/>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6" name="Freeform 1105">
              <a:extLst>
                <a:ext uri="{FF2B5EF4-FFF2-40B4-BE49-F238E27FC236}">
                  <a16:creationId xmlns:a16="http://schemas.microsoft.com/office/drawing/2014/main" id="{935AEE1B-C9FC-08FE-7993-7289D92C5ABF}"/>
                </a:ext>
              </a:extLst>
            </p:cNvPr>
            <p:cNvSpPr/>
            <p:nvPr/>
          </p:nvSpPr>
          <p:spPr>
            <a:xfrm>
              <a:off x="5102622" y="339994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7" name="Freeform 1106">
              <a:extLst>
                <a:ext uri="{FF2B5EF4-FFF2-40B4-BE49-F238E27FC236}">
                  <a16:creationId xmlns:a16="http://schemas.microsoft.com/office/drawing/2014/main" id="{8260F80E-754F-E6D1-8189-0340F294C41A}"/>
                </a:ext>
              </a:extLst>
            </p:cNvPr>
            <p:cNvSpPr/>
            <p:nvPr/>
          </p:nvSpPr>
          <p:spPr>
            <a:xfrm>
              <a:off x="5102622" y="368002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8" name="Freeform 1107">
              <a:extLst>
                <a:ext uri="{FF2B5EF4-FFF2-40B4-BE49-F238E27FC236}">
                  <a16:creationId xmlns:a16="http://schemas.microsoft.com/office/drawing/2014/main" id="{647B8768-B6B4-64EA-6CDA-B773A44DF277}"/>
                </a:ext>
              </a:extLst>
            </p:cNvPr>
            <p:cNvSpPr/>
            <p:nvPr/>
          </p:nvSpPr>
          <p:spPr>
            <a:xfrm>
              <a:off x="5102622" y="3960130"/>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09" name="Freeform 1108">
              <a:extLst>
                <a:ext uri="{FF2B5EF4-FFF2-40B4-BE49-F238E27FC236}">
                  <a16:creationId xmlns:a16="http://schemas.microsoft.com/office/drawing/2014/main" id="{9B8DEF5E-5E5D-C259-8F17-F109FAFEA38A}"/>
                </a:ext>
              </a:extLst>
            </p:cNvPr>
            <p:cNvSpPr/>
            <p:nvPr/>
          </p:nvSpPr>
          <p:spPr>
            <a:xfrm>
              <a:off x="5102622" y="4240235"/>
              <a:ext cx="41481" cy="2572"/>
            </a:xfrm>
            <a:custGeom>
              <a:avLst/>
              <a:gdLst>
                <a:gd name="connsiteX0" fmla="*/ 41481 w 41481"/>
                <a:gd name="connsiteY0" fmla="*/ 0 h 2572"/>
                <a:gd name="connsiteX1" fmla="*/ 0 w 41481"/>
                <a:gd name="connsiteY1" fmla="*/ 0 h 2572"/>
              </a:gdLst>
              <a:ahLst/>
              <a:cxnLst>
                <a:cxn ang="0">
                  <a:pos x="connsiteX0" y="connsiteY0"/>
                </a:cxn>
                <a:cxn ang="0">
                  <a:pos x="connsiteX1" y="connsiteY1"/>
                </a:cxn>
              </a:cxnLst>
              <a:rect l="l" t="t" r="r" b="b"/>
              <a:pathLst>
                <a:path w="41481" h="2572">
                  <a:moveTo>
                    <a:pt x="41481" y="0"/>
                  </a:moveTo>
                  <a:lnTo>
                    <a:pt x="0" y="0"/>
                  </a:lnTo>
                </a:path>
              </a:pathLst>
            </a:custGeom>
            <a:ln w="6350" cap="flat">
              <a:solidFill>
                <a:srgbClr val="000000"/>
              </a:solidFill>
              <a:prstDash val="solid"/>
              <a:miter/>
            </a:ln>
          </p:spPr>
          <p:txBody>
            <a:bodyPr rtlCol="0" anchor="ctr"/>
            <a:lstStyle/>
            <a:p>
              <a:endParaRPr lang="en-US"/>
            </a:p>
          </p:txBody>
        </p:sp>
        <p:sp>
          <p:nvSpPr>
            <p:cNvPr id="1110" name="Freeform 1109">
              <a:extLst>
                <a:ext uri="{FF2B5EF4-FFF2-40B4-BE49-F238E27FC236}">
                  <a16:creationId xmlns:a16="http://schemas.microsoft.com/office/drawing/2014/main" id="{9A81069C-BA35-4E46-7E59-6E9E32E44D1B}"/>
                </a:ext>
              </a:extLst>
            </p:cNvPr>
            <p:cNvSpPr/>
            <p:nvPr/>
          </p:nvSpPr>
          <p:spPr>
            <a:xfrm>
              <a:off x="5144103"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11" name="Freeform 1110">
              <a:extLst>
                <a:ext uri="{FF2B5EF4-FFF2-40B4-BE49-F238E27FC236}">
                  <a16:creationId xmlns:a16="http://schemas.microsoft.com/office/drawing/2014/main" id="{42D389D6-D8C5-20AE-5AE8-B2FF05C7C9F9}"/>
                </a:ext>
              </a:extLst>
            </p:cNvPr>
            <p:cNvSpPr/>
            <p:nvPr/>
          </p:nvSpPr>
          <p:spPr>
            <a:xfrm>
              <a:off x="5865975"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12" name="Freeform 1111">
              <a:extLst>
                <a:ext uri="{FF2B5EF4-FFF2-40B4-BE49-F238E27FC236}">
                  <a16:creationId xmlns:a16="http://schemas.microsoft.com/office/drawing/2014/main" id="{ADE3C908-3552-EE0C-DBC6-5EA144230EEB}"/>
                </a:ext>
              </a:extLst>
            </p:cNvPr>
            <p:cNvSpPr/>
            <p:nvPr/>
          </p:nvSpPr>
          <p:spPr>
            <a:xfrm>
              <a:off x="6587847"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13" name="Freeform 1112">
              <a:extLst>
                <a:ext uri="{FF2B5EF4-FFF2-40B4-BE49-F238E27FC236}">
                  <a16:creationId xmlns:a16="http://schemas.microsoft.com/office/drawing/2014/main" id="{755F27EA-8555-E493-386A-74FE1D25A683}"/>
                </a:ext>
              </a:extLst>
            </p:cNvPr>
            <p:cNvSpPr/>
            <p:nvPr/>
          </p:nvSpPr>
          <p:spPr>
            <a:xfrm>
              <a:off x="7309693" y="4240235"/>
              <a:ext cx="2671" cy="35472"/>
            </a:xfrm>
            <a:custGeom>
              <a:avLst/>
              <a:gdLst>
                <a:gd name="connsiteX0" fmla="*/ 0 w 2671"/>
                <a:gd name="connsiteY0" fmla="*/ 0 h 35472"/>
                <a:gd name="connsiteX1" fmla="*/ 0 w 2671"/>
                <a:gd name="connsiteY1" fmla="*/ 35473 h 35472"/>
              </a:gdLst>
              <a:ahLst/>
              <a:cxnLst>
                <a:cxn ang="0">
                  <a:pos x="connsiteX0" y="connsiteY0"/>
                </a:cxn>
                <a:cxn ang="0">
                  <a:pos x="connsiteX1" y="connsiteY1"/>
                </a:cxn>
              </a:cxnLst>
              <a:rect l="l" t="t" r="r" b="b"/>
              <a:pathLst>
                <a:path w="2671" h="35472">
                  <a:moveTo>
                    <a:pt x="0" y="0"/>
                  </a:moveTo>
                  <a:lnTo>
                    <a:pt x="0" y="35473"/>
                  </a:lnTo>
                </a:path>
              </a:pathLst>
            </a:custGeom>
            <a:ln w="6350" cap="flat">
              <a:solidFill>
                <a:srgbClr val="000000"/>
              </a:solidFill>
              <a:prstDash val="solid"/>
              <a:miter/>
            </a:ln>
          </p:spPr>
          <p:txBody>
            <a:bodyPr rtlCol="0" anchor="ctr"/>
            <a:lstStyle/>
            <a:p>
              <a:endParaRPr lang="en-US"/>
            </a:p>
          </p:txBody>
        </p:sp>
        <p:sp>
          <p:nvSpPr>
            <p:cNvPr id="1136" name="TextBox 1135">
              <a:extLst>
                <a:ext uri="{FF2B5EF4-FFF2-40B4-BE49-F238E27FC236}">
                  <a16:creationId xmlns:a16="http://schemas.microsoft.com/office/drawing/2014/main" id="{A143CA95-27B4-CFE1-3C25-567E5FC5A72B}"/>
                </a:ext>
              </a:extLst>
            </p:cNvPr>
            <p:cNvSpPr txBox="1"/>
            <p:nvPr/>
          </p:nvSpPr>
          <p:spPr>
            <a:xfrm rot="16200000">
              <a:off x="4471669" y="3493677"/>
              <a:ext cx="793487"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spc="0" dirty="0"/>
                <a:t>G0 glycan (rel. area %)</a:t>
              </a:r>
            </a:p>
          </p:txBody>
        </p:sp>
        <p:sp>
          <p:nvSpPr>
            <p:cNvPr id="1137" name="TextBox 1136">
              <a:extLst>
                <a:ext uri="{FF2B5EF4-FFF2-40B4-BE49-F238E27FC236}">
                  <a16:creationId xmlns:a16="http://schemas.microsoft.com/office/drawing/2014/main" id="{692A040E-24C6-7224-E058-DC5E774B24FB}"/>
                </a:ext>
              </a:extLst>
            </p:cNvPr>
            <p:cNvSpPr txBox="1"/>
            <p:nvPr/>
          </p:nvSpPr>
          <p:spPr>
            <a:xfrm>
              <a:off x="4968804" y="27948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2.0</a:t>
              </a:r>
            </a:p>
          </p:txBody>
        </p:sp>
        <p:sp>
          <p:nvSpPr>
            <p:cNvPr id="1139" name="TextBox 1138">
              <a:extLst>
                <a:ext uri="{FF2B5EF4-FFF2-40B4-BE49-F238E27FC236}">
                  <a16:creationId xmlns:a16="http://schemas.microsoft.com/office/drawing/2014/main" id="{063537EC-6ECB-2CF5-5F06-162F2A660DB0}"/>
                </a:ext>
              </a:extLst>
            </p:cNvPr>
            <p:cNvSpPr txBox="1"/>
            <p:nvPr/>
          </p:nvSpPr>
          <p:spPr>
            <a:xfrm>
              <a:off x="4968804" y="30749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1.6</a:t>
              </a:r>
            </a:p>
          </p:txBody>
        </p:sp>
        <p:sp>
          <p:nvSpPr>
            <p:cNvPr id="1140" name="TextBox 1139">
              <a:extLst>
                <a:ext uri="{FF2B5EF4-FFF2-40B4-BE49-F238E27FC236}">
                  <a16:creationId xmlns:a16="http://schemas.microsoft.com/office/drawing/2014/main" id="{F8C9B690-F9EC-AD6D-67A4-B74AD9931537}"/>
                </a:ext>
              </a:extLst>
            </p:cNvPr>
            <p:cNvSpPr txBox="1"/>
            <p:nvPr/>
          </p:nvSpPr>
          <p:spPr>
            <a:xfrm>
              <a:off x="4968804" y="33550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1.2</a:t>
              </a:r>
            </a:p>
          </p:txBody>
        </p:sp>
        <p:sp>
          <p:nvSpPr>
            <p:cNvPr id="1141" name="TextBox 1140">
              <a:extLst>
                <a:ext uri="{FF2B5EF4-FFF2-40B4-BE49-F238E27FC236}">
                  <a16:creationId xmlns:a16="http://schemas.microsoft.com/office/drawing/2014/main" id="{58414301-A1F0-6B13-0C4E-61F396ABE235}"/>
                </a:ext>
              </a:extLst>
            </p:cNvPr>
            <p:cNvSpPr txBox="1"/>
            <p:nvPr/>
          </p:nvSpPr>
          <p:spPr>
            <a:xfrm>
              <a:off x="4968804" y="36351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0.8</a:t>
              </a:r>
            </a:p>
          </p:txBody>
        </p:sp>
        <p:sp>
          <p:nvSpPr>
            <p:cNvPr id="1142" name="TextBox 1141">
              <a:extLst>
                <a:ext uri="{FF2B5EF4-FFF2-40B4-BE49-F238E27FC236}">
                  <a16:creationId xmlns:a16="http://schemas.microsoft.com/office/drawing/2014/main" id="{AD9BF933-F205-6384-BE6F-9A41F182273C}"/>
                </a:ext>
              </a:extLst>
            </p:cNvPr>
            <p:cNvSpPr txBox="1"/>
            <p:nvPr/>
          </p:nvSpPr>
          <p:spPr>
            <a:xfrm>
              <a:off x="4968804" y="3915254"/>
              <a:ext cx="103554"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0.4</a:t>
              </a:r>
            </a:p>
          </p:txBody>
        </p:sp>
        <p:sp>
          <p:nvSpPr>
            <p:cNvPr id="1143" name="TextBox 1142">
              <a:extLst>
                <a:ext uri="{FF2B5EF4-FFF2-40B4-BE49-F238E27FC236}">
                  <a16:creationId xmlns:a16="http://schemas.microsoft.com/office/drawing/2014/main" id="{F4B0E4AC-BBB4-0BF6-0A8B-F392D15BF1B3}"/>
                </a:ext>
              </a:extLst>
            </p:cNvPr>
            <p:cNvSpPr txBox="1"/>
            <p:nvPr/>
          </p:nvSpPr>
          <p:spPr>
            <a:xfrm>
              <a:off x="5030359" y="4195354"/>
              <a:ext cx="4199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pPr algn="r"/>
              <a:r>
                <a:rPr lang="en-IN" dirty="0"/>
                <a:t>0</a:t>
              </a:r>
            </a:p>
          </p:txBody>
        </p:sp>
        <p:sp>
          <p:nvSpPr>
            <p:cNvPr id="1144" name="TextBox 1143">
              <a:extLst>
                <a:ext uri="{FF2B5EF4-FFF2-40B4-BE49-F238E27FC236}">
                  <a16:creationId xmlns:a16="http://schemas.microsoft.com/office/drawing/2014/main" id="{931F5DE7-F83B-2D51-8F6D-6738EA5E96D8}"/>
                </a:ext>
              </a:extLst>
            </p:cNvPr>
            <p:cNvSpPr txBox="1"/>
            <p:nvPr/>
          </p:nvSpPr>
          <p:spPr>
            <a:xfrm>
              <a:off x="5004096"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08.2007</a:t>
              </a:r>
            </a:p>
          </p:txBody>
        </p:sp>
        <p:sp>
          <p:nvSpPr>
            <p:cNvPr id="1145" name="TextBox 1144">
              <a:extLst>
                <a:ext uri="{FF2B5EF4-FFF2-40B4-BE49-F238E27FC236}">
                  <a16:creationId xmlns:a16="http://schemas.microsoft.com/office/drawing/2014/main" id="{C6E21869-BCE9-9902-9D42-C1D47FC016A8}"/>
                </a:ext>
              </a:extLst>
            </p:cNvPr>
            <p:cNvSpPr txBox="1"/>
            <p:nvPr/>
          </p:nvSpPr>
          <p:spPr>
            <a:xfrm>
              <a:off x="5730200"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12.2008</a:t>
              </a:r>
            </a:p>
          </p:txBody>
        </p:sp>
        <p:sp>
          <p:nvSpPr>
            <p:cNvPr id="1146" name="TextBox 1145">
              <a:extLst>
                <a:ext uri="{FF2B5EF4-FFF2-40B4-BE49-F238E27FC236}">
                  <a16:creationId xmlns:a16="http://schemas.microsoft.com/office/drawing/2014/main" id="{456376D9-F94D-FD52-D27B-C43F589D41B0}"/>
                </a:ext>
              </a:extLst>
            </p:cNvPr>
            <p:cNvSpPr txBox="1"/>
            <p:nvPr/>
          </p:nvSpPr>
          <p:spPr>
            <a:xfrm>
              <a:off x="6456304"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05.2010</a:t>
              </a:r>
            </a:p>
          </p:txBody>
        </p:sp>
        <p:sp>
          <p:nvSpPr>
            <p:cNvPr id="1147" name="TextBox 1146">
              <a:extLst>
                <a:ext uri="{FF2B5EF4-FFF2-40B4-BE49-F238E27FC236}">
                  <a16:creationId xmlns:a16="http://schemas.microsoft.com/office/drawing/2014/main" id="{586F1A78-AB42-C909-E9D5-35D2C8EB283C}"/>
                </a:ext>
              </a:extLst>
            </p:cNvPr>
            <p:cNvSpPr txBox="1"/>
            <p:nvPr/>
          </p:nvSpPr>
          <p:spPr>
            <a:xfrm>
              <a:off x="7182408" y="4304572"/>
              <a:ext cx="271549"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09.2011</a:t>
              </a:r>
            </a:p>
          </p:txBody>
        </p:sp>
        <p:sp>
          <p:nvSpPr>
            <p:cNvPr id="1149" name="TextBox 1148">
              <a:extLst>
                <a:ext uri="{FF2B5EF4-FFF2-40B4-BE49-F238E27FC236}">
                  <a16:creationId xmlns:a16="http://schemas.microsoft.com/office/drawing/2014/main" id="{6B90627A-39B3-9FC1-FA98-4D001438B7FE}"/>
                </a:ext>
              </a:extLst>
            </p:cNvPr>
            <p:cNvSpPr txBox="1"/>
            <p:nvPr/>
          </p:nvSpPr>
          <p:spPr>
            <a:xfrm>
              <a:off x="6041884" y="4374191"/>
              <a:ext cx="372218" cy="92333"/>
            </a:xfrm>
            <a:prstGeom prst="rect">
              <a:avLst/>
            </a:prstGeom>
            <a:noFill/>
          </p:spPr>
          <p:txBody>
            <a:bodyPr wrap="none" lIns="0" tIns="0" rIns="0" bIns="0" rtlCol="0">
              <a:spAutoFit/>
            </a:bodyPr>
            <a:lstStyle>
              <a:defPPr>
                <a:defRPr lang="en-US"/>
              </a:defPPr>
              <a:lvl1pPr algn="ctr">
                <a:defRPr sz="600" spc="-10">
                  <a:solidFill>
                    <a:sysClr val="windowText" lastClr="000000"/>
                  </a:solidFill>
                </a:defRPr>
              </a:lvl1pPr>
            </a:lstStyle>
            <a:p>
              <a:r>
                <a:rPr lang="en-IN" dirty="0"/>
                <a:t>Expiry date</a:t>
              </a:r>
            </a:p>
          </p:txBody>
        </p:sp>
      </p:grpSp>
      <p:sp>
        <p:nvSpPr>
          <p:cNvPr id="3" name="Freeform 1127">
            <a:extLst>
              <a:ext uri="{FF2B5EF4-FFF2-40B4-BE49-F238E27FC236}">
                <a16:creationId xmlns:a16="http://schemas.microsoft.com/office/drawing/2014/main" id="{7413B55C-E3AD-2AB2-C237-23EA2D81A802}"/>
              </a:ext>
            </a:extLst>
          </p:cNvPr>
          <p:cNvSpPr/>
          <p:nvPr/>
        </p:nvSpPr>
        <p:spPr>
          <a:xfrm>
            <a:off x="7497637" y="3336148"/>
            <a:ext cx="66935" cy="64463"/>
          </a:xfrm>
          <a:custGeom>
            <a:avLst/>
            <a:gdLst>
              <a:gd name="connsiteX0" fmla="*/ 66936 w 66935"/>
              <a:gd name="connsiteY0" fmla="*/ 32232 h 64463"/>
              <a:gd name="connsiteX1" fmla="*/ 33468 w 66935"/>
              <a:gd name="connsiteY1" fmla="*/ 64464 h 64463"/>
              <a:gd name="connsiteX2" fmla="*/ 0 w 66935"/>
              <a:gd name="connsiteY2" fmla="*/ 32232 h 64463"/>
              <a:gd name="connsiteX3" fmla="*/ 33468 w 66935"/>
              <a:gd name="connsiteY3" fmla="*/ 0 h 64463"/>
              <a:gd name="connsiteX4" fmla="*/ 66936 w 66935"/>
              <a:gd name="connsiteY4" fmla="*/ 32232 h 64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35" h="64463">
                <a:moveTo>
                  <a:pt x="66936" y="32232"/>
                </a:moveTo>
                <a:cubicBezTo>
                  <a:pt x="66936" y="50033"/>
                  <a:pt x="51952" y="64464"/>
                  <a:pt x="33468" y="64464"/>
                </a:cubicBezTo>
                <a:cubicBezTo>
                  <a:pt x="14984" y="64464"/>
                  <a:pt x="0" y="50033"/>
                  <a:pt x="0" y="32232"/>
                </a:cubicBezTo>
                <a:cubicBezTo>
                  <a:pt x="0" y="14431"/>
                  <a:pt x="14984" y="0"/>
                  <a:pt x="33468" y="0"/>
                </a:cubicBezTo>
                <a:cubicBezTo>
                  <a:pt x="51952" y="0"/>
                  <a:pt x="66936" y="14431"/>
                  <a:pt x="66936" y="32232"/>
                </a:cubicBezTo>
                <a:close/>
              </a:path>
            </a:pathLst>
          </a:custGeom>
          <a:solidFill>
            <a:srgbClr val="332D7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800"/>
            <a:endParaRPr lang="en-US" sz="1600">
              <a:solidFill>
                <a:srgbClr val="FFFFFF"/>
              </a:solidFill>
              <a:latin typeface="Arial" panose="020B0604020202020204"/>
            </a:endParaRPr>
          </a:p>
        </p:txBody>
      </p:sp>
    </p:spTree>
    <p:extLst>
      <p:ext uri="{BB962C8B-B14F-4D97-AF65-F5344CB8AC3E}">
        <p14:creationId xmlns:p14="http://schemas.microsoft.com/office/powerpoint/2010/main" val="993275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noAutofit/>
          </a:bodyPr>
          <a:lstStyle/>
          <a:p>
            <a:r>
              <a:rPr lang="en-US"/>
              <a:t>Biologic medicines can provide targeted treatment for many diseases</a:t>
            </a:r>
          </a:p>
        </p:txBody>
      </p:sp>
      <p:sp>
        <p:nvSpPr>
          <p:cNvPr id="23" name="Slide Number Placeholder 5">
            <a:extLst>
              <a:ext uri="{FF2B5EF4-FFF2-40B4-BE49-F238E27FC236}">
                <a16:creationId xmlns:a16="http://schemas.microsoft.com/office/drawing/2014/main" id="{40189176-AFEC-AA9A-242B-EB44945DEC88}"/>
              </a:ext>
            </a:extLst>
          </p:cNvPr>
          <p:cNvSpPr>
            <a:spLocks noGrp="1"/>
          </p:cNvSpPr>
          <p:nvPr>
            <p:ph type="sldNum" sz="quarter" idx="12"/>
          </p:nvPr>
        </p:nvSpPr>
        <p:spPr/>
        <p:txBody>
          <a:bodyPr/>
          <a:lstStyle/>
          <a:p>
            <a:fld id="{47547CF9-5B10-D24F-A8D7-45A9778164F7}" type="slidenum">
              <a:rPr lang="uk-UA" smtClean="0"/>
              <a:pPr/>
              <a:t>9</a:t>
            </a:fld>
            <a:endParaRPr lang="uk-UA"/>
          </a:p>
        </p:txBody>
      </p:sp>
      <p:sp>
        <p:nvSpPr>
          <p:cNvPr id="18" name="TextBox 17">
            <a:extLst>
              <a:ext uri="{FF2B5EF4-FFF2-40B4-BE49-F238E27FC236}">
                <a16:creationId xmlns:a16="http://schemas.microsoft.com/office/drawing/2014/main" id="{D4316D72-5812-5C8A-3F99-45F03F827BD6}"/>
              </a:ext>
            </a:extLst>
          </p:cNvPr>
          <p:cNvSpPr txBox="1"/>
          <p:nvPr/>
        </p:nvSpPr>
        <p:spPr>
          <a:xfrm>
            <a:off x="243000" y="997196"/>
            <a:ext cx="8229600" cy="907941"/>
          </a:xfrm>
          <a:prstGeom prst="rect">
            <a:avLst/>
          </a:prstGeom>
          <a:noFill/>
        </p:spPr>
        <p:txBody>
          <a:bodyPr wrap="square" lIns="0">
            <a:spAutoFit/>
          </a:bodyPr>
          <a:lstStyle/>
          <a:p>
            <a:pPr marL="173736" indent="-173736">
              <a:spcAft>
                <a:spcPts val="600"/>
              </a:spcAft>
              <a:buSzPct val="100000"/>
              <a:buFont typeface="Arial" panose="020B0604020202020204" pitchFamily="34" charset="0"/>
              <a:buChar char="•"/>
              <a:tabLst>
                <a:tab pos="3998913" algn="r"/>
                <a:tab pos="8229600" algn="r"/>
              </a:tabLst>
            </a:pPr>
            <a:r>
              <a:rPr lang="en-US" sz="1200">
                <a:cs typeface="Arial" panose="020B0604020202020204" pitchFamily="34" charset="0"/>
              </a:rPr>
              <a:t>The active substance of a biologic medicine is made to interact exactly with a specific target in the human body. Biologic medicines include vaccines, recombinant proteins, monoclonal antibodies, and blood derivatives</a:t>
            </a:r>
            <a:r>
              <a:rPr lang="en-US" sz="1200" baseline="30000">
                <a:cs typeface="Arial" panose="020B0604020202020204" pitchFamily="34" charset="0"/>
              </a:rPr>
              <a:t>1–4</a:t>
            </a:r>
          </a:p>
          <a:p>
            <a:pPr marL="173736" indent="-173736">
              <a:spcAft>
                <a:spcPts val="600"/>
              </a:spcAft>
              <a:buSzPct val="100000"/>
              <a:buFont typeface="Arial" panose="020B0604020202020204" pitchFamily="34" charset="0"/>
              <a:buChar char="•"/>
              <a:tabLst>
                <a:tab pos="3998913" algn="r"/>
                <a:tab pos="8229600" algn="r"/>
              </a:tabLst>
            </a:pPr>
            <a:r>
              <a:rPr lang="en-US" sz="1200">
                <a:cs typeface="Arial" panose="020B0604020202020204" pitchFamily="34" charset="0"/>
              </a:rPr>
              <a:t>Since the approval of the first biologic human insulin (Humulin</a:t>
            </a:r>
            <a:r>
              <a:rPr lang="en-US" sz="1200" baseline="30000">
                <a:cs typeface="Arial" panose="020B0604020202020204" pitchFamily="34" charset="0"/>
              </a:rPr>
              <a:t>®</a:t>
            </a:r>
            <a:r>
              <a:rPr lang="en-US" sz="1200">
                <a:cs typeface="Arial" panose="020B0604020202020204" pitchFamily="34" charset="0"/>
              </a:rPr>
              <a:t>) in 1982,</a:t>
            </a:r>
            <a:r>
              <a:rPr lang="en-US" sz="1200" baseline="30000">
                <a:cs typeface="Arial" panose="020B0604020202020204" pitchFamily="34" charset="0"/>
              </a:rPr>
              <a:t>5</a:t>
            </a:r>
            <a:r>
              <a:rPr lang="en-US" sz="1200">
                <a:cs typeface="Arial" panose="020B0604020202020204" pitchFamily="34" charset="0"/>
              </a:rPr>
              <a:t> biologic medicines have revolutionized the treatment of many diseases</a:t>
            </a:r>
            <a:r>
              <a:rPr lang="en-US" sz="1200" baseline="30000">
                <a:cs typeface="Arial" panose="020B0604020202020204" pitchFamily="34" charset="0"/>
              </a:rPr>
              <a:t>2,3,6,7</a:t>
            </a:r>
          </a:p>
        </p:txBody>
      </p:sp>
      <p:sp>
        <p:nvSpPr>
          <p:cNvPr id="33" name="Rectangle 32">
            <a:extLst>
              <a:ext uri="{FF2B5EF4-FFF2-40B4-BE49-F238E27FC236}">
                <a16:creationId xmlns:a16="http://schemas.microsoft.com/office/drawing/2014/main" id="{DDDD1B5A-B972-D08B-79AA-EEE140BAFDCF}"/>
              </a:ext>
            </a:extLst>
          </p:cNvPr>
          <p:cNvSpPr/>
          <p:nvPr/>
        </p:nvSpPr>
        <p:spPr>
          <a:xfrm>
            <a:off x="6276706" y="3097760"/>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4" name="Rectangle 33">
            <a:extLst>
              <a:ext uri="{FF2B5EF4-FFF2-40B4-BE49-F238E27FC236}">
                <a16:creationId xmlns:a16="http://schemas.microsoft.com/office/drawing/2014/main" id="{9427B1DC-71B4-F72A-8172-ACE0F0707E97}"/>
              </a:ext>
            </a:extLst>
          </p:cNvPr>
          <p:cNvSpPr/>
          <p:nvPr/>
        </p:nvSpPr>
        <p:spPr>
          <a:xfrm>
            <a:off x="6280531" y="2475356"/>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5" name="Rectangle 34">
            <a:extLst>
              <a:ext uri="{FF2B5EF4-FFF2-40B4-BE49-F238E27FC236}">
                <a16:creationId xmlns:a16="http://schemas.microsoft.com/office/drawing/2014/main" id="{9CAFBEDD-2317-FB8C-A954-DEFBBC3D758F}"/>
              </a:ext>
            </a:extLst>
          </p:cNvPr>
          <p:cNvSpPr/>
          <p:nvPr/>
        </p:nvSpPr>
        <p:spPr>
          <a:xfrm>
            <a:off x="3387452" y="2479481"/>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6" name="Rectangle 35">
            <a:extLst>
              <a:ext uri="{FF2B5EF4-FFF2-40B4-BE49-F238E27FC236}">
                <a16:creationId xmlns:a16="http://schemas.microsoft.com/office/drawing/2014/main" id="{2D2430F7-DAE5-5E85-39AB-4C9F960CFEC0}"/>
              </a:ext>
            </a:extLst>
          </p:cNvPr>
          <p:cNvSpPr/>
          <p:nvPr/>
        </p:nvSpPr>
        <p:spPr>
          <a:xfrm>
            <a:off x="511186" y="3427218"/>
            <a:ext cx="2178737"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39" name="Rectangle 38">
            <a:extLst>
              <a:ext uri="{FF2B5EF4-FFF2-40B4-BE49-F238E27FC236}">
                <a16:creationId xmlns:a16="http://schemas.microsoft.com/office/drawing/2014/main" id="{EBDB4156-81F6-9ACF-AAE7-01155F99BA4E}"/>
              </a:ext>
            </a:extLst>
          </p:cNvPr>
          <p:cNvSpPr/>
          <p:nvPr/>
        </p:nvSpPr>
        <p:spPr>
          <a:xfrm>
            <a:off x="511186" y="2805592"/>
            <a:ext cx="2178737"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46" name="Rectangle 45">
            <a:extLst>
              <a:ext uri="{FF2B5EF4-FFF2-40B4-BE49-F238E27FC236}">
                <a16:creationId xmlns:a16="http://schemas.microsoft.com/office/drawing/2014/main" id="{14B9088E-5D54-313E-B2F7-DE0B043F152C}"/>
              </a:ext>
            </a:extLst>
          </p:cNvPr>
          <p:cNvSpPr/>
          <p:nvPr/>
        </p:nvSpPr>
        <p:spPr>
          <a:xfrm>
            <a:off x="511186" y="2177696"/>
            <a:ext cx="2178737"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47" name="Rectangle 46">
            <a:extLst>
              <a:ext uri="{FF2B5EF4-FFF2-40B4-BE49-F238E27FC236}">
                <a16:creationId xmlns:a16="http://schemas.microsoft.com/office/drawing/2014/main" id="{D4FD5AB7-ABEF-DAA6-2C61-15FE2A61622B}"/>
              </a:ext>
            </a:extLst>
          </p:cNvPr>
          <p:cNvSpPr/>
          <p:nvPr/>
        </p:nvSpPr>
        <p:spPr>
          <a:xfrm>
            <a:off x="1174002" y="2177696"/>
            <a:ext cx="1830702" cy="490370"/>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105728" rIns="197358" bIns="105728" numCol="1" spcCol="1270" anchor="ctr" anchorCtr="0">
            <a:noAutofit/>
          </a:bodyPr>
          <a:lstStyle/>
          <a:p>
            <a:pPr defTabSz="1233488">
              <a:lnSpc>
                <a:spcPct val="90000"/>
              </a:lnSpc>
              <a:spcBef>
                <a:spcPct val="0"/>
              </a:spcBef>
              <a:spcAft>
                <a:spcPct val="35000"/>
              </a:spcAft>
            </a:pPr>
            <a:r>
              <a:rPr lang="en-GB" sz="1500"/>
              <a:t>Anemia</a:t>
            </a:r>
          </a:p>
        </p:txBody>
      </p:sp>
      <p:sp>
        <p:nvSpPr>
          <p:cNvPr id="48" name="Rectangle 47">
            <a:extLst>
              <a:ext uri="{FF2B5EF4-FFF2-40B4-BE49-F238E27FC236}">
                <a16:creationId xmlns:a16="http://schemas.microsoft.com/office/drawing/2014/main" id="{6BD800CD-4D20-DA06-BE3D-2A3CCC49F0B6}"/>
              </a:ext>
            </a:extLst>
          </p:cNvPr>
          <p:cNvSpPr/>
          <p:nvPr/>
        </p:nvSpPr>
        <p:spPr>
          <a:xfrm>
            <a:off x="1174004" y="2808959"/>
            <a:ext cx="1828799" cy="494095"/>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105728" rIns="197358" bIns="105728" numCol="1" spcCol="1270" anchor="ctr" anchorCtr="0">
            <a:noAutofit/>
          </a:bodyPr>
          <a:lstStyle/>
          <a:p>
            <a:pPr defTabSz="1233488">
              <a:lnSpc>
                <a:spcPct val="90000"/>
              </a:lnSpc>
              <a:spcBef>
                <a:spcPct val="0"/>
              </a:spcBef>
              <a:spcAft>
                <a:spcPct val="35000"/>
              </a:spcAft>
            </a:pPr>
            <a:r>
              <a:rPr lang="en-GB" sz="1500"/>
              <a:t>Cancers</a:t>
            </a:r>
          </a:p>
        </p:txBody>
      </p:sp>
      <p:sp>
        <p:nvSpPr>
          <p:cNvPr id="49" name="Rectangle 48">
            <a:extLst>
              <a:ext uri="{FF2B5EF4-FFF2-40B4-BE49-F238E27FC236}">
                <a16:creationId xmlns:a16="http://schemas.microsoft.com/office/drawing/2014/main" id="{19FE2D7F-9748-5F54-3697-EFE281F2ADE6}"/>
              </a:ext>
            </a:extLst>
          </p:cNvPr>
          <p:cNvSpPr/>
          <p:nvPr/>
        </p:nvSpPr>
        <p:spPr>
          <a:xfrm>
            <a:off x="1174005" y="3430387"/>
            <a:ext cx="1828798" cy="494095"/>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105728" rIns="197358" bIns="105728" numCol="1" spcCol="1270" anchor="ctr" anchorCtr="0">
            <a:noAutofit/>
          </a:bodyPr>
          <a:lstStyle/>
          <a:p>
            <a:pPr defTabSz="1233488">
              <a:lnSpc>
                <a:spcPct val="90000"/>
              </a:lnSpc>
              <a:spcBef>
                <a:spcPct val="0"/>
              </a:spcBef>
              <a:spcAft>
                <a:spcPct val="35000"/>
              </a:spcAft>
            </a:pPr>
            <a:r>
              <a:rPr lang="en-GB" sz="1500"/>
              <a:t>Diabetes</a:t>
            </a:r>
          </a:p>
        </p:txBody>
      </p:sp>
      <p:sp>
        <p:nvSpPr>
          <p:cNvPr id="50" name="Rectangle 49">
            <a:extLst>
              <a:ext uri="{FF2B5EF4-FFF2-40B4-BE49-F238E27FC236}">
                <a16:creationId xmlns:a16="http://schemas.microsoft.com/office/drawing/2014/main" id="{7E9A1FF4-D995-1E5F-20CF-C4092AEDF352}"/>
              </a:ext>
            </a:extLst>
          </p:cNvPr>
          <p:cNvSpPr/>
          <p:nvPr/>
        </p:nvSpPr>
        <p:spPr>
          <a:xfrm>
            <a:off x="6945455" y="3102997"/>
            <a:ext cx="1828800" cy="490370"/>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0011" rIns="149352" bIns="80010" numCol="1" spcCol="1270" anchor="ctr" anchorCtr="0">
            <a:noAutofit/>
          </a:bodyPr>
          <a:lstStyle/>
          <a:p>
            <a:pPr defTabSz="933450">
              <a:lnSpc>
                <a:spcPct val="90000"/>
              </a:lnSpc>
              <a:spcBef>
                <a:spcPct val="0"/>
              </a:spcBef>
              <a:spcAft>
                <a:spcPct val="35000"/>
              </a:spcAft>
            </a:pPr>
            <a:r>
              <a:rPr lang="en-GB" sz="1500"/>
              <a:t>Rheumatoid arthritis</a:t>
            </a:r>
          </a:p>
        </p:txBody>
      </p:sp>
      <p:sp>
        <p:nvSpPr>
          <p:cNvPr id="51" name="Rectangle 50">
            <a:extLst>
              <a:ext uri="{FF2B5EF4-FFF2-40B4-BE49-F238E27FC236}">
                <a16:creationId xmlns:a16="http://schemas.microsoft.com/office/drawing/2014/main" id="{FF030B0B-7A86-B237-7B68-F8F5BAD99FCC}"/>
              </a:ext>
            </a:extLst>
          </p:cNvPr>
          <p:cNvSpPr/>
          <p:nvPr/>
        </p:nvSpPr>
        <p:spPr>
          <a:xfrm>
            <a:off x="4055011" y="2476002"/>
            <a:ext cx="1828799" cy="490370"/>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2868" rIns="154686" bIns="82868" numCol="1" spcCol="1270" anchor="ctr" anchorCtr="0">
            <a:noAutofit/>
          </a:bodyPr>
          <a:lstStyle/>
          <a:p>
            <a:pPr defTabSz="966788">
              <a:lnSpc>
                <a:spcPct val="90000"/>
              </a:lnSpc>
              <a:spcBef>
                <a:spcPct val="0"/>
              </a:spcBef>
              <a:spcAft>
                <a:spcPct val="35000"/>
              </a:spcAft>
            </a:pPr>
            <a:r>
              <a:rPr lang="en-GB" sz="1500"/>
              <a:t>Inflammatory bowel disease</a:t>
            </a:r>
          </a:p>
        </p:txBody>
      </p:sp>
      <p:sp>
        <p:nvSpPr>
          <p:cNvPr id="52" name="Rectangle 51">
            <a:extLst>
              <a:ext uri="{FF2B5EF4-FFF2-40B4-BE49-F238E27FC236}">
                <a16:creationId xmlns:a16="http://schemas.microsoft.com/office/drawing/2014/main" id="{9302351F-59A3-4609-454A-5E4DAA932534}"/>
              </a:ext>
            </a:extLst>
          </p:cNvPr>
          <p:cNvSpPr/>
          <p:nvPr/>
        </p:nvSpPr>
        <p:spPr>
          <a:xfrm>
            <a:off x="6949281" y="2481749"/>
            <a:ext cx="1828800" cy="494095"/>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0011" rIns="149352" bIns="80010" numCol="1" spcCol="1270" anchor="ctr" anchorCtr="0">
            <a:noAutofit/>
          </a:bodyPr>
          <a:lstStyle/>
          <a:p>
            <a:pPr defTabSz="933450">
              <a:lnSpc>
                <a:spcPct val="90000"/>
              </a:lnSpc>
              <a:spcBef>
                <a:spcPct val="0"/>
              </a:spcBef>
              <a:spcAft>
                <a:spcPct val="35000"/>
              </a:spcAft>
            </a:pPr>
            <a:r>
              <a:rPr lang="en-GB" sz="1500"/>
              <a:t>Psoriasis</a:t>
            </a:r>
          </a:p>
        </p:txBody>
      </p:sp>
      <p:sp>
        <p:nvSpPr>
          <p:cNvPr id="53" name="Chevron 52">
            <a:extLst>
              <a:ext uri="{FF2B5EF4-FFF2-40B4-BE49-F238E27FC236}">
                <a16:creationId xmlns:a16="http://schemas.microsoft.com/office/drawing/2014/main" id="{2951D5BF-00BC-30AB-17F7-4F10F399CB24}"/>
              </a:ext>
            </a:extLst>
          </p:cNvPr>
          <p:cNvSpPr/>
          <p:nvPr/>
        </p:nvSpPr>
        <p:spPr>
          <a:xfrm rot="10800000">
            <a:off x="975676" y="2177696"/>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4" name="Chevron 53">
            <a:extLst>
              <a:ext uri="{FF2B5EF4-FFF2-40B4-BE49-F238E27FC236}">
                <a16:creationId xmlns:a16="http://schemas.microsoft.com/office/drawing/2014/main" id="{512CC7F6-5B25-99CC-692C-8203702E0DED}"/>
              </a:ext>
            </a:extLst>
          </p:cNvPr>
          <p:cNvSpPr/>
          <p:nvPr/>
        </p:nvSpPr>
        <p:spPr>
          <a:xfrm rot="10800000">
            <a:off x="975676" y="2808959"/>
            <a:ext cx="392784" cy="49409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5" name="Chevron 54">
            <a:extLst>
              <a:ext uri="{FF2B5EF4-FFF2-40B4-BE49-F238E27FC236}">
                <a16:creationId xmlns:a16="http://schemas.microsoft.com/office/drawing/2014/main" id="{F43CB620-E579-8233-2C43-E4C71E442E42}"/>
              </a:ext>
            </a:extLst>
          </p:cNvPr>
          <p:cNvSpPr/>
          <p:nvPr/>
        </p:nvSpPr>
        <p:spPr>
          <a:xfrm rot="10800000">
            <a:off x="975676" y="3432455"/>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6" name="Chevron 55">
            <a:extLst>
              <a:ext uri="{FF2B5EF4-FFF2-40B4-BE49-F238E27FC236}">
                <a16:creationId xmlns:a16="http://schemas.microsoft.com/office/drawing/2014/main" id="{33615D15-1C7C-76DC-F582-98200C2E44B6}"/>
              </a:ext>
            </a:extLst>
          </p:cNvPr>
          <p:cNvSpPr/>
          <p:nvPr/>
        </p:nvSpPr>
        <p:spPr>
          <a:xfrm rot="10800000">
            <a:off x="3862871" y="2476002"/>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7" name="Chevron 56">
            <a:extLst>
              <a:ext uri="{FF2B5EF4-FFF2-40B4-BE49-F238E27FC236}">
                <a16:creationId xmlns:a16="http://schemas.microsoft.com/office/drawing/2014/main" id="{8270F4DF-4CFE-8F26-7580-375CE1607EED}"/>
              </a:ext>
            </a:extLst>
          </p:cNvPr>
          <p:cNvSpPr/>
          <p:nvPr/>
        </p:nvSpPr>
        <p:spPr>
          <a:xfrm rot="10800000">
            <a:off x="6755950" y="2481749"/>
            <a:ext cx="392784" cy="494095"/>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8" name="Chevron 57">
            <a:extLst>
              <a:ext uri="{FF2B5EF4-FFF2-40B4-BE49-F238E27FC236}">
                <a16:creationId xmlns:a16="http://schemas.microsoft.com/office/drawing/2014/main" id="{E87DCA84-A770-0710-7C60-B1CF0BC7B63B}"/>
              </a:ext>
            </a:extLst>
          </p:cNvPr>
          <p:cNvSpPr/>
          <p:nvPr/>
        </p:nvSpPr>
        <p:spPr>
          <a:xfrm rot="10800000">
            <a:off x="6752125" y="3102997"/>
            <a:ext cx="392784" cy="49037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0" name="Chevron 59">
            <a:extLst>
              <a:ext uri="{FF2B5EF4-FFF2-40B4-BE49-F238E27FC236}">
                <a16:creationId xmlns:a16="http://schemas.microsoft.com/office/drawing/2014/main" id="{262C19E7-04F5-D965-250E-5E85BD37587A}"/>
              </a:ext>
            </a:extLst>
          </p:cNvPr>
          <p:cNvSpPr/>
          <p:nvPr/>
        </p:nvSpPr>
        <p:spPr>
          <a:xfrm rot="10800000">
            <a:off x="302490" y="2177696"/>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1" name="Chevron 60">
            <a:extLst>
              <a:ext uri="{FF2B5EF4-FFF2-40B4-BE49-F238E27FC236}">
                <a16:creationId xmlns:a16="http://schemas.microsoft.com/office/drawing/2014/main" id="{DD260EBA-34CB-3F37-DB4F-2045B4A02D98}"/>
              </a:ext>
            </a:extLst>
          </p:cNvPr>
          <p:cNvSpPr/>
          <p:nvPr/>
        </p:nvSpPr>
        <p:spPr>
          <a:xfrm rot="10800000">
            <a:off x="302490" y="2805076"/>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3" name="Chevron 62">
            <a:extLst>
              <a:ext uri="{FF2B5EF4-FFF2-40B4-BE49-F238E27FC236}">
                <a16:creationId xmlns:a16="http://schemas.microsoft.com/office/drawing/2014/main" id="{58E28FB0-7A34-92CA-F91E-2A8E303CA46B}"/>
              </a:ext>
            </a:extLst>
          </p:cNvPr>
          <p:cNvSpPr/>
          <p:nvPr/>
        </p:nvSpPr>
        <p:spPr>
          <a:xfrm rot="10800000">
            <a:off x="302490" y="3426233"/>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4" name="Chevron 63">
            <a:extLst>
              <a:ext uri="{FF2B5EF4-FFF2-40B4-BE49-F238E27FC236}">
                <a16:creationId xmlns:a16="http://schemas.microsoft.com/office/drawing/2014/main" id="{1CC140A8-0996-F94E-F6B9-6DFAA6F309BC}"/>
              </a:ext>
            </a:extLst>
          </p:cNvPr>
          <p:cNvSpPr/>
          <p:nvPr/>
        </p:nvSpPr>
        <p:spPr>
          <a:xfrm rot="10800000">
            <a:off x="3177248" y="2479481"/>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5" name="Chevron 64">
            <a:extLst>
              <a:ext uri="{FF2B5EF4-FFF2-40B4-BE49-F238E27FC236}">
                <a16:creationId xmlns:a16="http://schemas.microsoft.com/office/drawing/2014/main" id="{8B0D671B-C4F6-B2DC-73D8-5F540CBD75E1}"/>
              </a:ext>
            </a:extLst>
          </p:cNvPr>
          <p:cNvSpPr/>
          <p:nvPr/>
        </p:nvSpPr>
        <p:spPr>
          <a:xfrm rot="10800000">
            <a:off x="6070327" y="2474840"/>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66" name="Chevron 65">
            <a:extLst>
              <a:ext uri="{FF2B5EF4-FFF2-40B4-BE49-F238E27FC236}">
                <a16:creationId xmlns:a16="http://schemas.microsoft.com/office/drawing/2014/main" id="{81FB8B3F-8D14-DCC1-F0CF-FF006FB5338F}"/>
              </a:ext>
            </a:extLst>
          </p:cNvPr>
          <p:cNvSpPr/>
          <p:nvPr/>
        </p:nvSpPr>
        <p:spPr>
          <a:xfrm rot="10800000">
            <a:off x="6066502" y="3096775"/>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
        <p:nvSpPr>
          <p:cNvPr id="59" name="Freeform 18">
            <a:extLst>
              <a:ext uri="{FF2B5EF4-FFF2-40B4-BE49-F238E27FC236}">
                <a16:creationId xmlns:a16="http://schemas.microsoft.com/office/drawing/2014/main" id="{0BFC89B4-137F-08A1-C0D2-BB9FE9D4FE70}"/>
              </a:ext>
            </a:extLst>
          </p:cNvPr>
          <p:cNvSpPr>
            <a:spLocks noEditPoints="1"/>
          </p:cNvSpPr>
          <p:nvPr/>
        </p:nvSpPr>
        <p:spPr bwMode="auto">
          <a:xfrm>
            <a:off x="498418" y="2239621"/>
            <a:ext cx="427304" cy="398154"/>
          </a:xfrm>
          <a:custGeom>
            <a:avLst/>
            <a:gdLst>
              <a:gd name="T0" fmla="*/ 51 w 199"/>
              <a:gd name="T1" fmla="*/ 123 h 198"/>
              <a:gd name="T2" fmla="*/ 39 w 199"/>
              <a:gd name="T3" fmla="*/ 189 h 198"/>
              <a:gd name="T4" fmla="*/ 70 w 199"/>
              <a:gd name="T5" fmla="*/ 197 h 198"/>
              <a:gd name="T6" fmla="*/ 125 w 199"/>
              <a:gd name="T7" fmla="*/ 142 h 198"/>
              <a:gd name="T8" fmla="*/ 86 w 199"/>
              <a:gd name="T9" fmla="*/ 103 h 198"/>
              <a:gd name="T10" fmla="*/ 100 w 199"/>
              <a:gd name="T11" fmla="*/ 172 h 198"/>
              <a:gd name="T12" fmla="*/ 44 w 199"/>
              <a:gd name="T13" fmla="*/ 184 h 198"/>
              <a:gd name="T14" fmla="*/ 56 w 199"/>
              <a:gd name="T15" fmla="*/ 128 h 198"/>
              <a:gd name="T16" fmla="*/ 95 w 199"/>
              <a:gd name="T17" fmla="*/ 110 h 198"/>
              <a:gd name="T18" fmla="*/ 117 w 199"/>
              <a:gd name="T19" fmla="*/ 141 h 198"/>
              <a:gd name="T20" fmla="*/ 66 w 199"/>
              <a:gd name="T21" fmla="*/ 138 h 198"/>
              <a:gd name="T22" fmla="*/ 72 w 199"/>
              <a:gd name="T23" fmla="*/ 170 h 198"/>
              <a:gd name="T24" fmla="*/ 94 w 199"/>
              <a:gd name="T25" fmla="*/ 134 h 198"/>
              <a:gd name="T26" fmla="*/ 90 w 199"/>
              <a:gd name="T27" fmla="*/ 146 h 198"/>
              <a:gd name="T28" fmla="*/ 68 w 199"/>
              <a:gd name="T29" fmla="*/ 160 h 198"/>
              <a:gd name="T30" fmla="*/ 84 w 199"/>
              <a:gd name="T31" fmla="*/ 138 h 198"/>
              <a:gd name="T32" fmla="*/ 90 w 199"/>
              <a:gd name="T33" fmla="*/ 146 h 198"/>
              <a:gd name="T34" fmla="*/ 180 w 199"/>
              <a:gd name="T35" fmla="*/ 48 h 198"/>
              <a:gd name="T36" fmla="*/ 119 w 199"/>
              <a:gd name="T37" fmla="*/ 39 h 198"/>
              <a:gd name="T38" fmla="*/ 128 w 199"/>
              <a:gd name="T39" fmla="*/ 100 h 198"/>
              <a:gd name="T40" fmla="*/ 166 w 199"/>
              <a:gd name="T41" fmla="*/ 118 h 198"/>
              <a:gd name="T42" fmla="*/ 197 w 199"/>
              <a:gd name="T43" fmla="*/ 80 h 198"/>
              <a:gd name="T44" fmla="*/ 161 w 199"/>
              <a:gd name="T45" fmla="*/ 110 h 198"/>
              <a:gd name="T46" fmla="*/ 118 w 199"/>
              <a:gd name="T47" fmla="*/ 67 h 198"/>
              <a:gd name="T48" fmla="*/ 142 w 199"/>
              <a:gd name="T49" fmla="*/ 38 h 198"/>
              <a:gd name="T50" fmla="*/ 175 w 199"/>
              <a:gd name="T51" fmla="*/ 53 h 198"/>
              <a:gd name="T52" fmla="*/ 184 w 199"/>
              <a:gd name="T53" fmla="*/ 104 h 198"/>
              <a:gd name="T54" fmla="*/ 152 w 199"/>
              <a:gd name="T55" fmla="*/ 56 h 198"/>
              <a:gd name="T56" fmla="*/ 136 w 199"/>
              <a:gd name="T57" fmla="*/ 72 h 198"/>
              <a:gd name="T58" fmla="*/ 156 w 199"/>
              <a:gd name="T59" fmla="*/ 92 h 198"/>
              <a:gd name="T60" fmla="*/ 169 w 199"/>
              <a:gd name="T61" fmla="*/ 89 h 198"/>
              <a:gd name="T62" fmla="*/ 164 w 199"/>
              <a:gd name="T63" fmla="*/ 64 h 198"/>
              <a:gd name="T64" fmla="*/ 158 w 199"/>
              <a:gd name="T65" fmla="*/ 84 h 198"/>
              <a:gd name="T66" fmla="*/ 144 w 199"/>
              <a:gd name="T67" fmla="*/ 70 h 198"/>
              <a:gd name="T68" fmla="*/ 148 w 199"/>
              <a:gd name="T69" fmla="*/ 64 h 198"/>
              <a:gd name="T70" fmla="*/ 159 w 199"/>
              <a:gd name="T71" fmla="*/ 69 h 198"/>
              <a:gd name="T72" fmla="*/ 163 w 199"/>
              <a:gd name="T73" fmla="*/ 83 h 198"/>
              <a:gd name="T74" fmla="*/ 80 w 199"/>
              <a:gd name="T75" fmla="*/ 24 h 198"/>
              <a:gd name="T76" fmla="*/ 24 w 199"/>
              <a:gd name="T77" fmla="*/ 80 h 198"/>
              <a:gd name="T78" fmla="*/ 89 w 199"/>
              <a:gd name="T79" fmla="*/ 89 h 198"/>
              <a:gd name="T80" fmla="*/ 39 w 199"/>
              <a:gd name="T81" fmla="*/ 14 h 198"/>
              <a:gd name="T82" fmla="*/ 83 w 199"/>
              <a:gd name="T83" fmla="*/ 83 h 198"/>
              <a:gd name="T84" fmla="*/ 21 w 199"/>
              <a:gd name="T85" fmla="*/ 21 h 198"/>
              <a:gd name="T86" fmla="*/ 36 w 199"/>
              <a:gd name="T87" fmla="*/ 36 h 198"/>
              <a:gd name="T88" fmla="*/ 59 w 199"/>
              <a:gd name="T89" fmla="*/ 72 h 198"/>
              <a:gd name="T90" fmla="*/ 63 w 199"/>
              <a:gd name="T91" fmla="*/ 41 h 198"/>
              <a:gd name="T92" fmla="*/ 46 w 199"/>
              <a:gd name="T93" fmla="*/ 58 h 198"/>
              <a:gd name="T94" fmla="*/ 45 w 199"/>
              <a:gd name="T95" fmla="*/ 40 h 198"/>
              <a:gd name="T96" fmla="*/ 63 w 199"/>
              <a:gd name="T97" fmla="*/ 6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198">
                <a:moveTo>
                  <a:pt x="86" y="103"/>
                </a:moveTo>
                <a:cubicBezTo>
                  <a:pt x="74" y="105"/>
                  <a:pt x="61" y="112"/>
                  <a:pt x="51" y="123"/>
                </a:cubicBezTo>
                <a:cubicBezTo>
                  <a:pt x="40" y="133"/>
                  <a:pt x="33" y="146"/>
                  <a:pt x="31" y="158"/>
                </a:cubicBezTo>
                <a:cubicBezTo>
                  <a:pt x="28" y="171"/>
                  <a:pt x="31" y="182"/>
                  <a:pt x="39" y="189"/>
                </a:cubicBezTo>
                <a:cubicBezTo>
                  <a:pt x="44" y="195"/>
                  <a:pt x="52" y="198"/>
                  <a:pt x="61" y="198"/>
                </a:cubicBezTo>
                <a:cubicBezTo>
                  <a:pt x="64" y="198"/>
                  <a:pt x="67" y="198"/>
                  <a:pt x="70" y="197"/>
                </a:cubicBezTo>
                <a:cubicBezTo>
                  <a:pt x="82" y="195"/>
                  <a:pt x="95" y="188"/>
                  <a:pt x="105" y="177"/>
                </a:cubicBezTo>
                <a:cubicBezTo>
                  <a:pt x="116" y="167"/>
                  <a:pt x="123" y="154"/>
                  <a:pt x="125" y="142"/>
                </a:cubicBezTo>
                <a:cubicBezTo>
                  <a:pt x="128" y="129"/>
                  <a:pt x="125" y="118"/>
                  <a:pt x="117" y="111"/>
                </a:cubicBezTo>
                <a:cubicBezTo>
                  <a:pt x="110" y="103"/>
                  <a:pt x="99" y="100"/>
                  <a:pt x="86" y="103"/>
                </a:cubicBezTo>
                <a:close/>
                <a:moveTo>
                  <a:pt x="117" y="141"/>
                </a:moveTo>
                <a:cubicBezTo>
                  <a:pt x="115" y="151"/>
                  <a:pt x="109" y="162"/>
                  <a:pt x="100" y="172"/>
                </a:cubicBezTo>
                <a:cubicBezTo>
                  <a:pt x="90" y="181"/>
                  <a:pt x="79" y="187"/>
                  <a:pt x="69" y="189"/>
                </a:cubicBezTo>
                <a:cubicBezTo>
                  <a:pt x="58" y="191"/>
                  <a:pt x="50" y="189"/>
                  <a:pt x="44" y="184"/>
                </a:cubicBezTo>
                <a:cubicBezTo>
                  <a:pt x="39" y="178"/>
                  <a:pt x="37" y="170"/>
                  <a:pt x="39" y="159"/>
                </a:cubicBezTo>
                <a:cubicBezTo>
                  <a:pt x="41" y="149"/>
                  <a:pt x="47" y="138"/>
                  <a:pt x="56" y="128"/>
                </a:cubicBezTo>
                <a:cubicBezTo>
                  <a:pt x="66" y="119"/>
                  <a:pt x="77" y="113"/>
                  <a:pt x="87" y="111"/>
                </a:cubicBezTo>
                <a:cubicBezTo>
                  <a:pt x="90" y="110"/>
                  <a:pt x="93" y="110"/>
                  <a:pt x="95" y="110"/>
                </a:cubicBezTo>
                <a:cubicBezTo>
                  <a:pt x="102" y="110"/>
                  <a:pt x="108" y="112"/>
                  <a:pt x="112" y="116"/>
                </a:cubicBezTo>
                <a:cubicBezTo>
                  <a:pt x="117" y="122"/>
                  <a:pt x="119" y="130"/>
                  <a:pt x="117" y="141"/>
                </a:cubicBezTo>
                <a:close/>
                <a:moveTo>
                  <a:pt x="80" y="130"/>
                </a:moveTo>
                <a:cubicBezTo>
                  <a:pt x="75" y="131"/>
                  <a:pt x="70" y="134"/>
                  <a:pt x="66" y="138"/>
                </a:cubicBezTo>
                <a:cubicBezTo>
                  <a:pt x="57" y="147"/>
                  <a:pt x="55" y="159"/>
                  <a:pt x="62" y="166"/>
                </a:cubicBezTo>
                <a:cubicBezTo>
                  <a:pt x="65" y="169"/>
                  <a:pt x="68" y="170"/>
                  <a:pt x="72" y="170"/>
                </a:cubicBezTo>
                <a:cubicBezTo>
                  <a:pt x="78" y="170"/>
                  <a:pt x="85" y="167"/>
                  <a:pt x="90" y="162"/>
                </a:cubicBezTo>
                <a:cubicBezTo>
                  <a:pt x="99" y="153"/>
                  <a:pt x="101" y="141"/>
                  <a:pt x="94" y="134"/>
                </a:cubicBezTo>
                <a:cubicBezTo>
                  <a:pt x="91" y="131"/>
                  <a:pt x="86" y="129"/>
                  <a:pt x="80" y="130"/>
                </a:cubicBezTo>
                <a:close/>
                <a:moveTo>
                  <a:pt x="90" y="146"/>
                </a:moveTo>
                <a:cubicBezTo>
                  <a:pt x="89" y="150"/>
                  <a:pt x="87" y="153"/>
                  <a:pt x="84" y="156"/>
                </a:cubicBezTo>
                <a:cubicBezTo>
                  <a:pt x="79" y="162"/>
                  <a:pt x="71" y="164"/>
                  <a:pt x="68" y="160"/>
                </a:cubicBezTo>
                <a:cubicBezTo>
                  <a:pt x="64" y="157"/>
                  <a:pt x="66" y="149"/>
                  <a:pt x="72" y="144"/>
                </a:cubicBezTo>
                <a:cubicBezTo>
                  <a:pt x="75" y="140"/>
                  <a:pt x="80" y="138"/>
                  <a:pt x="84" y="138"/>
                </a:cubicBezTo>
                <a:cubicBezTo>
                  <a:pt x="85" y="138"/>
                  <a:pt x="87" y="139"/>
                  <a:pt x="88" y="140"/>
                </a:cubicBezTo>
                <a:cubicBezTo>
                  <a:pt x="90" y="142"/>
                  <a:pt x="90" y="145"/>
                  <a:pt x="90" y="146"/>
                </a:cubicBezTo>
                <a:close/>
                <a:moveTo>
                  <a:pt x="197" y="80"/>
                </a:moveTo>
                <a:cubicBezTo>
                  <a:pt x="196" y="68"/>
                  <a:pt x="190" y="57"/>
                  <a:pt x="180" y="48"/>
                </a:cubicBezTo>
                <a:cubicBezTo>
                  <a:pt x="171" y="38"/>
                  <a:pt x="160" y="32"/>
                  <a:pt x="148" y="31"/>
                </a:cubicBezTo>
                <a:cubicBezTo>
                  <a:pt x="137" y="29"/>
                  <a:pt x="126" y="32"/>
                  <a:pt x="119" y="39"/>
                </a:cubicBezTo>
                <a:cubicBezTo>
                  <a:pt x="112" y="46"/>
                  <a:pt x="109" y="57"/>
                  <a:pt x="111" y="68"/>
                </a:cubicBezTo>
                <a:cubicBezTo>
                  <a:pt x="112" y="80"/>
                  <a:pt x="118" y="91"/>
                  <a:pt x="128" y="100"/>
                </a:cubicBezTo>
                <a:cubicBezTo>
                  <a:pt x="137" y="110"/>
                  <a:pt x="148" y="116"/>
                  <a:pt x="160" y="117"/>
                </a:cubicBezTo>
                <a:cubicBezTo>
                  <a:pt x="162" y="118"/>
                  <a:pt x="164" y="118"/>
                  <a:pt x="166" y="118"/>
                </a:cubicBezTo>
                <a:cubicBezTo>
                  <a:pt x="175" y="118"/>
                  <a:pt x="183" y="115"/>
                  <a:pt x="189" y="109"/>
                </a:cubicBezTo>
                <a:cubicBezTo>
                  <a:pt x="196" y="102"/>
                  <a:pt x="199" y="91"/>
                  <a:pt x="197" y="80"/>
                </a:cubicBezTo>
                <a:close/>
                <a:moveTo>
                  <a:pt x="184" y="104"/>
                </a:moveTo>
                <a:cubicBezTo>
                  <a:pt x="178" y="109"/>
                  <a:pt x="170" y="111"/>
                  <a:pt x="161" y="110"/>
                </a:cubicBezTo>
                <a:cubicBezTo>
                  <a:pt x="151" y="108"/>
                  <a:pt x="141" y="103"/>
                  <a:pt x="133" y="95"/>
                </a:cubicBezTo>
                <a:cubicBezTo>
                  <a:pt x="125" y="87"/>
                  <a:pt x="120" y="77"/>
                  <a:pt x="118" y="67"/>
                </a:cubicBezTo>
                <a:cubicBezTo>
                  <a:pt x="117" y="58"/>
                  <a:pt x="119" y="50"/>
                  <a:pt x="124" y="44"/>
                </a:cubicBezTo>
                <a:cubicBezTo>
                  <a:pt x="129" y="40"/>
                  <a:pt x="135" y="38"/>
                  <a:pt x="142" y="38"/>
                </a:cubicBezTo>
                <a:cubicBezTo>
                  <a:pt x="143" y="38"/>
                  <a:pt x="145" y="38"/>
                  <a:pt x="147" y="38"/>
                </a:cubicBezTo>
                <a:cubicBezTo>
                  <a:pt x="157" y="40"/>
                  <a:pt x="167" y="45"/>
                  <a:pt x="175" y="53"/>
                </a:cubicBezTo>
                <a:cubicBezTo>
                  <a:pt x="183" y="61"/>
                  <a:pt x="188" y="71"/>
                  <a:pt x="190" y="81"/>
                </a:cubicBezTo>
                <a:cubicBezTo>
                  <a:pt x="191" y="90"/>
                  <a:pt x="189" y="98"/>
                  <a:pt x="184" y="104"/>
                </a:cubicBezTo>
                <a:close/>
                <a:moveTo>
                  <a:pt x="164" y="64"/>
                </a:moveTo>
                <a:cubicBezTo>
                  <a:pt x="161" y="60"/>
                  <a:pt x="156" y="57"/>
                  <a:pt x="152" y="56"/>
                </a:cubicBezTo>
                <a:cubicBezTo>
                  <a:pt x="147" y="55"/>
                  <a:pt x="142" y="56"/>
                  <a:pt x="139" y="59"/>
                </a:cubicBezTo>
                <a:cubicBezTo>
                  <a:pt x="136" y="62"/>
                  <a:pt x="135" y="67"/>
                  <a:pt x="136" y="72"/>
                </a:cubicBezTo>
                <a:cubicBezTo>
                  <a:pt x="137" y="76"/>
                  <a:pt x="140" y="81"/>
                  <a:pt x="144" y="84"/>
                </a:cubicBezTo>
                <a:cubicBezTo>
                  <a:pt x="147" y="88"/>
                  <a:pt x="152" y="91"/>
                  <a:pt x="156" y="92"/>
                </a:cubicBezTo>
                <a:cubicBezTo>
                  <a:pt x="158" y="92"/>
                  <a:pt x="159" y="92"/>
                  <a:pt x="160" y="92"/>
                </a:cubicBezTo>
                <a:cubicBezTo>
                  <a:pt x="164" y="92"/>
                  <a:pt x="167" y="91"/>
                  <a:pt x="169" y="89"/>
                </a:cubicBezTo>
                <a:cubicBezTo>
                  <a:pt x="172" y="86"/>
                  <a:pt x="173" y="81"/>
                  <a:pt x="172" y="76"/>
                </a:cubicBezTo>
                <a:cubicBezTo>
                  <a:pt x="171" y="72"/>
                  <a:pt x="168" y="67"/>
                  <a:pt x="164" y="64"/>
                </a:cubicBezTo>
                <a:close/>
                <a:moveTo>
                  <a:pt x="163" y="83"/>
                </a:moveTo>
                <a:cubicBezTo>
                  <a:pt x="162" y="84"/>
                  <a:pt x="160" y="84"/>
                  <a:pt x="158" y="84"/>
                </a:cubicBezTo>
                <a:cubicBezTo>
                  <a:pt x="155" y="83"/>
                  <a:pt x="152" y="81"/>
                  <a:pt x="149" y="79"/>
                </a:cubicBezTo>
                <a:cubicBezTo>
                  <a:pt x="147" y="76"/>
                  <a:pt x="145" y="73"/>
                  <a:pt x="144" y="70"/>
                </a:cubicBezTo>
                <a:cubicBezTo>
                  <a:pt x="144" y="68"/>
                  <a:pt x="144" y="66"/>
                  <a:pt x="145" y="65"/>
                </a:cubicBezTo>
                <a:cubicBezTo>
                  <a:pt x="146" y="64"/>
                  <a:pt x="147" y="64"/>
                  <a:pt x="148" y="64"/>
                </a:cubicBezTo>
                <a:cubicBezTo>
                  <a:pt x="148" y="64"/>
                  <a:pt x="149" y="64"/>
                  <a:pt x="150" y="64"/>
                </a:cubicBezTo>
                <a:cubicBezTo>
                  <a:pt x="153" y="65"/>
                  <a:pt x="156" y="67"/>
                  <a:pt x="159" y="69"/>
                </a:cubicBezTo>
                <a:cubicBezTo>
                  <a:pt x="161" y="72"/>
                  <a:pt x="163" y="75"/>
                  <a:pt x="164" y="78"/>
                </a:cubicBezTo>
                <a:cubicBezTo>
                  <a:pt x="164" y="80"/>
                  <a:pt x="164" y="82"/>
                  <a:pt x="163" y="83"/>
                </a:cubicBezTo>
                <a:close/>
                <a:moveTo>
                  <a:pt x="89" y="89"/>
                </a:moveTo>
                <a:cubicBezTo>
                  <a:pt x="104" y="74"/>
                  <a:pt x="100" y="45"/>
                  <a:pt x="80" y="24"/>
                </a:cubicBezTo>
                <a:cubicBezTo>
                  <a:pt x="59" y="4"/>
                  <a:pt x="30" y="0"/>
                  <a:pt x="15" y="15"/>
                </a:cubicBezTo>
                <a:cubicBezTo>
                  <a:pt x="0" y="30"/>
                  <a:pt x="4" y="59"/>
                  <a:pt x="24" y="80"/>
                </a:cubicBezTo>
                <a:cubicBezTo>
                  <a:pt x="36" y="92"/>
                  <a:pt x="52" y="98"/>
                  <a:pt x="65" y="98"/>
                </a:cubicBezTo>
                <a:cubicBezTo>
                  <a:pt x="74" y="98"/>
                  <a:pt x="83" y="95"/>
                  <a:pt x="89" y="89"/>
                </a:cubicBezTo>
                <a:close/>
                <a:moveTo>
                  <a:pt x="21" y="21"/>
                </a:moveTo>
                <a:cubicBezTo>
                  <a:pt x="25" y="16"/>
                  <a:pt x="32" y="14"/>
                  <a:pt x="39" y="14"/>
                </a:cubicBezTo>
                <a:cubicBezTo>
                  <a:pt x="50" y="14"/>
                  <a:pt x="63" y="20"/>
                  <a:pt x="74" y="30"/>
                </a:cubicBezTo>
                <a:cubicBezTo>
                  <a:pt x="91" y="47"/>
                  <a:pt x="95" y="71"/>
                  <a:pt x="83" y="83"/>
                </a:cubicBezTo>
                <a:cubicBezTo>
                  <a:pt x="71" y="95"/>
                  <a:pt x="47" y="91"/>
                  <a:pt x="30" y="74"/>
                </a:cubicBezTo>
                <a:cubicBezTo>
                  <a:pt x="13" y="57"/>
                  <a:pt x="9" y="33"/>
                  <a:pt x="21" y="21"/>
                </a:cubicBezTo>
                <a:close/>
                <a:moveTo>
                  <a:pt x="63" y="41"/>
                </a:moveTo>
                <a:cubicBezTo>
                  <a:pt x="54" y="31"/>
                  <a:pt x="42" y="29"/>
                  <a:pt x="36" y="36"/>
                </a:cubicBezTo>
                <a:cubicBezTo>
                  <a:pt x="29" y="42"/>
                  <a:pt x="31" y="54"/>
                  <a:pt x="41" y="63"/>
                </a:cubicBezTo>
                <a:cubicBezTo>
                  <a:pt x="46" y="69"/>
                  <a:pt x="53" y="72"/>
                  <a:pt x="59" y="72"/>
                </a:cubicBezTo>
                <a:cubicBezTo>
                  <a:pt x="63" y="72"/>
                  <a:pt x="66" y="71"/>
                  <a:pt x="68" y="68"/>
                </a:cubicBezTo>
                <a:cubicBezTo>
                  <a:pt x="75" y="62"/>
                  <a:pt x="73" y="50"/>
                  <a:pt x="63" y="41"/>
                </a:cubicBezTo>
                <a:close/>
                <a:moveTo>
                  <a:pt x="63" y="63"/>
                </a:moveTo>
                <a:cubicBezTo>
                  <a:pt x="60" y="65"/>
                  <a:pt x="52" y="64"/>
                  <a:pt x="46" y="58"/>
                </a:cubicBezTo>
                <a:cubicBezTo>
                  <a:pt x="40" y="52"/>
                  <a:pt x="39" y="44"/>
                  <a:pt x="41" y="41"/>
                </a:cubicBezTo>
                <a:cubicBezTo>
                  <a:pt x="42" y="40"/>
                  <a:pt x="43" y="40"/>
                  <a:pt x="45" y="40"/>
                </a:cubicBezTo>
                <a:cubicBezTo>
                  <a:pt x="48" y="40"/>
                  <a:pt x="53" y="42"/>
                  <a:pt x="58" y="46"/>
                </a:cubicBezTo>
                <a:cubicBezTo>
                  <a:pt x="64" y="52"/>
                  <a:pt x="65" y="60"/>
                  <a:pt x="63" y="6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23">
            <a:extLst>
              <a:ext uri="{FF2B5EF4-FFF2-40B4-BE49-F238E27FC236}">
                <a16:creationId xmlns:a16="http://schemas.microsoft.com/office/drawing/2014/main" id="{01BB8978-21BF-5746-5B7F-D034559864B1}"/>
              </a:ext>
            </a:extLst>
          </p:cNvPr>
          <p:cNvSpPr>
            <a:spLocks/>
          </p:cNvSpPr>
          <p:nvPr/>
        </p:nvSpPr>
        <p:spPr bwMode="auto">
          <a:xfrm>
            <a:off x="3410812" y="2557108"/>
            <a:ext cx="375218" cy="350554"/>
          </a:xfrm>
          <a:custGeom>
            <a:avLst/>
            <a:gdLst>
              <a:gd name="T0" fmla="*/ 170 w 192"/>
              <a:gd name="T1" fmla="*/ 0 h 192"/>
              <a:gd name="T2" fmla="*/ 116 w 192"/>
              <a:gd name="T3" fmla="*/ 22 h 192"/>
              <a:gd name="T4" fmla="*/ 61 w 192"/>
              <a:gd name="T5" fmla="*/ 18 h 192"/>
              <a:gd name="T6" fmla="*/ 35 w 192"/>
              <a:gd name="T7" fmla="*/ 12 h 192"/>
              <a:gd name="T8" fmla="*/ 4 w 192"/>
              <a:gd name="T9" fmla="*/ 42 h 192"/>
              <a:gd name="T10" fmla="*/ 0 w 192"/>
              <a:gd name="T11" fmla="*/ 78 h 192"/>
              <a:gd name="T12" fmla="*/ 20 w 192"/>
              <a:gd name="T13" fmla="*/ 128 h 192"/>
              <a:gd name="T14" fmla="*/ 28 w 192"/>
              <a:gd name="T15" fmla="*/ 140 h 192"/>
              <a:gd name="T16" fmla="*/ 42 w 192"/>
              <a:gd name="T17" fmla="*/ 88 h 192"/>
              <a:gd name="T18" fmla="*/ 44 w 192"/>
              <a:gd name="T19" fmla="*/ 55 h 192"/>
              <a:gd name="T20" fmla="*/ 71 w 192"/>
              <a:gd name="T21" fmla="*/ 60 h 192"/>
              <a:gd name="T22" fmla="*/ 108 w 192"/>
              <a:gd name="T23" fmla="*/ 64 h 192"/>
              <a:gd name="T24" fmla="*/ 148 w 192"/>
              <a:gd name="T25" fmla="*/ 51 h 192"/>
              <a:gd name="T26" fmla="*/ 148 w 192"/>
              <a:gd name="T27" fmla="*/ 70 h 192"/>
              <a:gd name="T28" fmla="*/ 152 w 192"/>
              <a:gd name="T29" fmla="*/ 106 h 192"/>
              <a:gd name="T30" fmla="*/ 126 w 192"/>
              <a:gd name="T31" fmla="*/ 120 h 192"/>
              <a:gd name="T32" fmla="*/ 76 w 192"/>
              <a:gd name="T33" fmla="*/ 136 h 192"/>
              <a:gd name="T34" fmla="*/ 89 w 192"/>
              <a:gd name="T35" fmla="*/ 192 h 192"/>
              <a:gd name="T36" fmla="*/ 96 w 192"/>
              <a:gd name="T37" fmla="*/ 124 h 192"/>
              <a:gd name="T38" fmla="*/ 122 w 192"/>
              <a:gd name="T39" fmla="*/ 126 h 192"/>
              <a:gd name="T40" fmla="*/ 151 w 192"/>
              <a:gd name="T41" fmla="*/ 125 h 192"/>
              <a:gd name="T42" fmla="*/ 156 w 192"/>
              <a:gd name="T43" fmla="*/ 118 h 192"/>
              <a:gd name="T44" fmla="*/ 156 w 192"/>
              <a:gd name="T45" fmla="*/ 94 h 192"/>
              <a:gd name="T46" fmla="*/ 156 w 192"/>
              <a:gd name="T47" fmla="*/ 70 h 192"/>
              <a:gd name="T48" fmla="*/ 157 w 192"/>
              <a:gd name="T49" fmla="*/ 52 h 192"/>
              <a:gd name="T50" fmla="*/ 164 w 192"/>
              <a:gd name="T51" fmla="*/ 40 h 192"/>
              <a:gd name="T52" fmla="*/ 125 w 192"/>
              <a:gd name="T53" fmla="*/ 51 h 192"/>
              <a:gd name="T54" fmla="*/ 92 w 192"/>
              <a:gd name="T55" fmla="*/ 54 h 192"/>
              <a:gd name="T56" fmla="*/ 51 w 192"/>
              <a:gd name="T57" fmla="*/ 49 h 192"/>
              <a:gd name="T58" fmla="*/ 22 w 192"/>
              <a:gd name="T59" fmla="*/ 44 h 192"/>
              <a:gd name="T60" fmla="*/ 34 w 192"/>
              <a:gd name="T61" fmla="*/ 62 h 192"/>
              <a:gd name="T62" fmla="*/ 35 w 192"/>
              <a:gd name="T63" fmla="*/ 84 h 192"/>
              <a:gd name="T64" fmla="*/ 28 w 192"/>
              <a:gd name="T65" fmla="*/ 120 h 192"/>
              <a:gd name="T66" fmla="*/ 20 w 192"/>
              <a:gd name="T67" fmla="*/ 112 h 192"/>
              <a:gd name="T68" fmla="*/ 11 w 192"/>
              <a:gd name="T69" fmla="*/ 95 h 192"/>
              <a:gd name="T70" fmla="*/ 10 w 192"/>
              <a:gd name="T71" fmla="*/ 70 h 192"/>
              <a:gd name="T72" fmla="*/ 10 w 192"/>
              <a:gd name="T73" fmla="*/ 46 h 192"/>
              <a:gd name="T74" fmla="*/ 22 w 192"/>
              <a:gd name="T75" fmla="*/ 16 h 192"/>
              <a:gd name="T76" fmla="*/ 38 w 192"/>
              <a:gd name="T77" fmla="*/ 20 h 192"/>
              <a:gd name="T78" fmla="*/ 70 w 192"/>
              <a:gd name="T79" fmla="*/ 29 h 192"/>
              <a:gd name="T80" fmla="*/ 100 w 192"/>
              <a:gd name="T81" fmla="*/ 30 h 192"/>
              <a:gd name="T82" fmla="*/ 134 w 192"/>
              <a:gd name="T83" fmla="*/ 24 h 192"/>
              <a:gd name="T84" fmla="*/ 154 w 192"/>
              <a:gd name="T85" fmla="*/ 16 h 192"/>
              <a:gd name="T86" fmla="*/ 170 w 192"/>
              <a:gd name="T87" fmla="*/ 8 h 192"/>
              <a:gd name="T88" fmla="*/ 182 w 192"/>
              <a:gd name="T89" fmla="*/ 38 h 192"/>
              <a:gd name="T90" fmla="*/ 182 w 192"/>
              <a:gd name="T91" fmla="*/ 62 h 192"/>
              <a:gd name="T92" fmla="*/ 182 w 192"/>
              <a:gd name="T93" fmla="*/ 86 h 192"/>
              <a:gd name="T94" fmla="*/ 182 w 192"/>
              <a:gd name="T95" fmla="*/ 110 h 192"/>
              <a:gd name="T96" fmla="*/ 176 w 192"/>
              <a:gd name="T97" fmla="*/ 133 h 192"/>
              <a:gd name="T98" fmla="*/ 156 w 192"/>
              <a:gd name="T99" fmla="*/ 147 h 192"/>
              <a:gd name="T100" fmla="*/ 122 w 192"/>
              <a:gd name="T101" fmla="*/ 150 h 192"/>
              <a:gd name="T102" fmla="*/ 96 w 192"/>
              <a:gd name="T103" fmla="*/ 141 h 192"/>
              <a:gd name="T104" fmla="*/ 105 w 192"/>
              <a:gd name="T105" fmla="*/ 158 h 192"/>
              <a:gd name="T106" fmla="*/ 104 w 192"/>
              <a:gd name="T107" fmla="*/ 192 h 192"/>
              <a:gd name="T108" fmla="*/ 114 w 192"/>
              <a:gd name="T109" fmla="*/ 160 h 192"/>
              <a:gd name="T110" fmla="*/ 153 w 192"/>
              <a:gd name="T111" fmla="*/ 154 h 192"/>
              <a:gd name="T112" fmla="*/ 192 w 192"/>
              <a:gd name="T113" fmla="*/ 118 h 192"/>
              <a:gd name="T114" fmla="*/ 188 w 192"/>
              <a:gd name="T115" fmla="*/ 82 h 192"/>
              <a:gd name="T116" fmla="*/ 192 w 192"/>
              <a:gd name="T117" fmla="*/ 4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188" y="34"/>
                </a:moveTo>
                <a:cubicBezTo>
                  <a:pt x="191" y="30"/>
                  <a:pt x="192" y="26"/>
                  <a:pt x="192" y="22"/>
                </a:cubicBezTo>
                <a:cubicBezTo>
                  <a:pt x="192" y="10"/>
                  <a:pt x="182" y="0"/>
                  <a:pt x="170" y="0"/>
                </a:cubicBezTo>
                <a:cubicBezTo>
                  <a:pt x="163" y="0"/>
                  <a:pt x="157" y="3"/>
                  <a:pt x="153" y="8"/>
                </a:cubicBezTo>
                <a:cubicBezTo>
                  <a:pt x="146" y="8"/>
                  <a:pt x="141" y="11"/>
                  <a:pt x="137" y="17"/>
                </a:cubicBezTo>
                <a:cubicBezTo>
                  <a:pt x="129" y="15"/>
                  <a:pt x="121" y="17"/>
                  <a:pt x="116" y="22"/>
                </a:cubicBezTo>
                <a:cubicBezTo>
                  <a:pt x="110" y="19"/>
                  <a:pt x="102" y="20"/>
                  <a:pt x="96" y="23"/>
                </a:cubicBezTo>
                <a:cubicBezTo>
                  <a:pt x="90" y="19"/>
                  <a:pt x="81" y="19"/>
                  <a:pt x="75" y="22"/>
                </a:cubicBezTo>
                <a:cubicBezTo>
                  <a:pt x="71" y="20"/>
                  <a:pt x="66" y="18"/>
                  <a:pt x="61" y="18"/>
                </a:cubicBezTo>
                <a:cubicBezTo>
                  <a:pt x="59" y="18"/>
                  <a:pt x="56" y="18"/>
                  <a:pt x="54" y="19"/>
                </a:cubicBezTo>
                <a:cubicBezTo>
                  <a:pt x="50" y="15"/>
                  <a:pt x="44" y="12"/>
                  <a:pt x="38" y="12"/>
                </a:cubicBezTo>
                <a:cubicBezTo>
                  <a:pt x="37" y="12"/>
                  <a:pt x="36" y="12"/>
                  <a:pt x="35" y="12"/>
                </a:cubicBezTo>
                <a:cubicBezTo>
                  <a:pt x="31" y="9"/>
                  <a:pt x="27" y="8"/>
                  <a:pt x="22" y="8"/>
                </a:cubicBezTo>
                <a:cubicBezTo>
                  <a:pt x="10" y="8"/>
                  <a:pt x="0" y="18"/>
                  <a:pt x="0" y="30"/>
                </a:cubicBezTo>
                <a:cubicBezTo>
                  <a:pt x="0" y="34"/>
                  <a:pt x="1" y="38"/>
                  <a:pt x="4" y="42"/>
                </a:cubicBezTo>
                <a:cubicBezTo>
                  <a:pt x="1" y="46"/>
                  <a:pt x="0" y="50"/>
                  <a:pt x="0" y="54"/>
                </a:cubicBezTo>
                <a:cubicBezTo>
                  <a:pt x="0" y="58"/>
                  <a:pt x="1" y="62"/>
                  <a:pt x="4" y="66"/>
                </a:cubicBezTo>
                <a:cubicBezTo>
                  <a:pt x="1" y="70"/>
                  <a:pt x="0" y="74"/>
                  <a:pt x="0" y="78"/>
                </a:cubicBezTo>
                <a:cubicBezTo>
                  <a:pt x="0" y="83"/>
                  <a:pt x="1" y="87"/>
                  <a:pt x="4" y="91"/>
                </a:cubicBezTo>
                <a:cubicBezTo>
                  <a:pt x="1" y="95"/>
                  <a:pt x="0" y="99"/>
                  <a:pt x="0" y="104"/>
                </a:cubicBezTo>
                <a:cubicBezTo>
                  <a:pt x="0" y="119"/>
                  <a:pt x="7" y="126"/>
                  <a:pt x="20" y="128"/>
                </a:cubicBezTo>
                <a:cubicBezTo>
                  <a:pt x="20" y="140"/>
                  <a:pt x="20" y="140"/>
                  <a:pt x="20" y="140"/>
                </a:cubicBezTo>
                <a:cubicBezTo>
                  <a:pt x="20" y="142"/>
                  <a:pt x="22" y="144"/>
                  <a:pt x="24" y="144"/>
                </a:cubicBezTo>
                <a:cubicBezTo>
                  <a:pt x="26" y="144"/>
                  <a:pt x="28" y="142"/>
                  <a:pt x="28" y="140"/>
                </a:cubicBezTo>
                <a:cubicBezTo>
                  <a:pt x="28" y="128"/>
                  <a:pt x="28" y="128"/>
                  <a:pt x="28" y="128"/>
                </a:cubicBezTo>
                <a:cubicBezTo>
                  <a:pt x="41" y="126"/>
                  <a:pt x="48" y="119"/>
                  <a:pt x="48" y="104"/>
                </a:cubicBezTo>
                <a:cubicBezTo>
                  <a:pt x="48" y="98"/>
                  <a:pt x="46" y="92"/>
                  <a:pt x="42" y="88"/>
                </a:cubicBezTo>
                <a:cubicBezTo>
                  <a:pt x="43" y="85"/>
                  <a:pt x="44" y="81"/>
                  <a:pt x="44" y="78"/>
                </a:cubicBezTo>
                <a:cubicBezTo>
                  <a:pt x="44" y="74"/>
                  <a:pt x="43" y="70"/>
                  <a:pt x="40" y="66"/>
                </a:cubicBezTo>
                <a:cubicBezTo>
                  <a:pt x="43" y="63"/>
                  <a:pt x="44" y="59"/>
                  <a:pt x="44" y="55"/>
                </a:cubicBezTo>
                <a:cubicBezTo>
                  <a:pt x="44" y="55"/>
                  <a:pt x="45" y="55"/>
                  <a:pt x="45" y="55"/>
                </a:cubicBezTo>
                <a:cubicBezTo>
                  <a:pt x="49" y="59"/>
                  <a:pt x="55" y="62"/>
                  <a:pt x="61" y="62"/>
                </a:cubicBezTo>
                <a:cubicBezTo>
                  <a:pt x="65" y="62"/>
                  <a:pt x="68" y="61"/>
                  <a:pt x="71" y="60"/>
                </a:cubicBezTo>
                <a:cubicBezTo>
                  <a:pt x="75" y="62"/>
                  <a:pt x="80" y="64"/>
                  <a:pt x="84" y="64"/>
                </a:cubicBezTo>
                <a:cubicBezTo>
                  <a:pt x="89" y="64"/>
                  <a:pt x="93" y="63"/>
                  <a:pt x="96" y="61"/>
                </a:cubicBezTo>
                <a:cubicBezTo>
                  <a:pt x="99" y="63"/>
                  <a:pt x="103" y="64"/>
                  <a:pt x="108" y="64"/>
                </a:cubicBezTo>
                <a:cubicBezTo>
                  <a:pt x="113" y="64"/>
                  <a:pt x="118" y="62"/>
                  <a:pt x="122" y="58"/>
                </a:cubicBezTo>
                <a:cubicBezTo>
                  <a:pt x="125" y="59"/>
                  <a:pt x="128" y="60"/>
                  <a:pt x="131" y="60"/>
                </a:cubicBezTo>
                <a:cubicBezTo>
                  <a:pt x="138" y="60"/>
                  <a:pt x="144" y="57"/>
                  <a:pt x="148" y="51"/>
                </a:cubicBezTo>
                <a:cubicBezTo>
                  <a:pt x="148" y="51"/>
                  <a:pt x="149" y="51"/>
                  <a:pt x="149" y="51"/>
                </a:cubicBezTo>
                <a:cubicBezTo>
                  <a:pt x="149" y="54"/>
                  <a:pt x="150" y="56"/>
                  <a:pt x="152" y="58"/>
                </a:cubicBezTo>
                <a:cubicBezTo>
                  <a:pt x="149" y="62"/>
                  <a:pt x="148" y="66"/>
                  <a:pt x="148" y="70"/>
                </a:cubicBezTo>
                <a:cubicBezTo>
                  <a:pt x="148" y="74"/>
                  <a:pt x="149" y="78"/>
                  <a:pt x="152" y="82"/>
                </a:cubicBezTo>
                <a:cubicBezTo>
                  <a:pt x="149" y="86"/>
                  <a:pt x="148" y="90"/>
                  <a:pt x="148" y="94"/>
                </a:cubicBezTo>
                <a:cubicBezTo>
                  <a:pt x="148" y="98"/>
                  <a:pt x="149" y="102"/>
                  <a:pt x="152" y="106"/>
                </a:cubicBezTo>
                <a:cubicBezTo>
                  <a:pt x="149" y="109"/>
                  <a:pt x="148" y="113"/>
                  <a:pt x="148" y="117"/>
                </a:cubicBezTo>
                <a:cubicBezTo>
                  <a:pt x="148" y="117"/>
                  <a:pt x="147" y="118"/>
                  <a:pt x="147" y="118"/>
                </a:cubicBezTo>
                <a:cubicBezTo>
                  <a:pt x="140" y="115"/>
                  <a:pt x="132" y="116"/>
                  <a:pt x="126" y="120"/>
                </a:cubicBezTo>
                <a:cubicBezTo>
                  <a:pt x="120" y="115"/>
                  <a:pt x="111" y="115"/>
                  <a:pt x="105" y="118"/>
                </a:cubicBezTo>
                <a:cubicBezTo>
                  <a:pt x="102" y="117"/>
                  <a:pt x="99" y="116"/>
                  <a:pt x="96" y="116"/>
                </a:cubicBezTo>
                <a:cubicBezTo>
                  <a:pt x="85" y="116"/>
                  <a:pt x="76" y="125"/>
                  <a:pt x="76" y="136"/>
                </a:cubicBezTo>
                <a:cubicBezTo>
                  <a:pt x="76" y="145"/>
                  <a:pt x="84" y="187"/>
                  <a:pt x="84" y="189"/>
                </a:cubicBezTo>
                <a:cubicBezTo>
                  <a:pt x="84" y="191"/>
                  <a:pt x="86" y="192"/>
                  <a:pt x="88" y="192"/>
                </a:cubicBezTo>
                <a:cubicBezTo>
                  <a:pt x="88" y="192"/>
                  <a:pt x="88" y="192"/>
                  <a:pt x="89" y="192"/>
                </a:cubicBezTo>
                <a:cubicBezTo>
                  <a:pt x="91" y="192"/>
                  <a:pt x="92" y="189"/>
                  <a:pt x="92" y="187"/>
                </a:cubicBezTo>
                <a:cubicBezTo>
                  <a:pt x="90" y="175"/>
                  <a:pt x="84" y="143"/>
                  <a:pt x="84" y="136"/>
                </a:cubicBezTo>
                <a:cubicBezTo>
                  <a:pt x="84" y="129"/>
                  <a:pt x="89" y="124"/>
                  <a:pt x="96" y="124"/>
                </a:cubicBezTo>
                <a:cubicBezTo>
                  <a:pt x="98" y="124"/>
                  <a:pt x="100" y="124"/>
                  <a:pt x="101" y="125"/>
                </a:cubicBezTo>
                <a:cubicBezTo>
                  <a:pt x="103" y="126"/>
                  <a:pt x="106" y="126"/>
                  <a:pt x="108" y="125"/>
                </a:cubicBezTo>
                <a:cubicBezTo>
                  <a:pt x="113" y="123"/>
                  <a:pt x="118" y="124"/>
                  <a:pt x="122" y="126"/>
                </a:cubicBezTo>
                <a:cubicBezTo>
                  <a:pt x="124" y="128"/>
                  <a:pt x="128" y="128"/>
                  <a:pt x="130" y="126"/>
                </a:cubicBezTo>
                <a:cubicBezTo>
                  <a:pt x="135" y="123"/>
                  <a:pt x="141" y="123"/>
                  <a:pt x="146" y="126"/>
                </a:cubicBezTo>
                <a:cubicBezTo>
                  <a:pt x="147" y="127"/>
                  <a:pt x="150" y="127"/>
                  <a:pt x="151" y="125"/>
                </a:cubicBezTo>
                <a:cubicBezTo>
                  <a:pt x="152" y="124"/>
                  <a:pt x="153" y="123"/>
                  <a:pt x="154" y="122"/>
                </a:cubicBezTo>
                <a:cubicBezTo>
                  <a:pt x="156" y="122"/>
                  <a:pt x="156" y="120"/>
                  <a:pt x="156" y="119"/>
                </a:cubicBezTo>
                <a:cubicBezTo>
                  <a:pt x="156" y="119"/>
                  <a:pt x="156" y="118"/>
                  <a:pt x="156" y="118"/>
                </a:cubicBezTo>
                <a:cubicBezTo>
                  <a:pt x="156" y="115"/>
                  <a:pt x="157" y="113"/>
                  <a:pt x="158" y="110"/>
                </a:cubicBezTo>
                <a:cubicBezTo>
                  <a:pt x="160" y="108"/>
                  <a:pt x="160" y="104"/>
                  <a:pt x="158" y="102"/>
                </a:cubicBezTo>
                <a:cubicBezTo>
                  <a:pt x="157" y="99"/>
                  <a:pt x="156" y="97"/>
                  <a:pt x="156" y="94"/>
                </a:cubicBezTo>
                <a:cubicBezTo>
                  <a:pt x="156" y="91"/>
                  <a:pt x="157" y="89"/>
                  <a:pt x="158" y="86"/>
                </a:cubicBezTo>
                <a:cubicBezTo>
                  <a:pt x="160" y="84"/>
                  <a:pt x="160" y="80"/>
                  <a:pt x="158" y="78"/>
                </a:cubicBezTo>
                <a:cubicBezTo>
                  <a:pt x="157" y="75"/>
                  <a:pt x="156" y="73"/>
                  <a:pt x="156" y="70"/>
                </a:cubicBezTo>
                <a:cubicBezTo>
                  <a:pt x="156" y="67"/>
                  <a:pt x="157" y="65"/>
                  <a:pt x="158" y="62"/>
                </a:cubicBezTo>
                <a:cubicBezTo>
                  <a:pt x="160" y="60"/>
                  <a:pt x="160" y="56"/>
                  <a:pt x="158" y="54"/>
                </a:cubicBezTo>
                <a:cubicBezTo>
                  <a:pt x="158" y="53"/>
                  <a:pt x="158" y="52"/>
                  <a:pt x="157" y="52"/>
                </a:cubicBezTo>
                <a:cubicBezTo>
                  <a:pt x="162" y="51"/>
                  <a:pt x="166" y="49"/>
                  <a:pt x="170" y="46"/>
                </a:cubicBezTo>
                <a:cubicBezTo>
                  <a:pt x="171" y="44"/>
                  <a:pt x="171" y="41"/>
                  <a:pt x="170" y="40"/>
                </a:cubicBezTo>
                <a:cubicBezTo>
                  <a:pt x="168" y="38"/>
                  <a:pt x="165" y="38"/>
                  <a:pt x="164" y="40"/>
                </a:cubicBezTo>
                <a:cubicBezTo>
                  <a:pt x="160" y="43"/>
                  <a:pt x="155" y="45"/>
                  <a:pt x="150" y="44"/>
                </a:cubicBezTo>
                <a:cubicBezTo>
                  <a:pt x="147" y="43"/>
                  <a:pt x="144" y="44"/>
                  <a:pt x="142" y="46"/>
                </a:cubicBezTo>
                <a:cubicBezTo>
                  <a:pt x="138" y="51"/>
                  <a:pt x="131" y="53"/>
                  <a:pt x="125" y="51"/>
                </a:cubicBezTo>
                <a:cubicBezTo>
                  <a:pt x="123" y="50"/>
                  <a:pt x="119" y="50"/>
                  <a:pt x="117" y="52"/>
                </a:cubicBezTo>
                <a:cubicBezTo>
                  <a:pt x="112" y="56"/>
                  <a:pt x="105" y="57"/>
                  <a:pt x="100" y="54"/>
                </a:cubicBezTo>
                <a:cubicBezTo>
                  <a:pt x="98" y="52"/>
                  <a:pt x="94" y="52"/>
                  <a:pt x="92" y="54"/>
                </a:cubicBezTo>
                <a:cubicBezTo>
                  <a:pt x="87" y="57"/>
                  <a:pt x="80" y="57"/>
                  <a:pt x="76" y="53"/>
                </a:cubicBezTo>
                <a:cubicBezTo>
                  <a:pt x="74" y="51"/>
                  <a:pt x="70" y="51"/>
                  <a:pt x="68" y="52"/>
                </a:cubicBezTo>
                <a:cubicBezTo>
                  <a:pt x="62" y="55"/>
                  <a:pt x="55" y="54"/>
                  <a:pt x="51" y="49"/>
                </a:cubicBezTo>
                <a:cubicBezTo>
                  <a:pt x="49" y="47"/>
                  <a:pt x="45" y="46"/>
                  <a:pt x="42" y="47"/>
                </a:cubicBezTo>
                <a:cubicBezTo>
                  <a:pt x="37" y="49"/>
                  <a:pt x="32" y="48"/>
                  <a:pt x="28" y="44"/>
                </a:cubicBezTo>
                <a:cubicBezTo>
                  <a:pt x="27" y="42"/>
                  <a:pt x="24" y="42"/>
                  <a:pt x="22" y="44"/>
                </a:cubicBezTo>
                <a:cubicBezTo>
                  <a:pt x="21" y="45"/>
                  <a:pt x="21" y="48"/>
                  <a:pt x="22" y="50"/>
                </a:cubicBezTo>
                <a:cubicBezTo>
                  <a:pt x="26" y="53"/>
                  <a:pt x="31" y="55"/>
                  <a:pt x="36" y="56"/>
                </a:cubicBezTo>
                <a:cubicBezTo>
                  <a:pt x="36" y="58"/>
                  <a:pt x="35" y="60"/>
                  <a:pt x="34" y="62"/>
                </a:cubicBezTo>
                <a:cubicBezTo>
                  <a:pt x="32" y="64"/>
                  <a:pt x="32" y="68"/>
                  <a:pt x="34" y="70"/>
                </a:cubicBezTo>
                <a:cubicBezTo>
                  <a:pt x="35" y="73"/>
                  <a:pt x="36" y="75"/>
                  <a:pt x="36" y="78"/>
                </a:cubicBezTo>
                <a:cubicBezTo>
                  <a:pt x="36" y="80"/>
                  <a:pt x="36" y="82"/>
                  <a:pt x="35" y="84"/>
                </a:cubicBezTo>
                <a:cubicBezTo>
                  <a:pt x="33" y="87"/>
                  <a:pt x="33" y="91"/>
                  <a:pt x="36" y="93"/>
                </a:cubicBezTo>
                <a:cubicBezTo>
                  <a:pt x="38" y="96"/>
                  <a:pt x="40" y="100"/>
                  <a:pt x="40" y="104"/>
                </a:cubicBezTo>
                <a:cubicBezTo>
                  <a:pt x="40" y="114"/>
                  <a:pt x="36" y="119"/>
                  <a:pt x="28" y="120"/>
                </a:cubicBezTo>
                <a:cubicBezTo>
                  <a:pt x="28" y="112"/>
                  <a:pt x="28" y="112"/>
                  <a:pt x="28" y="112"/>
                </a:cubicBezTo>
                <a:cubicBezTo>
                  <a:pt x="28" y="110"/>
                  <a:pt x="26" y="108"/>
                  <a:pt x="24" y="108"/>
                </a:cubicBezTo>
                <a:cubicBezTo>
                  <a:pt x="22" y="108"/>
                  <a:pt x="20" y="110"/>
                  <a:pt x="20" y="112"/>
                </a:cubicBezTo>
                <a:cubicBezTo>
                  <a:pt x="20" y="120"/>
                  <a:pt x="20" y="120"/>
                  <a:pt x="20" y="120"/>
                </a:cubicBezTo>
                <a:cubicBezTo>
                  <a:pt x="12" y="119"/>
                  <a:pt x="8" y="114"/>
                  <a:pt x="8" y="104"/>
                </a:cubicBezTo>
                <a:cubicBezTo>
                  <a:pt x="8" y="101"/>
                  <a:pt x="9" y="98"/>
                  <a:pt x="11" y="95"/>
                </a:cubicBezTo>
                <a:cubicBezTo>
                  <a:pt x="13" y="92"/>
                  <a:pt x="13" y="89"/>
                  <a:pt x="11" y="86"/>
                </a:cubicBezTo>
                <a:cubicBezTo>
                  <a:pt x="9" y="84"/>
                  <a:pt x="8" y="81"/>
                  <a:pt x="8" y="78"/>
                </a:cubicBezTo>
                <a:cubicBezTo>
                  <a:pt x="8" y="75"/>
                  <a:pt x="9" y="73"/>
                  <a:pt x="10" y="70"/>
                </a:cubicBezTo>
                <a:cubicBezTo>
                  <a:pt x="12" y="68"/>
                  <a:pt x="12" y="64"/>
                  <a:pt x="10" y="62"/>
                </a:cubicBezTo>
                <a:cubicBezTo>
                  <a:pt x="9" y="59"/>
                  <a:pt x="8" y="57"/>
                  <a:pt x="8" y="54"/>
                </a:cubicBezTo>
                <a:cubicBezTo>
                  <a:pt x="8" y="51"/>
                  <a:pt x="9" y="49"/>
                  <a:pt x="10" y="46"/>
                </a:cubicBezTo>
                <a:cubicBezTo>
                  <a:pt x="12" y="44"/>
                  <a:pt x="12" y="40"/>
                  <a:pt x="10" y="38"/>
                </a:cubicBezTo>
                <a:cubicBezTo>
                  <a:pt x="9" y="35"/>
                  <a:pt x="8" y="33"/>
                  <a:pt x="8" y="30"/>
                </a:cubicBezTo>
                <a:cubicBezTo>
                  <a:pt x="8" y="22"/>
                  <a:pt x="14" y="16"/>
                  <a:pt x="22" y="16"/>
                </a:cubicBezTo>
                <a:cubicBezTo>
                  <a:pt x="26" y="16"/>
                  <a:pt x="29" y="18"/>
                  <a:pt x="31" y="20"/>
                </a:cubicBezTo>
                <a:cubicBezTo>
                  <a:pt x="32" y="20"/>
                  <a:pt x="34" y="21"/>
                  <a:pt x="35" y="20"/>
                </a:cubicBezTo>
                <a:cubicBezTo>
                  <a:pt x="36" y="20"/>
                  <a:pt x="37" y="20"/>
                  <a:pt x="38" y="20"/>
                </a:cubicBezTo>
                <a:cubicBezTo>
                  <a:pt x="42" y="20"/>
                  <a:pt x="46" y="22"/>
                  <a:pt x="48" y="25"/>
                </a:cubicBezTo>
                <a:cubicBezTo>
                  <a:pt x="50" y="27"/>
                  <a:pt x="54" y="28"/>
                  <a:pt x="57" y="27"/>
                </a:cubicBezTo>
                <a:cubicBezTo>
                  <a:pt x="61" y="25"/>
                  <a:pt x="66" y="26"/>
                  <a:pt x="70" y="29"/>
                </a:cubicBezTo>
                <a:cubicBezTo>
                  <a:pt x="72" y="31"/>
                  <a:pt x="75" y="31"/>
                  <a:pt x="78" y="30"/>
                </a:cubicBezTo>
                <a:cubicBezTo>
                  <a:pt x="82" y="27"/>
                  <a:pt x="88" y="28"/>
                  <a:pt x="92" y="30"/>
                </a:cubicBezTo>
                <a:cubicBezTo>
                  <a:pt x="94" y="32"/>
                  <a:pt x="98" y="32"/>
                  <a:pt x="100" y="30"/>
                </a:cubicBezTo>
                <a:cubicBezTo>
                  <a:pt x="104" y="28"/>
                  <a:pt x="109" y="27"/>
                  <a:pt x="113" y="29"/>
                </a:cubicBezTo>
                <a:cubicBezTo>
                  <a:pt x="116" y="30"/>
                  <a:pt x="119" y="30"/>
                  <a:pt x="121" y="28"/>
                </a:cubicBezTo>
                <a:cubicBezTo>
                  <a:pt x="125" y="24"/>
                  <a:pt x="130" y="23"/>
                  <a:pt x="134" y="24"/>
                </a:cubicBezTo>
                <a:cubicBezTo>
                  <a:pt x="138" y="25"/>
                  <a:pt x="141" y="24"/>
                  <a:pt x="143" y="22"/>
                </a:cubicBezTo>
                <a:cubicBezTo>
                  <a:pt x="146" y="18"/>
                  <a:pt x="150" y="16"/>
                  <a:pt x="154" y="16"/>
                </a:cubicBezTo>
                <a:cubicBezTo>
                  <a:pt x="154" y="16"/>
                  <a:pt x="154" y="16"/>
                  <a:pt x="154" y="16"/>
                </a:cubicBezTo>
                <a:cubicBezTo>
                  <a:pt x="154" y="16"/>
                  <a:pt x="155" y="16"/>
                  <a:pt x="155" y="16"/>
                </a:cubicBezTo>
                <a:cubicBezTo>
                  <a:pt x="156" y="16"/>
                  <a:pt x="158" y="15"/>
                  <a:pt x="158" y="14"/>
                </a:cubicBezTo>
                <a:cubicBezTo>
                  <a:pt x="161" y="10"/>
                  <a:pt x="165" y="8"/>
                  <a:pt x="170" y="8"/>
                </a:cubicBezTo>
                <a:cubicBezTo>
                  <a:pt x="178" y="8"/>
                  <a:pt x="184" y="14"/>
                  <a:pt x="184" y="22"/>
                </a:cubicBezTo>
                <a:cubicBezTo>
                  <a:pt x="184" y="25"/>
                  <a:pt x="183" y="27"/>
                  <a:pt x="182" y="30"/>
                </a:cubicBezTo>
                <a:cubicBezTo>
                  <a:pt x="180" y="32"/>
                  <a:pt x="180" y="36"/>
                  <a:pt x="182" y="38"/>
                </a:cubicBezTo>
                <a:cubicBezTo>
                  <a:pt x="183" y="41"/>
                  <a:pt x="184" y="43"/>
                  <a:pt x="184" y="46"/>
                </a:cubicBezTo>
                <a:cubicBezTo>
                  <a:pt x="184" y="49"/>
                  <a:pt x="183" y="51"/>
                  <a:pt x="182" y="54"/>
                </a:cubicBezTo>
                <a:cubicBezTo>
                  <a:pt x="180" y="56"/>
                  <a:pt x="180" y="60"/>
                  <a:pt x="182" y="62"/>
                </a:cubicBezTo>
                <a:cubicBezTo>
                  <a:pt x="183" y="65"/>
                  <a:pt x="184" y="67"/>
                  <a:pt x="184" y="70"/>
                </a:cubicBezTo>
                <a:cubicBezTo>
                  <a:pt x="184" y="73"/>
                  <a:pt x="183" y="75"/>
                  <a:pt x="182" y="78"/>
                </a:cubicBezTo>
                <a:cubicBezTo>
                  <a:pt x="180" y="80"/>
                  <a:pt x="180" y="84"/>
                  <a:pt x="182" y="86"/>
                </a:cubicBezTo>
                <a:cubicBezTo>
                  <a:pt x="183" y="89"/>
                  <a:pt x="184" y="91"/>
                  <a:pt x="184" y="94"/>
                </a:cubicBezTo>
                <a:cubicBezTo>
                  <a:pt x="184" y="97"/>
                  <a:pt x="183" y="99"/>
                  <a:pt x="182" y="102"/>
                </a:cubicBezTo>
                <a:cubicBezTo>
                  <a:pt x="180" y="104"/>
                  <a:pt x="180" y="108"/>
                  <a:pt x="182" y="110"/>
                </a:cubicBezTo>
                <a:cubicBezTo>
                  <a:pt x="183" y="113"/>
                  <a:pt x="184" y="115"/>
                  <a:pt x="184" y="118"/>
                </a:cubicBezTo>
                <a:cubicBezTo>
                  <a:pt x="184" y="123"/>
                  <a:pt x="182" y="127"/>
                  <a:pt x="178" y="130"/>
                </a:cubicBezTo>
                <a:cubicBezTo>
                  <a:pt x="177" y="130"/>
                  <a:pt x="176" y="132"/>
                  <a:pt x="176" y="133"/>
                </a:cubicBezTo>
                <a:cubicBezTo>
                  <a:pt x="176" y="133"/>
                  <a:pt x="176" y="134"/>
                  <a:pt x="176" y="134"/>
                </a:cubicBezTo>
                <a:cubicBezTo>
                  <a:pt x="176" y="142"/>
                  <a:pt x="170" y="148"/>
                  <a:pt x="162" y="148"/>
                </a:cubicBezTo>
                <a:cubicBezTo>
                  <a:pt x="160" y="148"/>
                  <a:pt x="158" y="148"/>
                  <a:pt x="156" y="147"/>
                </a:cubicBezTo>
                <a:cubicBezTo>
                  <a:pt x="153" y="145"/>
                  <a:pt x="150" y="146"/>
                  <a:pt x="148" y="148"/>
                </a:cubicBezTo>
                <a:cubicBezTo>
                  <a:pt x="143" y="153"/>
                  <a:pt x="136" y="153"/>
                  <a:pt x="130" y="150"/>
                </a:cubicBezTo>
                <a:cubicBezTo>
                  <a:pt x="128" y="148"/>
                  <a:pt x="124" y="148"/>
                  <a:pt x="122" y="150"/>
                </a:cubicBezTo>
                <a:cubicBezTo>
                  <a:pt x="116" y="153"/>
                  <a:pt x="109" y="152"/>
                  <a:pt x="104" y="148"/>
                </a:cubicBezTo>
                <a:cubicBezTo>
                  <a:pt x="103" y="147"/>
                  <a:pt x="102" y="145"/>
                  <a:pt x="101" y="143"/>
                </a:cubicBezTo>
                <a:cubicBezTo>
                  <a:pt x="100" y="141"/>
                  <a:pt x="98" y="140"/>
                  <a:pt x="96" y="141"/>
                </a:cubicBezTo>
                <a:cubicBezTo>
                  <a:pt x="94" y="142"/>
                  <a:pt x="93" y="145"/>
                  <a:pt x="94" y="147"/>
                </a:cubicBezTo>
                <a:cubicBezTo>
                  <a:pt x="95" y="149"/>
                  <a:pt x="96" y="152"/>
                  <a:pt x="98" y="154"/>
                </a:cubicBezTo>
                <a:cubicBezTo>
                  <a:pt x="100" y="155"/>
                  <a:pt x="103" y="157"/>
                  <a:pt x="105" y="158"/>
                </a:cubicBezTo>
                <a:cubicBezTo>
                  <a:pt x="102" y="172"/>
                  <a:pt x="100" y="187"/>
                  <a:pt x="100" y="187"/>
                </a:cubicBezTo>
                <a:cubicBezTo>
                  <a:pt x="100" y="190"/>
                  <a:pt x="101" y="192"/>
                  <a:pt x="103" y="192"/>
                </a:cubicBezTo>
                <a:cubicBezTo>
                  <a:pt x="104" y="192"/>
                  <a:pt x="104" y="192"/>
                  <a:pt x="104" y="192"/>
                </a:cubicBezTo>
                <a:cubicBezTo>
                  <a:pt x="106" y="192"/>
                  <a:pt x="108" y="191"/>
                  <a:pt x="108" y="189"/>
                </a:cubicBezTo>
                <a:cubicBezTo>
                  <a:pt x="108" y="188"/>
                  <a:pt x="110" y="174"/>
                  <a:pt x="113" y="160"/>
                </a:cubicBezTo>
                <a:cubicBezTo>
                  <a:pt x="113" y="160"/>
                  <a:pt x="114" y="160"/>
                  <a:pt x="114" y="160"/>
                </a:cubicBezTo>
                <a:cubicBezTo>
                  <a:pt x="118" y="160"/>
                  <a:pt x="122" y="159"/>
                  <a:pt x="126" y="156"/>
                </a:cubicBezTo>
                <a:cubicBezTo>
                  <a:pt x="130" y="159"/>
                  <a:pt x="134" y="160"/>
                  <a:pt x="138" y="160"/>
                </a:cubicBezTo>
                <a:cubicBezTo>
                  <a:pt x="144" y="160"/>
                  <a:pt x="149" y="158"/>
                  <a:pt x="153" y="154"/>
                </a:cubicBezTo>
                <a:cubicBezTo>
                  <a:pt x="156" y="155"/>
                  <a:pt x="159" y="156"/>
                  <a:pt x="162" y="156"/>
                </a:cubicBezTo>
                <a:cubicBezTo>
                  <a:pt x="174" y="156"/>
                  <a:pt x="183" y="147"/>
                  <a:pt x="184" y="135"/>
                </a:cubicBezTo>
                <a:cubicBezTo>
                  <a:pt x="189" y="131"/>
                  <a:pt x="192" y="125"/>
                  <a:pt x="192" y="118"/>
                </a:cubicBezTo>
                <a:cubicBezTo>
                  <a:pt x="192" y="114"/>
                  <a:pt x="191" y="110"/>
                  <a:pt x="188" y="106"/>
                </a:cubicBezTo>
                <a:cubicBezTo>
                  <a:pt x="191" y="102"/>
                  <a:pt x="192" y="98"/>
                  <a:pt x="192" y="94"/>
                </a:cubicBezTo>
                <a:cubicBezTo>
                  <a:pt x="192" y="90"/>
                  <a:pt x="191" y="86"/>
                  <a:pt x="188" y="82"/>
                </a:cubicBezTo>
                <a:cubicBezTo>
                  <a:pt x="191" y="78"/>
                  <a:pt x="192" y="74"/>
                  <a:pt x="192" y="70"/>
                </a:cubicBezTo>
                <a:cubicBezTo>
                  <a:pt x="192" y="66"/>
                  <a:pt x="191" y="62"/>
                  <a:pt x="188" y="58"/>
                </a:cubicBezTo>
                <a:cubicBezTo>
                  <a:pt x="191" y="54"/>
                  <a:pt x="192" y="50"/>
                  <a:pt x="192" y="46"/>
                </a:cubicBezTo>
                <a:cubicBezTo>
                  <a:pt x="192" y="42"/>
                  <a:pt x="191" y="38"/>
                  <a:pt x="188" y="3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1" name="Group 90">
            <a:extLst>
              <a:ext uri="{FF2B5EF4-FFF2-40B4-BE49-F238E27FC236}">
                <a16:creationId xmlns:a16="http://schemas.microsoft.com/office/drawing/2014/main" id="{59E7EBD1-6C59-1CFB-C3E1-E3A946EECB04}"/>
              </a:ext>
            </a:extLst>
          </p:cNvPr>
          <p:cNvGrpSpPr/>
          <p:nvPr/>
        </p:nvGrpSpPr>
        <p:grpSpPr>
          <a:xfrm>
            <a:off x="6352012" y="2573470"/>
            <a:ext cx="328831" cy="307216"/>
            <a:chOff x="6748463" y="1854200"/>
            <a:chExt cx="1122363" cy="1122363"/>
          </a:xfrm>
          <a:solidFill>
            <a:schemeClr val="accent3"/>
          </a:solidFill>
        </p:grpSpPr>
        <p:sp>
          <p:nvSpPr>
            <p:cNvPr id="92" name="Freeform 317">
              <a:extLst>
                <a:ext uri="{FF2B5EF4-FFF2-40B4-BE49-F238E27FC236}">
                  <a16:creationId xmlns:a16="http://schemas.microsoft.com/office/drawing/2014/main" id="{A034A135-70A9-4C95-A70B-447F53EE5F77}"/>
                </a:ext>
              </a:extLst>
            </p:cNvPr>
            <p:cNvSpPr>
              <a:spLocks/>
            </p:cNvSpPr>
            <p:nvPr/>
          </p:nvSpPr>
          <p:spPr bwMode="auto">
            <a:xfrm>
              <a:off x="6748463" y="1854200"/>
              <a:ext cx="574675" cy="1122363"/>
            </a:xfrm>
            <a:custGeom>
              <a:avLst/>
              <a:gdLst>
                <a:gd name="T0" fmla="*/ 288 w 362"/>
                <a:gd name="T1" fmla="*/ 152 h 707"/>
                <a:gd name="T2" fmla="*/ 272 w 362"/>
                <a:gd name="T3" fmla="*/ 61 h 707"/>
                <a:gd name="T4" fmla="*/ 222 w 362"/>
                <a:gd name="T5" fmla="*/ 53 h 707"/>
                <a:gd name="T6" fmla="*/ 206 w 362"/>
                <a:gd name="T7" fmla="*/ 29 h 707"/>
                <a:gd name="T8" fmla="*/ 161 w 362"/>
                <a:gd name="T9" fmla="*/ 0 h 707"/>
                <a:gd name="T10" fmla="*/ 115 w 362"/>
                <a:gd name="T11" fmla="*/ 45 h 707"/>
                <a:gd name="T12" fmla="*/ 87 w 362"/>
                <a:gd name="T13" fmla="*/ 49 h 707"/>
                <a:gd name="T14" fmla="*/ 41 w 362"/>
                <a:gd name="T15" fmla="*/ 78 h 707"/>
                <a:gd name="T16" fmla="*/ 17 w 362"/>
                <a:gd name="T17" fmla="*/ 234 h 707"/>
                <a:gd name="T18" fmla="*/ 0 w 362"/>
                <a:gd name="T19" fmla="*/ 259 h 707"/>
                <a:gd name="T20" fmla="*/ 4 w 362"/>
                <a:gd name="T21" fmla="*/ 563 h 707"/>
                <a:gd name="T22" fmla="*/ 78 w 362"/>
                <a:gd name="T23" fmla="*/ 678 h 707"/>
                <a:gd name="T24" fmla="*/ 181 w 362"/>
                <a:gd name="T25" fmla="*/ 707 h 707"/>
                <a:gd name="T26" fmla="*/ 288 w 362"/>
                <a:gd name="T27" fmla="*/ 674 h 707"/>
                <a:gd name="T28" fmla="*/ 354 w 362"/>
                <a:gd name="T29" fmla="*/ 584 h 707"/>
                <a:gd name="T30" fmla="*/ 350 w 362"/>
                <a:gd name="T31" fmla="*/ 567 h 707"/>
                <a:gd name="T32" fmla="*/ 325 w 362"/>
                <a:gd name="T33" fmla="*/ 600 h 707"/>
                <a:gd name="T34" fmla="*/ 255 w 362"/>
                <a:gd name="T35" fmla="*/ 670 h 707"/>
                <a:gd name="T36" fmla="*/ 181 w 362"/>
                <a:gd name="T37" fmla="*/ 686 h 707"/>
                <a:gd name="T38" fmla="*/ 66 w 362"/>
                <a:gd name="T39" fmla="*/ 641 h 707"/>
                <a:gd name="T40" fmla="*/ 21 w 362"/>
                <a:gd name="T41" fmla="*/ 526 h 707"/>
                <a:gd name="T42" fmla="*/ 29 w 362"/>
                <a:gd name="T43" fmla="*/ 251 h 707"/>
                <a:gd name="T44" fmla="*/ 54 w 362"/>
                <a:gd name="T45" fmla="*/ 246 h 707"/>
                <a:gd name="T46" fmla="*/ 74 w 362"/>
                <a:gd name="T47" fmla="*/ 271 h 707"/>
                <a:gd name="T48" fmla="*/ 91 w 362"/>
                <a:gd name="T49" fmla="*/ 427 h 707"/>
                <a:gd name="T50" fmla="*/ 156 w 362"/>
                <a:gd name="T51" fmla="*/ 489 h 707"/>
                <a:gd name="T52" fmla="*/ 185 w 362"/>
                <a:gd name="T53" fmla="*/ 559 h 707"/>
                <a:gd name="T54" fmla="*/ 144 w 362"/>
                <a:gd name="T55" fmla="*/ 637 h 707"/>
                <a:gd name="T56" fmla="*/ 144 w 362"/>
                <a:gd name="T57" fmla="*/ 653 h 707"/>
                <a:gd name="T58" fmla="*/ 156 w 362"/>
                <a:gd name="T59" fmla="*/ 653 h 707"/>
                <a:gd name="T60" fmla="*/ 206 w 362"/>
                <a:gd name="T61" fmla="*/ 559 h 707"/>
                <a:gd name="T62" fmla="*/ 173 w 362"/>
                <a:gd name="T63" fmla="*/ 477 h 707"/>
                <a:gd name="T64" fmla="*/ 111 w 362"/>
                <a:gd name="T65" fmla="*/ 415 h 707"/>
                <a:gd name="T66" fmla="*/ 95 w 362"/>
                <a:gd name="T67" fmla="*/ 271 h 707"/>
                <a:gd name="T68" fmla="*/ 62 w 362"/>
                <a:gd name="T69" fmla="*/ 226 h 707"/>
                <a:gd name="T70" fmla="*/ 58 w 362"/>
                <a:gd name="T71" fmla="*/ 98 h 707"/>
                <a:gd name="T72" fmla="*/ 87 w 362"/>
                <a:gd name="T73" fmla="*/ 70 h 707"/>
                <a:gd name="T74" fmla="*/ 111 w 362"/>
                <a:gd name="T75" fmla="*/ 86 h 707"/>
                <a:gd name="T76" fmla="*/ 115 w 362"/>
                <a:gd name="T77" fmla="*/ 341 h 707"/>
                <a:gd name="T78" fmla="*/ 132 w 362"/>
                <a:gd name="T79" fmla="*/ 345 h 707"/>
                <a:gd name="T80" fmla="*/ 136 w 362"/>
                <a:gd name="T81" fmla="*/ 45 h 707"/>
                <a:gd name="T82" fmla="*/ 152 w 362"/>
                <a:gd name="T83" fmla="*/ 20 h 707"/>
                <a:gd name="T84" fmla="*/ 181 w 362"/>
                <a:gd name="T85" fmla="*/ 29 h 707"/>
                <a:gd name="T86" fmla="*/ 189 w 362"/>
                <a:gd name="T87" fmla="*/ 271 h 707"/>
                <a:gd name="T88" fmla="*/ 202 w 362"/>
                <a:gd name="T89" fmla="*/ 349 h 707"/>
                <a:gd name="T90" fmla="*/ 210 w 362"/>
                <a:gd name="T91" fmla="*/ 271 h 707"/>
                <a:gd name="T92" fmla="*/ 218 w 362"/>
                <a:gd name="T93" fmla="*/ 78 h 707"/>
                <a:gd name="T94" fmla="*/ 251 w 362"/>
                <a:gd name="T95" fmla="*/ 74 h 707"/>
                <a:gd name="T96" fmla="*/ 267 w 362"/>
                <a:gd name="T97" fmla="*/ 292 h 707"/>
                <a:gd name="T98" fmla="*/ 276 w 362"/>
                <a:gd name="T99" fmla="*/ 300 h 707"/>
                <a:gd name="T100" fmla="*/ 288 w 362"/>
                <a:gd name="T101" fmla="*/ 189 h 707"/>
                <a:gd name="T102" fmla="*/ 317 w 362"/>
                <a:gd name="T103" fmla="*/ 164 h 707"/>
                <a:gd name="T104" fmla="*/ 341 w 362"/>
                <a:gd name="T105" fmla="*/ 181 h 707"/>
                <a:gd name="T106" fmla="*/ 346 w 362"/>
                <a:gd name="T107" fmla="*/ 246 h 707"/>
                <a:gd name="T108" fmla="*/ 362 w 362"/>
                <a:gd name="T109" fmla="*/ 238 h 707"/>
                <a:gd name="T110" fmla="*/ 350 w 362"/>
                <a:gd name="T111" fmla="*/ 156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2" h="707">
                  <a:moveTo>
                    <a:pt x="317" y="144"/>
                  </a:moveTo>
                  <a:lnTo>
                    <a:pt x="317" y="144"/>
                  </a:lnTo>
                  <a:lnTo>
                    <a:pt x="300" y="144"/>
                  </a:lnTo>
                  <a:lnTo>
                    <a:pt x="288" y="152"/>
                  </a:lnTo>
                  <a:lnTo>
                    <a:pt x="288" y="98"/>
                  </a:lnTo>
                  <a:lnTo>
                    <a:pt x="288" y="98"/>
                  </a:lnTo>
                  <a:lnTo>
                    <a:pt x="284" y="78"/>
                  </a:lnTo>
                  <a:lnTo>
                    <a:pt x="272" y="61"/>
                  </a:lnTo>
                  <a:lnTo>
                    <a:pt x="259" y="53"/>
                  </a:lnTo>
                  <a:lnTo>
                    <a:pt x="239" y="49"/>
                  </a:lnTo>
                  <a:lnTo>
                    <a:pt x="239" y="49"/>
                  </a:lnTo>
                  <a:lnTo>
                    <a:pt x="222" y="53"/>
                  </a:lnTo>
                  <a:lnTo>
                    <a:pt x="210" y="57"/>
                  </a:lnTo>
                  <a:lnTo>
                    <a:pt x="210" y="45"/>
                  </a:lnTo>
                  <a:lnTo>
                    <a:pt x="210" y="45"/>
                  </a:lnTo>
                  <a:lnTo>
                    <a:pt x="206" y="29"/>
                  </a:lnTo>
                  <a:lnTo>
                    <a:pt x="198" y="12"/>
                  </a:lnTo>
                  <a:lnTo>
                    <a:pt x="181" y="0"/>
                  </a:lnTo>
                  <a:lnTo>
                    <a:pt x="161" y="0"/>
                  </a:lnTo>
                  <a:lnTo>
                    <a:pt x="161" y="0"/>
                  </a:lnTo>
                  <a:lnTo>
                    <a:pt x="144" y="0"/>
                  </a:lnTo>
                  <a:lnTo>
                    <a:pt x="128" y="12"/>
                  </a:lnTo>
                  <a:lnTo>
                    <a:pt x="119" y="29"/>
                  </a:lnTo>
                  <a:lnTo>
                    <a:pt x="115" y="45"/>
                  </a:lnTo>
                  <a:lnTo>
                    <a:pt x="115" y="57"/>
                  </a:lnTo>
                  <a:lnTo>
                    <a:pt x="115" y="57"/>
                  </a:lnTo>
                  <a:lnTo>
                    <a:pt x="99" y="53"/>
                  </a:lnTo>
                  <a:lnTo>
                    <a:pt x="87" y="49"/>
                  </a:lnTo>
                  <a:lnTo>
                    <a:pt x="87" y="49"/>
                  </a:lnTo>
                  <a:lnTo>
                    <a:pt x="66" y="53"/>
                  </a:lnTo>
                  <a:lnTo>
                    <a:pt x="50" y="61"/>
                  </a:lnTo>
                  <a:lnTo>
                    <a:pt x="41" y="78"/>
                  </a:lnTo>
                  <a:lnTo>
                    <a:pt x="37" y="98"/>
                  </a:lnTo>
                  <a:lnTo>
                    <a:pt x="37" y="226"/>
                  </a:lnTo>
                  <a:lnTo>
                    <a:pt x="37" y="226"/>
                  </a:lnTo>
                  <a:lnTo>
                    <a:pt x="17" y="234"/>
                  </a:lnTo>
                  <a:lnTo>
                    <a:pt x="17" y="234"/>
                  </a:lnTo>
                  <a:lnTo>
                    <a:pt x="8" y="242"/>
                  </a:lnTo>
                  <a:lnTo>
                    <a:pt x="4" y="251"/>
                  </a:lnTo>
                  <a:lnTo>
                    <a:pt x="0" y="259"/>
                  </a:lnTo>
                  <a:lnTo>
                    <a:pt x="0" y="271"/>
                  </a:lnTo>
                  <a:lnTo>
                    <a:pt x="0" y="526"/>
                  </a:lnTo>
                  <a:lnTo>
                    <a:pt x="0" y="526"/>
                  </a:lnTo>
                  <a:lnTo>
                    <a:pt x="4" y="563"/>
                  </a:lnTo>
                  <a:lnTo>
                    <a:pt x="13" y="596"/>
                  </a:lnTo>
                  <a:lnTo>
                    <a:pt x="29" y="629"/>
                  </a:lnTo>
                  <a:lnTo>
                    <a:pt x="54" y="653"/>
                  </a:lnTo>
                  <a:lnTo>
                    <a:pt x="78" y="678"/>
                  </a:lnTo>
                  <a:lnTo>
                    <a:pt x="111" y="695"/>
                  </a:lnTo>
                  <a:lnTo>
                    <a:pt x="144" y="703"/>
                  </a:lnTo>
                  <a:lnTo>
                    <a:pt x="181" y="707"/>
                  </a:lnTo>
                  <a:lnTo>
                    <a:pt x="181" y="707"/>
                  </a:lnTo>
                  <a:lnTo>
                    <a:pt x="210" y="707"/>
                  </a:lnTo>
                  <a:lnTo>
                    <a:pt x="239" y="699"/>
                  </a:lnTo>
                  <a:lnTo>
                    <a:pt x="263" y="686"/>
                  </a:lnTo>
                  <a:lnTo>
                    <a:pt x="288" y="674"/>
                  </a:lnTo>
                  <a:lnTo>
                    <a:pt x="313" y="653"/>
                  </a:lnTo>
                  <a:lnTo>
                    <a:pt x="329" y="633"/>
                  </a:lnTo>
                  <a:lnTo>
                    <a:pt x="346" y="608"/>
                  </a:lnTo>
                  <a:lnTo>
                    <a:pt x="354" y="584"/>
                  </a:lnTo>
                  <a:lnTo>
                    <a:pt x="354" y="584"/>
                  </a:lnTo>
                  <a:lnTo>
                    <a:pt x="354" y="575"/>
                  </a:lnTo>
                  <a:lnTo>
                    <a:pt x="350" y="567"/>
                  </a:lnTo>
                  <a:lnTo>
                    <a:pt x="350" y="567"/>
                  </a:lnTo>
                  <a:lnTo>
                    <a:pt x="341" y="571"/>
                  </a:lnTo>
                  <a:lnTo>
                    <a:pt x="337" y="575"/>
                  </a:lnTo>
                  <a:lnTo>
                    <a:pt x="337" y="575"/>
                  </a:lnTo>
                  <a:lnTo>
                    <a:pt x="325" y="600"/>
                  </a:lnTo>
                  <a:lnTo>
                    <a:pt x="313" y="621"/>
                  </a:lnTo>
                  <a:lnTo>
                    <a:pt x="296" y="641"/>
                  </a:lnTo>
                  <a:lnTo>
                    <a:pt x="276" y="658"/>
                  </a:lnTo>
                  <a:lnTo>
                    <a:pt x="255" y="670"/>
                  </a:lnTo>
                  <a:lnTo>
                    <a:pt x="230" y="678"/>
                  </a:lnTo>
                  <a:lnTo>
                    <a:pt x="206" y="686"/>
                  </a:lnTo>
                  <a:lnTo>
                    <a:pt x="181" y="686"/>
                  </a:lnTo>
                  <a:lnTo>
                    <a:pt x="181" y="686"/>
                  </a:lnTo>
                  <a:lnTo>
                    <a:pt x="148" y="682"/>
                  </a:lnTo>
                  <a:lnTo>
                    <a:pt x="119" y="674"/>
                  </a:lnTo>
                  <a:lnTo>
                    <a:pt x="91" y="658"/>
                  </a:lnTo>
                  <a:lnTo>
                    <a:pt x="66" y="641"/>
                  </a:lnTo>
                  <a:lnTo>
                    <a:pt x="45" y="616"/>
                  </a:lnTo>
                  <a:lnTo>
                    <a:pt x="33" y="588"/>
                  </a:lnTo>
                  <a:lnTo>
                    <a:pt x="25" y="559"/>
                  </a:lnTo>
                  <a:lnTo>
                    <a:pt x="21" y="526"/>
                  </a:lnTo>
                  <a:lnTo>
                    <a:pt x="21" y="271"/>
                  </a:lnTo>
                  <a:lnTo>
                    <a:pt x="21" y="271"/>
                  </a:lnTo>
                  <a:lnTo>
                    <a:pt x="21" y="259"/>
                  </a:lnTo>
                  <a:lnTo>
                    <a:pt x="29" y="251"/>
                  </a:lnTo>
                  <a:lnTo>
                    <a:pt x="29" y="251"/>
                  </a:lnTo>
                  <a:lnTo>
                    <a:pt x="41" y="242"/>
                  </a:lnTo>
                  <a:lnTo>
                    <a:pt x="54" y="246"/>
                  </a:lnTo>
                  <a:lnTo>
                    <a:pt x="54" y="246"/>
                  </a:lnTo>
                  <a:lnTo>
                    <a:pt x="62" y="251"/>
                  </a:lnTo>
                  <a:lnTo>
                    <a:pt x="70" y="255"/>
                  </a:lnTo>
                  <a:lnTo>
                    <a:pt x="74" y="263"/>
                  </a:lnTo>
                  <a:lnTo>
                    <a:pt x="74" y="271"/>
                  </a:lnTo>
                  <a:lnTo>
                    <a:pt x="74" y="362"/>
                  </a:lnTo>
                  <a:lnTo>
                    <a:pt x="74" y="362"/>
                  </a:lnTo>
                  <a:lnTo>
                    <a:pt x="78" y="394"/>
                  </a:lnTo>
                  <a:lnTo>
                    <a:pt x="91" y="427"/>
                  </a:lnTo>
                  <a:lnTo>
                    <a:pt x="111" y="452"/>
                  </a:lnTo>
                  <a:lnTo>
                    <a:pt x="136" y="473"/>
                  </a:lnTo>
                  <a:lnTo>
                    <a:pt x="136" y="473"/>
                  </a:lnTo>
                  <a:lnTo>
                    <a:pt x="156" y="489"/>
                  </a:lnTo>
                  <a:lnTo>
                    <a:pt x="173" y="510"/>
                  </a:lnTo>
                  <a:lnTo>
                    <a:pt x="181" y="534"/>
                  </a:lnTo>
                  <a:lnTo>
                    <a:pt x="185" y="559"/>
                  </a:lnTo>
                  <a:lnTo>
                    <a:pt x="185" y="559"/>
                  </a:lnTo>
                  <a:lnTo>
                    <a:pt x="181" y="579"/>
                  </a:lnTo>
                  <a:lnTo>
                    <a:pt x="177" y="604"/>
                  </a:lnTo>
                  <a:lnTo>
                    <a:pt x="161" y="621"/>
                  </a:lnTo>
                  <a:lnTo>
                    <a:pt x="144" y="637"/>
                  </a:lnTo>
                  <a:lnTo>
                    <a:pt x="144" y="637"/>
                  </a:lnTo>
                  <a:lnTo>
                    <a:pt x="140" y="645"/>
                  </a:lnTo>
                  <a:lnTo>
                    <a:pt x="144" y="653"/>
                  </a:lnTo>
                  <a:lnTo>
                    <a:pt x="144" y="653"/>
                  </a:lnTo>
                  <a:lnTo>
                    <a:pt x="152" y="658"/>
                  </a:lnTo>
                  <a:lnTo>
                    <a:pt x="152" y="658"/>
                  </a:lnTo>
                  <a:lnTo>
                    <a:pt x="156" y="653"/>
                  </a:lnTo>
                  <a:lnTo>
                    <a:pt x="156" y="653"/>
                  </a:lnTo>
                  <a:lnTo>
                    <a:pt x="177" y="637"/>
                  </a:lnTo>
                  <a:lnTo>
                    <a:pt x="193" y="612"/>
                  </a:lnTo>
                  <a:lnTo>
                    <a:pt x="202" y="588"/>
                  </a:lnTo>
                  <a:lnTo>
                    <a:pt x="206" y="559"/>
                  </a:lnTo>
                  <a:lnTo>
                    <a:pt x="206" y="559"/>
                  </a:lnTo>
                  <a:lnTo>
                    <a:pt x="202" y="526"/>
                  </a:lnTo>
                  <a:lnTo>
                    <a:pt x="189" y="501"/>
                  </a:lnTo>
                  <a:lnTo>
                    <a:pt x="173" y="477"/>
                  </a:lnTo>
                  <a:lnTo>
                    <a:pt x="148" y="456"/>
                  </a:lnTo>
                  <a:lnTo>
                    <a:pt x="148" y="456"/>
                  </a:lnTo>
                  <a:lnTo>
                    <a:pt x="128" y="440"/>
                  </a:lnTo>
                  <a:lnTo>
                    <a:pt x="111" y="415"/>
                  </a:lnTo>
                  <a:lnTo>
                    <a:pt x="99" y="390"/>
                  </a:lnTo>
                  <a:lnTo>
                    <a:pt x="95" y="362"/>
                  </a:lnTo>
                  <a:lnTo>
                    <a:pt x="95" y="271"/>
                  </a:lnTo>
                  <a:lnTo>
                    <a:pt x="95" y="271"/>
                  </a:lnTo>
                  <a:lnTo>
                    <a:pt x="95" y="255"/>
                  </a:lnTo>
                  <a:lnTo>
                    <a:pt x="87" y="242"/>
                  </a:lnTo>
                  <a:lnTo>
                    <a:pt x="74" y="230"/>
                  </a:lnTo>
                  <a:lnTo>
                    <a:pt x="62" y="226"/>
                  </a:lnTo>
                  <a:lnTo>
                    <a:pt x="62" y="226"/>
                  </a:lnTo>
                  <a:lnTo>
                    <a:pt x="58" y="226"/>
                  </a:lnTo>
                  <a:lnTo>
                    <a:pt x="58" y="98"/>
                  </a:lnTo>
                  <a:lnTo>
                    <a:pt x="58" y="98"/>
                  </a:lnTo>
                  <a:lnTo>
                    <a:pt x="62" y="86"/>
                  </a:lnTo>
                  <a:lnTo>
                    <a:pt x="66" y="78"/>
                  </a:lnTo>
                  <a:lnTo>
                    <a:pt x="74" y="74"/>
                  </a:lnTo>
                  <a:lnTo>
                    <a:pt x="87" y="70"/>
                  </a:lnTo>
                  <a:lnTo>
                    <a:pt x="87" y="70"/>
                  </a:lnTo>
                  <a:lnTo>
                    <a:pt x="95" y="74"/>
                  </a:lnTo>
                  <a:lnTo>
                    <a:pt x="107" y="78"/>
                  </a:lnTo>
                  <a:lnTo>
                    <a:pt x="111" y="86"/>
                  </a:lnTo>
                  <a:lnTo>
                    <a:pt x="115" y="98"/>
                  </a:lnTo>
                  <a:lnTo>
                    <a:pt x="115" y="271"/>
                  </a:lnTo>
                  <a:lnTo>
                    <a:pt x="115" y="341"/>
                  </a:lnTo>
                  <a:lnTo>
                    <a:pt x="115" y="341"/>
                  </a:lnTo>
                  <a:lnTo>
                    <a:pt x="115" y="345"/>
                  </a:lnTo>
                  <a:lnTo>
                    <a:pt x="124" y="349"/>
                  </a:lnTo>
                  <a:lnTo>
                    <a:pt x="124" y="349"/>
                  </a:lnTo>
                  <a:lnTo>
                    <a:pt x="132" y="345"/>
                  </a:lnTo>
                  <a:lnTo>
                    <a:pt x="136" y="341"/>
                  </a:lnTo>
                  <a:lnTo>
                    <a:pt x="136" y="271"/>
                  </a:lnTo>
                  <a:lnTo>
                    <a:pt x="136" y="98"/>
                  </a:lnTo>
                  <a:lnTo>
                    <a:pt x="136" y="45"/>
                  </a:lnTo>
                  <a:lnTo>
                    <a:pt x="136" y="45"/>
                  </a:lnTo>
                  <a:lnTo>
                    <a:pt x="136" y="37"/>
                  </a:lnTo>
                  <a:lnTo>
                    <a:pt x="144" y="29"/>
                  </a:lnTo>
                  <a:lnTo>
                    <a:pt x="152" y="20"/>
                  </a:lnTo>
                  <a:lnTo>
                    <a:pt x="161" y="20"/>
                  </a:lnTo>
                  <a:lnTo>
                    <a:pt x="161" y="20"/>
                  </a:lnTo>
                  <a:lnTo>
                    <a:pt x="173" y="20"/>
                  </a:lnTo>
                  <a:lnTo>
                    <a:pt x="181" y="29"/>
                  </a:lnTo>
                  <a:lnTo>
                    <a:pt x="189" y="37"/>
                  </a:lnTo>
                  <a:lnTo>
                    <a:pt x="189" y="45"/>
                  </a:lnTo>
                  <a:lnTo>
                    <a:pt x="189" y="98"/>
                  </a:lnTo>
                  <a:lnTo>
                    <a:pt x="189" y="271"/>
                  </a:lnTo>
                  <a:lnTo>
                    <a:pt x="189" y="341"/>
                  </a:lnTo>
                  <a:lnTo>
                    <a:pt x="189" y="341"/>
                  </a:lnTo>
                  <a:lnTo>
                    <a:pt x="193" y="345"/>
                  </a:lnTo>
                  <a:lnTo>
                    <a:pt x="202" y="349"/>
                  </a:lnTo>
                  <a:lnTo>
                    <a:pt x="202" y="349"/>
                  </a:lnTo>
                  <a:lnTo>
                    <a:pt x="210" y="345"/>
                  </a:lnTo>
                  <a:lnTo>
                    <a:pt x="210" y="341"/>
                  </a:lnTo>
                  <a:lnTo>
                    <a:pt x="210" y="271"/>
                  </a:lnTo>
                  <a:lnTo>
                    <a:pt x="210" y="98"/>
                  </a:lnTo>
                  <a:lnTo>
                    <a:pt x="210" y="98"/>
                  </a:lnTo>
                  <a:lnTo>
                    <a:pt x="214" y="86"/>
                  </a:lnTo>
                  <a:lnTo>
                    <a:pt x="218" y="78"/>
                  </a:lnTo>
                  <a:lnTo>
                    <a:pt x="226" y="74"/>
                  </a:lnTo>
                  <a:lnTo>
                    <a:pt x="239" y="70"/>
                  </a:lnTo>
                  <a:lnTo>
                    <a:pt x="239" y="70"/>
                  </a:lnTo>
                  <a:lnTo>
                    <a:pt x="251" y="74"/>
                  </a:lnTo>
                  <a:lnTo>
                    <a:pt x="259" y="78"/>
                  </a:lnTo>
                  <a:lnTo>
                    <a:pt x="263" y="86"/>
                  </a:lnTo>
                  <a:lnTo>
                    <a:pt x="267" y="98"/>
                  </a:lnTo>
                  <a:lnTo>
                    <a:pt x="267" y="292"/>
                  </a:lnTo>
                  <a:lnTo>
                    <a:pt x="267" y="292"/>
                  </a:lnTo>
                  <a:lnTo>
                    <a:pt x="272" y="296"/>
                  </a:lnTo>
                  <a:lnTo>
                    <a:pt x="276" y="300"/>
                  </a:lnTo>
                  <a:lnTo>
                    <a:pt x="276" y="300"/>
                  </a:lnTo>
                  <a:lnTo>
                    <a:pt x="284" y="296"/>
                  </a:lnTo>
                  <a:lnTo>
                    <a:pt x="288" y="292"/>
                  </a:lnTo>
                  <a:lnTo>
                    <a:pt x="288" y="189"/>
                  </a:lnTo>
                  <a:lnTo>
                    <a:pt x="288" y="189"/>
                  </a:lnTo>
                  <a:lnTo>
                    <a:pt x="288" y="181"/>
                  </a:lnTo>
                  <a:lnTo>
                    <a:pt x="296" y="172"/>
                  </a:lnTo>
                  <a:lnTo>
                    <a:pt x="304" y="164"/>
                  </a:lnTo>
                  <a:lnTo>
                    <a:pt x="317" y="164"/>
                  </a:lnTo>
                  <a:lnTo>
                    <a:pt x="317" y="164"/>
                  </a:lnTo>
                  <a:lnTo>
                    <a:pt x="325" y="164"/>
                  </a:lnTo>
                  <a:lnTo>
                    <a:pt x="333" y="172"/>
                  </a:lnTo>
                  <a:lnTo>
                    <a:pt x="341" y="181"/>
                  </a:lnTo>
                  <a:lnTo>
                    <a:pt x="341" y="189"/>
                  </a:lnTo>
                  <a:lnTo>
                    <a:pt x="341" y="238"/>
                  </a:lnTo>
                  <a:lnTo>
                    <a:pt x="341" y="238"/>
                  </a:lnTo>
                  <a:lnTo>
                    <a:pt x="346" y="246"/>
                  </a:lnTo>
                  <a:lnTo>
                    <a:pt x="354" y="251"/>
                  </a:lnTo>
                  <a:lnTo>
                    <a:pt x="354" y="251"/>
                  </a:lnTo>
                  <a:lnTo>
                    <a:pt x="362" y="246"/>
                  </a:lnTo>
                  <a:lnTo>
                    <a:pt x="362" y="238"/>
                  </a:lnTo>
                  <a:lnTo>
                    <a:pt x="362" y="189"/>
                  </a:lnTo>
                  <a:lnTo>
                    <a:pt x="362" y="189"/>
                  </a:lnTo>
                  <a:lnTo>
                    <a:pt x="362" y="172"/>
                  </a:lnTo>
                  <a:lnTo>
                    <a:pt x="350" y="156"/>
                  </a:lnTo>
                  <a:lnTo>
                    <a:pt x="333" y="148"/>
                  </a:lnTo>
                  <a:lnTo>
                    <a:pt x="317" y="144"/>
                  </a:lnTo>
                  <a:lnTo>
                    <a:pt x="317"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Freeform 318">
              <a:extLst>
                <a:ext uri="{FF2B5EF4-FFF2-40B4-BE49-F238E27FC236}">
                  <a16:creationId xmlns:a16="http://schemas.microsoft.com/office/drawing/2014/main" id="{17B814C3-270C-F5FE-6A4E-83A44AD5CC39}"/>
                </a:ext>
              </a:extLst>
            </p:cNvPr>
            <p:cNvSpPr>
              <a:spLocks/>
            </p:cNvSpPr>
            <p:nvPr/>
          </p:nvSpPr>
          <p:spPr bwMode="auto">
            <a:xfrm>
              <a:off x="6924675" y="2454275"/>
              <a:ext cx="33338" cy="46038"/>
            </a:xfrm>
            <a:custGeom>
              <a:avLst/>
              <a:gdLst>
                <a:gd name="T0" fmla="*/ 13 w 21"/>
                <a:gd name="T1" fmla="*/ 0 h 29"/>
                <a:gd name="T2" fmla="*/ 13 w 21"/>
                <a:gd name="T3" fmla="*/ 0 h 29"/>
                <a:gd name="T4" fmla="*/ 4 w 21"/>
                <a:gd name="T5" fmla="*/ 0 h 29"/>
                <a:gd name="T6" fmla="*/ 0 w 21"/>
                <a:gd name="T7" fmla="*/ 8 h 29"/>
                <a:gd name="T8" fmla="*/ 0 w 21"/>
                <a:gd name="T9" fmla="*/ 21 h 29"/>
                <a:gd name="T10" fmla="*/ 0 w 21"/>
                <a:gd name="T11" fmla="*/ 21 h 29"/>
                <a:gd name="T12" fmla="*/ 4 w 21"/>
                <a:gd name="T13" fmla="*/ 25 h 29"/>
                <a:gd name="T14" fmla="*/ 13 w 21"/>
                <a:gd name="T15" fmla="*/ 29 h 29"/>
                <a:gd name="T16" fmla="*/ 13 w 21"/>
                <a:gd name="T17" fmla="*/ 29 h 29"/>
                <a:gd name="T18" fmla="*/ 17 w 21"/>
                <a:gd name="T19" fmla="*/ 25 h 29"/>
                <a:gd name="T20" fmla="*/ 21 w 21"/>
                <a:gd name="T21" fmla="*/ 21 h 29"/>
                <a:gd name="T22" fmla="*/ 21 w 21"/>
                <a:gd name="T23" fmla="*/ 8 h 29"/>
                <a:gd name="T24" fmla="*/ 21 w 21"/>
                <a:gd name="T25" fmla="*/ 8 h 29"/>
                <a:gd name="T26" fmla="*/ 17 w 21"/>
                <a:gd name="T27" fmla="*/ 0 h 29"/>
                <a:gd name="T28" fmla="*/ 13 w 21"/>
                <a:gd name="T29" fmla="*/ 0 h 29"/>
                <a:gd name="T30" fmla="*/ 13 w 21"/>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13" y="0"/>
                  </a:moveTo>
                  <a:lnTo>
                    <a:pt x="13" y="0"/>
                  </a:lnTo>
                  <a:lnTo>
                    <a:pt x="4" y="0"/>
                  </a:lnTo>
                  <a:lnTo>
                    <a:pt x="0" y="8"/>
                  </a:lnTo>
                  <a:lnTo>
                    <a:pt x="0" y="21"/>
                  </a:lnTo>
                  <a:lnTo>
                    <a:pt x="0" y="21"/>
                  </a:lnTo>
                  <a:lnTo>
                    <a:pt x="4" y="25"/>
                  </a:lnTo>
                  <a:lnTo>
                    <a:pt x="13" y="29"/>
                  </a:lnTo>
                  <a:lnTo>
                    <a:pt x="13" y="29"/>
                  </a:lnTo>
                  <a:lnTo>
                    <a:pt x="17" y="25"/>
                  </a:lnTo>
                  <a:lnTo>
                    <a:pt x="21" y="21"/>
                  </a:lnTo>
                  <a:lnTo>
                    <a:pt x="21" y="8"/>
                  </a:lnTo>
                  <a:lnTo>
                    <a:pt x="21" y="8"/>
                  </a:lnTo>
                  <a:lnTo>
                    <a:pt x="17" y="0"/>
                  </a:lnTo>
                  <a:lnTo>
                    <a:pt x="13" y="0"/>
                  </a:ln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Freeform 319">
              <a:extLst>
                <a:ext uri="{FF2B5EF4-FFF2-40B4-BE49-F238E27FC236}">
                  <a16:creationId xmlns:a16="http://schemas.microsoft.com/office/drawing/2014/main" id="{064F3071-9AF8-06E2-182E-A4568E2DF228}"/>
                </a:ext>
              </a:extLst>
            </p:cNvPr>
            <p:cNvSpPr>
              <a:spLocks/>
            </p:cNvSpPr>
            <p:nvPr/>
          </p:nvSpPr>
          <p:spPr bwMode="auto">
            <a:xfrm>
              <a:off x="7029450" y="2454275"/>
              <a:ext cx="33338" cy="46038"/>
            </a:xfrm>
            <a:custGeom>
              <a:avLst/>
              <a:gdLst>
                <a:gd name="T0" fmla="*/ 0 w 21"/>
                <a:gd name="T1" fmla="*/ 8 h 29"/>
                <a:gd name="T2" fmla="*/ 0 w 21"/>
                <a:gd name="T3" fmla="*/ 21 h 29"/>
                <a:gd name="T4" fmla="*/ 0 w 21"/>
                <a:gd name="T5" fmla="*/ 21 h 29"/>
                <a:gd name="T6" fmla="*/ 4 w 21"/>
                <a:gd name="T7" fmla="*/ 25 h 29"/>
                <a:gd name="T8" fmla="*/ 12 w 21"/>
                <a:gd name="T9" fmla="*/ 29 h 29"/>
                <a:gd name="T10" fmla="*/ 12 w 21"/>
                <a:gd name="T11" fmla="*/ 29 h 29"/>
                <a:gd name="T12" fmla="*/ 16 w 21"/>
                <a:gd name="T13" fmla="*/ 25 h 29"/>
                <a:gd name="T14" fmla="*/ 21 w 21"/>
                <a:gd name="T15" fmla="*/ 21 h 29"/>
                <a:gd name="T16" fmla="*/ 21 w 21"/>
                <a:gd name="T17" fmla="*/ 8 h 29"/>
                <a:gd name="T18" fmla="*/ 21 w 21"/>
                <a:gd name="T19" fmla="*/ 8 h 29"/>
                <a:gd name="T20" fmla="*/ 16 w 21"/>
                <a:gd name="T21" fmla="*/ 0 h 29"/>
                <a:gd name="T22" fmla="*/ 12 w 21"/>
                <a:gd name="T23" fmla="*/ 0 h 29"/>
                <a:gd name="T24" fmla="*/ 12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1"/>
                  </a:lnTo>
                  <a:lnTo>
                    <a:pt x="0" y="21"/>
                  </a:lnTo>
                  <a:lnTo>
                    <a:pt x="4" y="25"/>
                  </a:lnTo>
                  <a:lnTo>
                    <a:pt x="12" y="29"/>
                  </a:lnTo>
                  <a:lnTo>
                    <a:pt x="12" y="29"/>
                  </a:lnTo>
                  <a:lnTo>
                    <a:pt x="16" y="25"/>
                  </a:lnTo>
                  <a:lnTo>
                    <a:pt x="21" y="21"/>
                  </a:lnTo>
                  <a:lnTo>
                    <a:pt x="21" y="8"/>
                  </a:lnTo>
                  <a:lnTo>
                    <a:pt x="21" y="8"/>
                  </a:lnTo>
                  <a:lnTo>
                    <a:pt x="16" y="0"/>
                  </a:lnTo>
                  <a:lnTo>
                    <a:pt x="12" y="0"/>
                  </a:lnTo>
                  <a:lnTo>
                    <a:pt x="12"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Freeform 320">
              <a:extLst>
                <a:ext uri="{FF2B5EF4-FFF2-40B4-BE49-F238E27FC236}">
                  <a16:creationId xmlns:a16="http://schemas.microsoft.com/office/drawing/2014/main" id="{99702372-D9DD-79FD-4228-0A956A6F07B1}"/>
                </a:ext>
              </a:extLst>
            </p:cNvPr>
            <p:cNvSpPr>
              <a:spLocks/>
            </p:cNvSpPr>
            <p:nvPr/>
          </p:nvSpPr>
          <p:spPr bwMode="auto">
            <a:xfrm>
              <a:off x="6977063" y="2506663"/>
              <a:ext cx="33338" cy="46038"/>
            </a:xfrm>
            <a:custGeom>
              <a:avLst/>
              <a:gdLst>
                <a:gd name="T0" fmla="*/ 12 w 21"/>
                <a:gd name="T1" fmla="*/ 0 h 29"/>
                <a:gd name="T2" fmla="*/ 12 w 21"/>
                <a:gd name="T3" fmla="*/ 0 h 29"/>
                <a:gd name="T4" fmla="*/ 4 w 21"/>
                <a:gd name="T5" fmla="*/ 0 h 29"/>
                <a:gd name="T6" fmla="*/ 0 w 21"/>
                <a:gd name="T7" fmla="*/ 8 h 29"/>
                <a:gd name="T8" fmla="*/ 0 w 21"/>
                <a:gd name="T9" fmla="*/ 20 h 29"/>
                <a:gd name="T10" fmla="*/ 0 w 21"/>
                <a:gd name="T11" fmla="*/ 20 h 29"/>
                <a:gd name="T12" fmla="*/ 4 w 21"/>
                <a:gd name="T13" fmla="*/ 25 h 29"/>
                <a:gd name="T14" fmla="*/ 12 w 21"/>
                <a:gd name="T15" fmla="*/ 29 h 29"/>
                <a:gd name="T16" fmla="*/ 12 w 21"/>
                <a:gd name="T17" fmla="*/ 29 h 29"/>
                <a:gd name="T18" fmla="*/ 17 w 21"/>
                <a:gd name="T19" fmla="*/ 25 h 29"/>
                <a:gd name="T20" fmla="*/ 21 w 21"/>
                <a:gd name="T21" fmla="*/ 20 h 29"/>
                <a:gd name="T22" fmla="*/ 21 w 21"/>
                <a:gd name="T23" fmla="*/ 8 h 29"/>
                <a:gd name="T24" fmla="*/ 21 w 21"/>
                <a:gd name="T25" fmla="*/ 8 h 29"/>
                <a:gd name="T26" fmla="*/ 17 w 21"/>
                <a:gd name="T27" fmla="*/ 0 h 29"/>
                <a:gd name="T28" fmla="*/ 12 w 21"/>
                <a:gd name="T29" fmla="*/ 0 h 29"/>
                <a:gd name="T30" fmla="*/ 12 w 21"/>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12" y="0"/>
                  </a:moveTo>
                  <a:lnTo>
                    <a:pt x="12" y="0"/>
                  </a:lnTo>
                  <a:lnTo>
                    <a:pt x="4" y="0"/>
                  </a:lnTo>
                  <a:lnTo>
                    <a:pt x="0" y="8"/>
                  </a:lnTo>
                  <a:lnTo>
                    <a:pt x="0" y="20"/>
                  </a:lnTo>
                  <a:lnTo>
                    <a:pt x="0" y="20"/>
                  </a:lnTo>
                  <a:lnTo>
                    <a:pt x="4" y="25"/>
                  </a:lnTo>
                  <a:lnTo>
                    <a:pt x="12" y="29"/>
                  </a:lnTo>
                  <a:lnTo>
                    <a:pt x="12" y="29"/>
                  </a:lnTo>
                  <a:lnTo>
                    <a:pt x="17" y="25"/>
                  </a:lnTo>
                  <a:lnTo>
                    <a:pt x="21" y="20"/>
                  </a:lnTo>
                  <a:lnTo>
                    <a:pt x="21" y="8"/>
                  </a:lnTo>
                  <a:lnTo>
                    <a:pt x="21" y="8"/>
                  </a:lnTo>
                  <a:lnTo>
                    <a:pt x="17" y="0"/>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Freeform 321">
              <a:extLst>
                <a:ext uri="{FF2B5EF4-FFF2-40B4-BE49-F238E27FC236}">
                  <a16:creationId xmlns:a16="http://schemas.microsoft.com/office/drawing/2014/main" id="{85236767-D89E-8DFF-B5BD-D6E9F7A5AD29}"/>
                </a:ext>
              </a:extLst>
            </p:cNvPr>
            <p:cNvSpPr>
              <a:spLocks/>
            </p:cNvSpPr>
            <p:nvPr/>
          </p:nvSpPr>
          <p:spPr bwMode="auto">
            <a:xfrm>
              <a:off x="6813550" y="2630488"/>
              <a:ext cx="33338" cy="46038"/>
            </a:xfrm>
            <a:custGeom>
              <a:avLst/>
              <a:gdLst>
                <a:gd name="T0" fmla="*/ 0 w 21"/>
                <a:gd name="T1" fmla="*/ 8 h 29"/>
                <a:gd name="T2" fmla="*/ 0 w 21"/>
                <a:gd name="T3" fmla="*/ 21 h 29"/>
                <a:gd name="T4" fmla="*/ 0 w 21"/>
                <a:gd name="T5" fmla="*/ 21 h 29"/>
                <a:gd name="T6" fmla="*/ 4 w 21"/>
                <a:gd name="T7" fmla="*/ 29 h 29"/>
                <a:gd name="T8" fmla="*/ 13 w 21"/>
                <a:gd name="T9" fmla="*/ 29 h 29"/>
                <a:gd name="T10" fmla="*/ 13 w 21"/>
                <a:gd name="T11" fmla="*/ 29 h 29"/>
                <a:gd name="T12" fmla="*/ 21 w 21"/>
                <a:gd name="T13" fmla="*/ 29 h 29"/>
                <a:gd name="T14" fmla="*/ 21 w 21"/>
                <a:gd name="T15" fmla="*/ 21 h 29"/>
                <a:gd name="T16" fmla="*/ 21 w 21"/>
                <a:gd name="T17" fmla="*/ 8 h 29"/>
                <a:gd name="T18" fmla="*/ 21 w 21"/>
                <a:gd name="T19" fmla="*/ 8 h 29"/>
                <a:gd name="T20" fmla="*/ 21 w 21"/>
                <a:gd name="T21" fmla="*/ 0 h 29"/>
                <a:gd name="T22" fmla="*/ 13 w 21"/>
                <a:gd name="T23" fmla="*/ 0 h 29"/>
                <a:gd name="T24" fmla="*/ 13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1"/>
                  </a:lnTo>
                  <a:lnTo>
                    <a:pt x="0" y="21"/>
                  </a:lnTo>
                  <a:lnTo>
                    <a:pt x="4" y="29"/>
                  </a:lnTo>
                  <a:lnTo>
                    <a:pt x="13" y="29"/>
                  </a:lnTo>
                  <a:lnTo>
                    <a:pt x="13" y="29"/>
                  </a:lnTo>
                  <a:lnTo>
                    <a:pt x="21" y="29"/>
                  </a:lnTo>
                  <a:lnTo>
                    <a:pt x="21" y="21"/>
                  </a:lnTo>
                  <a:lnTo>
                    <a:pt x="21" y="8"/>
                  </a:lnTo>
                  <a:lnTo>
                    <a:pt x="21" y="8"/>
                  </a:lnTo>
                  <a:lnTo>
                    <a:pt x="21" y="0"/>
                  </a:lnTo>
                  <a:lnTo>
                    <a:pt x="13" y="0"/>
                  </a:lnTo>
                  <a:lnTo>
                    <a:pt x="13"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Freeform 322">
              <a:extLst>
                <a:ext uri="{FF2B5EF4-FFF2-40B4-BE49-F238E27FC236}">
                  <a16:creationId xmlns:a16="http://schemas.microsoft.com/office/drawing/2014/main" id="{63BD7B0C-8D0D-49C2-CA86-A22CAD680F8A}"/>
                </a:ext>
              </a:extLst>
            </p:cNvPr>
            <p:cNvSpPr>
              <a:spLocks/>
            </p:cNvSpPr>
            <p:nvPr/>
          </p:nvSpPr>
          <p:spPr bwMode="auto">
            <a:xfrm>
              <a:off x="6918325" y="2630488"/>
              <a:ext cx="33338" cy="46038"/>
            </a:xfrm>
            <a:custGeom>
              <a:avLst/>
              <a:gdLst>
                <a:gd name="T0" fmla="*/ 0 w 21"/>
                <a:gd name="T1" fmla="*/ 8 h 29"/>
                <a:gd name="T2" fmla="*/ 0 w 21"/>
                <a:gd name="T3" fmla="*/ 21 h 29"/>
                <a:gd name="T4" fmla="*/ 0 w 21"/>
                <a:gd name="T5" fmla="*/ 21 h 29"/>
                <a:gd name="T6" fmla="*/ 4 w 21"/>
                <a:gd name="T7" fmla="*/ 29 h 29"/>
                <a:gd name="T8" fmla="*/ 12 w 21"/>
                <a:gd name="T9" fmla="*/ 29 h 29"/>
                <a:gd name="T10" fmla="*/ 12 w 21"/>
                <a:gd name="T11" fmla="*/ 29 h 29"/>
                <a:gd name="T12" fmla="*/ 21 w 21"/>
                <a:gd name="T13" fmla="*/ 29 h 29"/>
                <a:gd name="T14" fmla="*/ 21 w 21"/>
                <a:gd name="T15" fmla="*/ 21 h 29"/>
                <a:gd name="T16" fmla="*/ 21 w 21"/>
                <a:gd name="T17" fmla="*/ 8 h 29"/>
                <a:gd name="T18" fmla="*/ 21 w 21"/>
                <a:gd name="T19" fmla="*/ 8 h 29"/>
                <a:gd name="T20" fmla="*/ 21 w 21"/>
                <a:gd name="T21" fmla="*/ 0 h 29"/>
                <a:gd name="T22" fmla="*/ 12 w 21"/>
                <a:gd name="T23" fmla="*/ 0 h 29"/>
                <a:gd name="T24" fmla="*/ 12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1"/>
                  </a:lnTo>
                  <a:lnTo>
                    <a:pt x="0" y="21"/>
                  </a:lnTo>
                  <a:lnTo>
                    <a:pt x="4" y="29"/>
                  </a:lnTo>
                  <a:lnTo>
                    <a:pt x="12" y="29"/>
                  </a:lnTo>
                  <a:lnTo>
                    <a:pt x="12" y="29"/>
                  </a:lnTo>
                  <a:lnTo>
                    <a:pt x="21" y="29"/>
                  </a:lnTo>
                  <a:lnTo>
                    <a:pt x="21" y="21"/>
                  </a:lnTo>
                  <a:lnTo>
                    <a:pt x="21" y="8"/>
                  </a:lnTo>
                  <a:lnTo>
                    <a:pt x="21" y="8"/>
                  </a:lnTo>
                  <a:lnTo>
                    <a:pt x="21" y="0"/>
                  </a:lnTo>
                  <a:lnTo>
                    <a:pt x="12" y="0"/>
                  </a:lnTo>
                  <a:lnTo>
                    <a:pt x="12"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323">
              <a:extLst>
                <a:ext uri="{FF2B5EF4-FFF2-40B4-BE49-F238E27FC236}">
                  <a16:creationId xmlns:a16="http://schemas.microsoft.com/office/drawing/2014/main" id="{323E9584-6E6A-95EA-CC10-FE8EF30F34FF}"/>
                </a:ext>
              </a:extLst>
            </p:cNvPr>
            <p:cNvSpPr>
              <a:spLocks/>
            </p:cNvSpPr>
            <p:nvPr/>
          </p:nvSpPr>
          <p:spPr bwMode="auto">
            <a:xfrm>
              <a:off x="6865938" y="2682875"/>
              <a:ext cx="33338" cy="46038"/>
            </a:xfrm>
            <a:custGeom>
              <a:avLst/>
              <a:gdLst>
                <a:gd name="T0" fmla="*/ 0 w 21"/>
                <a:gd name="T1" fmla="*/ 8 h 29"/>
                <a:gd name="T2" fmla="*/ 0 w 21"/>
                <a:gd name="T3" fmla="*/ 20 h 29"/>
                <a:gd name="T4" fmla="*/ 0 w 21"/>
                <a:gd name="T5" fmla="*/ 20 h 29"/>
                <a:gd name="T6" fmla="*/ 4 w 21"/>
                <a:gd name="T7" fmla="*/ 29 h 29"/>
                <a:gd name="T8" fmla="*/ 13 w 21"/>
                <a:gd name="T9" fmla="*/ 29 h 29"/>
                <a:gd name="T10" fmla="*/ 13 w 21"/>
                <a:gd name="T11" fmla="*/ 29 h 29"/>
                <a:gd name="T12" fmla="*/ 21 w 21"/>
                <a:gd name="T13" fmla="*/ 29 h 29"/>
                <a:gd name="T14" fmla="*/ 21 w 21"/>
                <a:gd name="T15" fmla="*/ 20 h 29"/>
                <a:gd name="T16" fmla="*/ 21 w 21"/>
                <a:gd name="T17" fmla="*/ 8 h 29"/>
                <a:gd name="T18" fmla="*/ 21 w 21"/>
                <a:gd name="T19" fmla="*/ 8 h 29"/>
                <a:gd name="T20" fmla="*/ 21 w 21"/>
                <a:gd name="T21" fmla="*/ 0 h 29"/>
                <a:gd name="T22" fmla="*/ 13 w 21"/>
                <a:gd name="T23" fmla="*/ 0 h 29"/>
                <a:gd name="T24" fmla="*/ 13 w 21"/>
                <a:gd name="T25" fmla="*/ 0 h 29"/>
                <a:gd name="T26" fmla="*/ 4 w 21"/>
                <a:gd name="T27" fmla="*/ 0 h 29"/>
                <a:gd name="T28" fmla="*/ 0 w 21"/>
                <a:gd name="T29" fmla="*/ 8 h 29"/>
                <a:gd name="T30" fmla="*/ 0 w 21"/>
                <a:gd name="T31"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9">
                  <a:moveTo>
                    <a:pt x="0" y="8"/>
                  </a:moveTo>
                  <a:lnTo>
                    <a:pt x="0" y="20"/>
                  </a:lnTo>
                  <a:lnTo>
                    <a:pt x="0" y="20"/>
                  </a:lnTo>
                  <a:lnTo>
                    <a:pt x="4" y="29"/>
                  </a:lnTo>
                  <a:lnTo>
                    <a:pt x="13" y="29"/>
                  </a:lnTo>
                  <a:lnTo>
                    <a:pt x="13" y="29"/>
                  </a:lnTo>
                  <a:lnTo>
                    <a:pt x="21" y="29"/>
                  </a:lnTo>
                  <a:lnTo>
                    <a:pt x="21" y="20"/>
                  </a:lnTo>
                  <a:lnTo>
                    <a:pt x="21" y="8"/>
                  </a:lnTo>
                  <a:lnTo>
                    <a:pt x="21" y="8"/>
                  </a:lnTo>
                  <a:lnTo>
                    <a:pt x="21" y="0"/>
                  </a:lnTo>
                  <a:lnTo>
                    <a:pt x="13" y="0"/>
                  </a:lnTo>
                  <a:lnTo>
                    <a:pt x="13" y="0"/>
                  </a:lnTo>
                  <a:lnTo>
                    <a:pt x="4" y="0"/>
                  </a:lnTo>
                  <a:lnTo>
                    <a:pt x="0"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9" name="Freeform 324">
              <a:extLst>
                <a:ext uri="{FF2B5EF4-FFF2-40B4-BE49-F238E27FC236}">
                  <a16:creationId xmlns:a16="http://schemas.microsoft.com/office/drawing/2014/main" id="{DC513107-5786-C322-6B28-D99094D397D4}"/>
                </a:ext>
              </a:extLst>
            </p:cNvPr>
            <p:cNvSpPr>
              <a:spLocks/>
            </p:cNvSpPr>
            <p:nvPr/>
          </p:nvSpPr>
          <p:spPr bwMode="auto">
            <a:xfrm>
              <a:off x="7081838" y="2773363"/>
              <a:ext cx="31750" cy="52388"/>
            </a:xfrm>
            <a:custGeom>
              <a:avLst/>
              <a:gdLst>
                <a:gd name="T0" fmla="*/ 0 w 20"/>
                <a:gd name="T1" fmla="*/ 13 h 33"/>
                <a:gd name="T2" fmla="*/ 0 w 20"/>
                <a:gd name="T3" fmla="*/ 21 h 33"/>
                <a:gd name="T4" fmla="*/ 0 w 20"/>
                <a:gd name="T5" fmla="*/ 21 h 33"/>
                <a:gd name="T6" fmla="*/ 4 w 20"/>
                <a:gd name="T7" fmla="*/ 29 h 33"/>
                <a:gd name="T8" fmla="*/ 12 w 20"/>
                <a:gd name="T9" fmla="*/ 33 h 33"/>
                <a:gd name="T10" fmla="*/ 12 w 20"/>
                <a:gd name="T11" fmla="*/ 33 h 33"/>
                <a:gd name="T12" fmla="*/ 16 w 20"/>
                <a:gd name="T13" fmla="*/ 29 h 33"/>
                <a:gd name="T14" fmla="*/ 20 w 20"/>
                <a:gd name="T15" fmla="*/ 21 h 33"/>
                <a:gd name="T16" fmla="*/ 20 w 20"/>
                <a:gd name="T17" fmla="*/ 13 h 33"/>
                <a:gd name="T18" fmla="*/ 20 w 20"/>
                <a:gd name="T19" fmla="*/ 13 h 33"/>
                <a:gd name="T20" fmla="*/ 16 w 20"/>
                <a:gd name="T21" fmla="*/ 5 h 33"/>
                <a:gd name="T22" fmla="*/ 12 w 20"/>
                <a:gd name="T23" fmla="*/ 0 h 33"/>
                <a:gd name="T24" fmla="*/ 12 w 20"/>
                <a:gd name="T25" fmla="*/ 0 h 33"/>
                <a:gd name="T26" fmla="*/ 4 w 20"/>
                <a:gd name="T27" fmla="*/ 5 h 33"/>
                <a:gd name="T28" fmla="*/ 0 w 20"/>
                <a:gd name="T29" fmla="*/ 13 h 33"/>
                <a:gd name="T30" fmla="*/ 0 w 20"/>
                <a:gd name="T31"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3">
                  <a:moveTo>
                    <a:pt x="0" y="13"/>
                  </a:moveTo>
                  <a:lnTo>
                    <a:pt x="0" y="21"/>
                  </a:lnTo>
                  <a:lnTo>
                    <a:pt x="0" y="21"/>
                  </a:lnTo>
                  <a:lnTo>
                    <a:pt x="4" y="29"/>
                  </a:lnTo>
                  <a:lnTo>
                    <a:pt x="12" y="33"/>
                  </a:lnTo>
                  <a:lnTo>
                    <a:pt x="12" y="33"/>
                  </a:lnTo>
                  <a:lnTo>
                    <a:pt x="16" y="29"/>
                  </a:lnTo>
                  <a:lnTo>
                    <a:pt x="20" y="21"/>
                  </a:lnTo>
                  <a:lnTo>
                    <a:pt x="20" y="13"/>
                  </a:lnTo>
                  <a:lnTo>
                    <a:pt x="20" y="13"/>
                  </a:lnTo>
                  <a:lnTo>
                    <a:pt x="16" y="5"/>
                  </a:lnTo>
                  <a:lnTo>
                    <a:pt x="12" y="0"/>
                  </a:lnTo>
                  <a:lnTo>
                    <a:pt x="12" y="0"/>
                  </a:lnTo>
                  <a:lnTo>
                    <a:pt x="4" y="5"/>
                  </a:lnTo>
                  <a:lnTo>
                    <a:pt x="0" y="13"/>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0" name="Freeform 325">
              <a:extLst>
                <a:ext uri="{FF2B5EF4-FFF2-40B4-BE49-F238E27FC236}">
                  <a16:creationId xmlns:a16="http://schemas.microsoft.com/office/drawing/2014/main" id="{22221F77-7B00-FF63-F591-DD6CDEA15475}"/>
                </a:ext>
              </a:extLst>
            </p:cNvPr>
            <p:cNvSpPr>
              <a:spLocks/>
            </p:cNvSpPr>
            <p:nvPr/>
          </p:nvSpPr>
          <p:spPr bwMode="auto">
            <a:xfrm>
              <a:off x="7186613" y="2773363"/>
              <a:ext cx="31750" cy="52388"/>
            </a:xfrm>
            <a:custGeom>
              <a:avLst/>
              <a:gdLst>
                <a:gd name="T0" fmla="*/ 12 w 20"/>
                <a:gd name="T1" fmla="*/ 0 h 33"/>
                <a:gd name="T2" fmla="*/ 12 w 20"/>
                <a:gd name="T3" fmla="*/ 0 h 33"/>
                <a:gd name="T4" fmla="*/ 4 w 20"/>
                <a:gd name="T5" fmla="*/ 5 h 33"/>
                <a:gd name="T6" fmla="*/ 0 w 20"/>
                <a:gd name="T7" fmla="*/ 13 h 33"/>
                <a:gd name="T8" fmla="*/ 0 w 20"/>
                <a:gd name="T9" fmla="*/ 21 h 33"/>
                <a:gd name="T10" fmla="*/ 0 w 20"/>
                <a:gd name="T11" fmla="*/ 21 h 33"/>
                <a:gd name="T12" fmla="*/ 4 w 20"/>
                <a:gd name="T13" fmla="*/ 29 h 33"/>
                <a:gd name="T14" fmla="*/ 12 w 20"/>
                <a:gd name="T15" fmla="*/ 33 h 33"/>
                <a:gd name="T16" fmla="*/ 12 w 20"/>
                <a:gd name="T17" fmla="*/ 33 h 33"/>
                <a:gd name="T18" fmla="*/ 16 w 20"/>
                <a:gd name="T19" fmla="*/ 29 h 33"/>
                <a:gd name="T20" fmla="*/ 20 w 20"/>
                <a:gd name="T21" fmla="*/ 21 h 33"/>
                <a:gd name="T22" fmla="*/ 20 w 20"/>
                <a:gd name="T23" fmla="*/ 13 h 33"/>
                <a:gd name="T24" fmla="*/ 20 w 20"/>
                <a:gd name="T25" fmla="*/ 13 h 33"/>
                <a:gd name="T26" fmla="*/ 16 w 20"/>
                <a:gd name="T27" fmla="*/ 5 h 33"/>
                <a:gd name="T28" fmla="*/ 12 w 20"/>
                <a:gd name="T29" fmla="*/ 0 h 33"/>
                <a:gd name="T30" fmla="*/ 12 w 20"/>
                <a:gd name="T3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3">
                  <a:moveTo>
                    <a:pt x="12" y="0"/>
                  </a:moveTo>
                  <a:lnTo>
                    <a:pt x="12" y="0"/>
                  </a:lnTo>
                  <a:lnTo>
                    <a:pt x="4" y="5"/>
                  </a:lnTo>
                  <a:lnTo>
                    <a:pt x="0" y="13"/>
                  </a:lnTo>
                  <a:lnTo>
                    <a:pt x="0" y="21"/>
                  </a:lnTo>
                  <a:lnTo>
                    <a:pt x="0" y="21"/>
                  </a:lnTo>
                  <a:lnTo>
                    <a:pt x="4" y="29"/>
                  </a:lnTo>
                  <a:lnTo>
                    <a:pt x="12" y="33"/>
                  </a:lnTo>
                  <a:lnTo>
                    <a:pt x="12" y="33"/>
                  </a:lnTo>
                  <a:lnTo>
                    <a:pt x="16" y="29"/>
                  </a:lnTo>
                  <a:lnTo>
                    <a:pt x="20" y="21"/>
                  </a:lnTo>
                  <a:lnTo>
                    <a:pt x="20" y="13"/>
                  </a:lnTo>
                  <a:lnTo>
                    <a:pt x="20" y="13"/>
                  </a:lnTo>
                  <a:lnTo>
                    <a:pt x="16" y="5"/>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1" name="Freeform 326">
              <a:extLst>
                <a:ext uri="{FF2B5EF4-FFF2-40B4-BE49-F238E27FC236}">
                  <a16:creationId xmlns:a16="http://schemas.microsoft.com/office/drawing/2014/main" id="{84472CDF-62F3-0616-8034-90C098116FBC}"/>
                </a:ext>
              </a:extLst>
            </p:cNvPr>
            <p:cNvSpPr>
              <a:spLocks/>
            </p:cNvSpPr>
            <p:nvPr/>
          </p:nvSpPr>
          <p:spPr bwMode="auto">
            <a:xfrm>
              <a:off x="7134225" y="2825750"/>
              <a:ext cx="31750" cy="52388"/>
            </a:xfrm>
            <a:custGeom>
              <a:avLst/>
              <a:gdLst>
                <a:gd name="T0" fmla="*/ 0 w 20"/>
                <a:gd name="T1" fmla="*/ 13 h 33"/>
                <a:gd name="T2" fmla="*/ 0 w 20"/>
                <a:gd name="T3" fmla="*/ 21 h 33"/>
                <a:gd name="T4" fmla="*/ 0 w 20"/>
                <a:gd name="T5" fmla="*/ 21 h 33"/>
                <a:gd name="T6" fmla="*/ 4 w 20"/>
                <a:gd name="T7" fmla="*/ 29 h 33"/>
                <a:gd name="T8" fmla="*/ 12 w 20"/>
                <a:gd name="T9" fmla="*/ 33 h 33"/>
                <a:gd name="T10" fmla="*/ 12 w 20"/>
                <a:gd name="T11" fmla="*/ 33 h 33"/>
                <a:gd name="T12" fmla="*/ 16 w 20"/>
                <a:gd name="T13" fmla="*/ 29 h 33"/>
                <a:gd name="T14" fmla="*/ 20 w 20"/>
                <a:gd name="T15" fmla="*/ 21 h 33"/>
                <a:gd name="T16" fmla="*/ 20 w 20"/>
                <a:gd name="T17" fmla="*/ 13 h 33"/>
                <a:gd name="T18" fmla="*/ 20 w 20"/>
                <a:gd name="T19" fmla="*/ 13 h 33"/>
                <a:gd name="T20" fmla="*/ 16 w 20"/>
                <a:gd name="T21" fmla="*/ 4 h 33"/>
                <a:gd name="T22" fmla="*/ 12 w 20"/>
                <a:gd name="T23" fmla="*/ 0 h 33"/>
                <a:gd name="T24" fmla="*/ 12 w 20"/>
                <a:gd name="T25" fmla="*/ 0 h 33"/>
                <a:gd name="T26" fmla="*/ 4 w 20"/>
                <a:gd name="T27" fmla="*/ 4 h 33"/>
                <a:gd name="T28" fmla="*/ 0 w 20"/>
                <a:gd name="T29" fmla="*/ 13 h 33"/>
                <a:gd name="T30" fmla="*/ 0 w 20"/>
                <a:gd name="T31"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33">
                  <a:moveTo>
                    <a:pt x="0" y="13"/>
                  </a:moveTo>
                  <a:lnTo>
                    <a:pt x="0" y="21"/>
                  </a:lnTo>
                  <a:lnTo>
                    <a:pt x="0" y="21"/>
                  </a:lnTo>
                  <a:lnTo>
                    <a:pt x="4" y="29"/>
                  </a:lnTo>
                  <a:lnTo>
                    <a:pt x="12" y="33"/>
                  </a:lnTo>
                  <a:lnTo>
                    <a:pt x="12" y="33"/>
                  </a:lnTo>
                  <a:lnTo>
                    <a:pt x="16" y="29"/>
                  </a:lnTo>
                  <a:lnTo>
                    <a:pt x="20" y="21"/>
                  </a:lnTo>
                  <a:lnTo>
                    <a:pt x="20" y="13"/>
                  </a:lnTo>
                  <a:lnTo>
                    <a:pt x="20" y="13"/>
                  </a:lnTo>
                  <a:lnTo>
                    <a:pt x="16" y="4"/>
                  </a:lnTo>
                  <a:lnTo>
                    <a:pt x="12" y="0"/>
                  </a:lnTo>
                  <a:lnTo>
                    <a:pt x="12" y="0"/>
                  </a:lnTo>
                  <a:lnTo>
                    <a:pt x="4" y="4"/>
                  </a:lnTo>
                  <a:lnTo>
                    <a:pt x="0" y="13"/>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2" name="Freeform 327">
              <a:extLst>
                <a:ext uri="{FF2B5EF4-FFF2-40B4-BE49-F238E27FC236}">
                  <a16:creationId xmlns:a16="http://schemas.microsoft.com/office/drawing/2014/main" id="{81311767-95C6-E172-AEAC-8C8569055838}"/>
                </a:ext>
              </a:extLst>
            </p:cNvPr>
            <p:cNvSpPr>
              <a:spLocks noEditPoints="1"/>
            </p:cNvSpPr>
            <p:nvPr/>
          </p:nvSpPr>
          <p:spPr bwMode="auto">
            <a:xfrm>
              <a:off x="7165975" y="2271713"/>
              <a:ext cx="469900" cy="469900"/>
            </a:xfrm>
            <a:custGeom>
              <a:avLst/>
              <a:gdLst>
                <a:gd name="T0" fmla="*/ 255 w 296"/>
                <a:gd name="T1" fmla="*/ 41 h 296"/>
                <a:gd name="T2" fmla="*/ 206 w 296"/>
                <a:gd name="T3" fmla="*/ 8 h 296"/>
                <a:gd name="T4" fmla="*/ 148 w 296"/>
                <a:gd name="T5" fmla="*/ 0 h 296"/>
                <a:gd name="T6" fmla="*/ 91 w 296"/>
                <a:gd name="T7" fmla="*/ 8 h 296"/>
                <a:gd name="T8" fmla="*/ 41 w 296"/>
                <a:gd name="T9" fmla="*/ 41 h 296"/>
                <a:gd name="T10" fmla="*/ 25 w 296"/>
                <a:gd name="T11" fmla="*/ 66 h 296"/>
                <a:gd name="T12" fmla="*/ 0 w 296"/>
                <a:gd name="T13" fmla="*/ 119 h 296"/>
                <a:gd name="T14" fmla="*/ 0 w 296"/>
                <a:gd name="T15" fmla="*/ 177 h 296"/>
                <a:gd name="T16" fmla="*/ 25 w 296"/>
                <a:gd name="T17" fmla="*/ 230 h 296"/>
                <a:gd name="T18" fmla="*/ 41 w 296"/>
                <a:gd name="T19" fmla="*/ 255 h 296"/>
                <a:gd name="T20" fmla="*/ 91 w 296"/>
                <a:gd name="T21" fmla="*/ 288 h 296"/>
                <a:gd name="T22" fmla="*/ 148 w 296"/>
                <a:gd name="T23" fmla="*/ 296 h 296"/>
                <a:gd name="T24" fmla="*/ 177 w 296"/>
                <a:gd name="T25" fmla="*/ 296 h 296"/>
                <a:gd name="T26" fmla="*/ 231 w 296"/>
                <a:gd name="T27" fmla="*/ 271 h 296"/>
                <a:gd name="T28" fmla="*/ 255 w 296"/>
                <a:gd name="T29" fmla="*/ 255 h 296"/>
                <a:gd name="T30" fmla="*/ 288 w 296"/>
                <a:gd name="T31" fmla="*/ 205 h 296"/>
                <a:gd name="T32" fmla="*/ 296 w 296"/>
                <a:gd name="T33" fmla="*/ 148 h 296"/>
                <a:gd name="T34" fmla="*/ 288 w 296"/>
                <a:gd name="T35" fmla="*/ 90 h 296"/>
                <a:gd name="T36" fmla="*/ 255 w 296"/>
                <a:gd name="T37" fmla="*/ 41 h 296"/>
                <a:gd name="T38" fmla="*/ 239 w 296"/>
                <a:gd name="T39" fmla="*/ 238 h 296"/>
                <a:gd name="T40" fmla="*/ 218 w 296"/>
                <a:gd name="T41" fmla="*/ 255 h 296"/>
                <a:gd name="T42" fmla="*/ 173 w 296"/>
                <a:gd name="T43" fmla="*/ 275 h 296"/>
                <a:gd name="T44" fmla="*/ 124 w 296"/>
                <a:gd name="T45" fmla="*/ 275 h 296"/>
                <a:gd name="T46" fmla="*/ 78 w 296"/>
                <a:gd name="T47" fmla="*/ 255 h 296"/>
                <a:gd name="T48" fmla="*/ 58 w 296"/>
                <a:gd name="T49" fmla="*/ 238 h 296"/>
                <a:gd name="T50" fmla="*/ 29 w 296"/>
                <a:gd name="T51" fmla="*/ 197 h 296"/>
                <a:gd name="T52" fmla="*/ 21 w 296"/>
                <a:gd name="T53" fmla="*/ 148 h 296"/>
                <a:gd name="T54" fmla="*/ 29 w 296"/>
                <a:gd name="T55" fmla="*/ 99 h 296"/>
                <a:gd name="T56" fmla="*/ 58 w 296"/>
                <a:gd name="T57" fmla="*/ 57 h 296"/>
                <a:gd name="T58" fmla="*/ 78 w 296"/>
                <a:gd name="T59" fmla="*/ 41 h 296"/>
                <a:gd name="T60" fmla="*/ 124 w 296"/>
                <a:gd name="T61" fmla="*/ 20 h 296"/>
                <a:gd name="T62" fmla="*/ 148 w 296"/>
                <a:gd name="T63" fmla="*/ 16 h 296"/>
                <a:gd name="T64" fmla="*/ 198 w 296"/>
                <a:gd name="T65" fmla="*/ 29 h 296"/>
                <a:gd name="T66" fmla="*/ 239 w 296"/>
                <a:gd name="T67" fmla="*/ 57 h 296"/>
                <a:gd name="T68" fmla="*/ 255 w 296"/>
                <a:gd name="T69" fmla="*/ 78 h 296"/>
                <a:gd name="T70" fmla="*/ 276 w 296"/>
                <a:gd name="T71" fmla="*/ 123 h 296"/>
                <a:gd name="T72" fmla="*/ 276 w 296"/>
                <a:gd name="T73" fmla="*/ 173 h 296"/>
                <a:gd name="T74" fmla="*/ 255 w 296"/>
                <a:gd name="T75" fmla="*/ 218 h 296"/>
                <a:gd name="T76" fmla="*/ 239 w 296"/>
                <a:gd name="T77" fmla="*/ 23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6" h="296">
                  <a:moveTo>
                    <a:pt x="255" y="41"/>
                  </a:moveTo>
                  <a:lnTo>
                    <a:pt x="255" y="41"/>
                  </a:lnTo>
                  <a:lnTo>
                    <a:pt x="231" y="20"/>
                  </a:lnTo>
                  <a:lnTo>
                    <a:pt x="206" y="8"/>
                  </a:lnTo>
                  <a:lnTo>
                    <a:pt x="177" y="0"/>
                  </a:lnTo>
                  <a:lnTo>
                    <a:pt x="148" y="0"/>
                  </a:lnTo>
                  <a:lnTo>
                    <a:pt x="120" y="0"/>
                  </a:lnTo>
                  <a:lnTo>
                    <a:pt x="91" y="8"/>
                  </a:lnTo>
                  <a:lnTo>
                    <a:pt x="66" y="20"/>
                  </a:lnTo>
                  <a:lnTo>
                    <a:pt x="41" y="41"/>
                  </a:lnTo>
                  <a:lnTo>
                    <a:pt x="41" y="41"/>
                  </a:lnTo>
                  <a:lnTo>
                    <a:pt x="25" y="66"/>
                  </a:lnTo>
                  <a:lnTo>
                    <a:pt x="9" y="90"/>
                  </a:lnTo>
                  <a:lnTo>
                    <a:pt x="0" y="119"/>
                  </a:lnTo>
                  <a:lnTo>
                    <a:pt x="0" y="148"/>
                  </a:lnTo>
                  <a:lnTo>
                    <a:pt x="0" y="177"/>
                  </a:lnTo>
                  <a:lnTo>
                    <a:pt x="9" y="205"/>
                  </a:lnTo>
                  <a:lnTo>
                    <a:pt x="25" y="230"/>
                  </a:lnTo>
                  <a:lnTo>
                    <a:pt x="41" y="255"/>
                  </a:lnTo>
                  <a:lnTo>
                    <a:pt x="41" y="255"/>
                  </a:lnTo>
                  <a:lnTo>
                    <a:pt x="66" y="271"/>
                  </a:lnTo>
                  <a:lnTo>
                    <a:pt x="91" y="288"/>
                  </a:lnTo>
                  <a:lnTo>
                    <a:pt x="120" y="296"/>
                  </a:lnTo>
                  <a:lnTo>
                    <a:pt x="148" y="296"/>
                  </a:lnTo>
                  <a:lnTo>
                    <a:pt x="148" y="296"/>
                  </a:lnTo>
                  <a:lnTo>
                    <a:pt x="177" y="296"/>
                  </a:lnTo>
                  <a:lnTo>
                    <a:pt x="206" y="288"/>
                  </a:lnTo>
                  <a:lnTo>
                    <a:pt x="231" y="271"/>
                  </a:lnTo>
                  <a:lnTo>
                    <a:pt x="255" y="255"/>
                  </a:lnTo>
                  <a:lnTo>
                    <a:pt x="255" y="255"/>
                  </a:lnTo>
                  <a:lnTo>
                    <a:pt x="272" y="230"/>
                  </a:lnTo>
                  <a:lnTo>
                    <a:pt x="288" y="205"/>
                  </a:lnTo>
                  <a:lnTo>
                    <a:pt x="296" y="177"/>
                  </a:lnTo>
                  <a:lnTo>
                    <a:pt x="296" y="148"/>
                  </a:lnTo>
                  <a:lnTo>
                    <a:pt x="296" y="119"/>
                  </a:lnTo>
                  <a:lnTo>
                    <a:pt x="288" y="90"/>
                  </a:lnTo>
                  <a:lnTo>
                    <a:pt x="272" y="66"/>
                  </a:lnTo>
                  <a:lnTo>
                    <a:pt x="255" y="41"/>
                  </a:lnTo>
                  <a:lnTo>
                    <a:pt x="255" y="41"/>
                  </a:lnTo>
                  <a:close/>
                  <a:moveTo>
                    <a:pt x="239" y="238"/>
                  </a:moveTo>
                  <a:lnTo>
                    <a:pt x="239" y="238"/>
                  </a:lnTo>
                  <a:lnTo>
                    <a:pt x="218" y="255"/>
                  </a:lnTo>
                  <a:lnTo>
                    <a:pt x="198" y="267"/>
                  </a:lnTo>
                  <a:lnTo>
                    <a:pt x="173" y="275"/>
                  </a:lnTo>
                  <a:lnTo>
                    <a:pt x="148" y="275"/>
                  </a:lnTo>
                  <a:lnTo>
                    <a:pt x="124" y="275"/>
                  </a:lnTo>
                  <a:lnTo>
                    <a:pt x="99" y="267"/>
                  </a:lnTo>
                  <a:lnTo>
                    <a:pt x="78" y="255"/>
                  </a:lnTo>
                  <a:lnTo>
                    <a:pt x="58" y="238"/>
                  </a:lnTo>
                  <a:lnTo>
                    <a:pt x="58" y="238"/>
                  </a:lnTo>
                  <a:lnTo>
                    <a:pt x="41" y="218"/>
                  </a:lnTo>
                  <a:lnTo>
                    <a:pt x="29" y="197"/>
                  </a:lnTo>
                  <a:lnTo>
                    <a:pt x="21" y="173"/>
                  </a:lnTo>
                  <a:lnTo>
                    <a:pt x="21" y="148"/>
                  </a:lnTo>
                  <a:lnTo>
                    <a:pt x="21" y="123"/>
                  </a:lnTo>
                  <a:lnTo>
                    <a:pt x="29" y="99"/>
                  </a:lnTo>
                  <a:lnTo>
                    <a:pt x="41" y="78"/>
                  </a:lnTo>
                  <a:lnTo>
                    <a:pt x="58" y="57"/>
                  </a:lnTo>
                  <a:lnTo>
                    <a:pt x="58" y="57"/>
                  </a:lnTo>
                  <a:lnTo>
                    <a:pt x="78" y="41"/>
                  </a:lnTo>
                  <a:lnTo>
                    <a:pt x="99" y="29"/>
                  </a:lnTo>
                  <a:lnTo>
                    <a:pt x="124" y="20"/>
                  </a:lnTo>
                  <a:lnTo>
                    <a:pt x="148" y="16"/>
                  </a:lnTo>
                  <a:lnTo>
                    <a:pt x="148" y="16"/>
                  </a:lnTo>
                  <a:lnTo>
                    <a:pt x="173" y="20"/>
                  </a:lnTo>
                  <a:lnTo>
                    <a:pt x="198" y="29"/>
                  </a:lnTo>
                  <a:lnTo>
                    <a:pt x="218" y="41"/>
                  </a:lnTo>
                  <a:lnTo>
                    <a:pt x="239" y="57"/>
                  </a:lnTo>
                  <a:lnTo>
                    <a:pt x="239" y="57"/>
                  </a:lnTo>
                  <a:lnTo>
                    <a:pt x="255" y="78"/>
                  </a:lnTo>
                  <a:lnTo>
                    <a:pt x="268" y="99"/>
                  </a:lnTo>
                  <a:lnTo>
                    <a:pt x="276" y="123"/>
                  </a:lnTo>
                  <a:lnTo>
                    <a:pt x="276" y="148"/>
                  </a:lnTo>
                  <a:lnTo>
                    <a:pt x="276" y="173"/>
                  </a:lnTo>
                  <a:lnTo>
                    <a:pt x="268" y="197"/>
                  </a:lnTo>
                  <a:lnTo>
                    <a:pt x="255" y="218"/>
                  </a:lnTo>
                  <a:lnTo>
                    <a:pt x="239" y="238"/>
                  </a:lnTo>
                  <a:lnTo>
                    <a:pt x="239" y="2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3" name="Freeform 328">
              <a:extLst>
                <a:ext uri="{FF2B5EF4-FFF2-40B4-BE49-F238E27FC236}">
                  <a16:creationId xmlns:a16="http://schemas.microsoft.com/office/drawing/2014/main" id="{D94AE5C0-78DD-9479-D425-0D98A016CAD7}"/>
                </a:ext>
              </a:extLst>
            </p:cNvPr>
            <p:cNvSpPr>
              <a:spLocks/>
            </p:cNvSpPr>
            <p:nvPr/>
          </p:nvSpPr>
          <p:spPr bwMode="auto">
            <a:xfrm>
              <a:off x="7505700" y="2370138"/>
              <a:ext cx="85725" cy="273050"/>
            </a:xfrm>
            <a:custGeom>
              <a:avLst/>
              <a:gdLst>
                <a:gd name="T0" fmla="*/ 21 w 54"/>
                <a:gd name="T1" fmla="*/ 4 h 172"/>
                <a:gd name="T2" fmla="*/ 21 w 54"/>
                <a:gd name="T3" fmla="*/ 4 h 172"/>
                <a:gd name="T4" fmla="*/ 12 w 54"/>
                <a:gd name="T5" fmla="*/ 0 h 172"/>
                <a:gd name="T6" fmla="*/ 4 w 54"/>
                <a:gd name="T7" fmla="*/ 4 h 172"/>
                <a:gd name="T8" fmla="*/ 4 w 54"/>
                <a:gd name="T9" fmla="*/ 4 h 172"/>
                <a:gd name="T10" fmla="*/ 0 w 54"/>
                <a:gd name="T11" fmla="*/ 8 h 172"/>
                <a:gd name="T12" fmla="*/ 4 w 54"/>
                <a:gd name="T13" fmla="*/ 16 h 172"/>
                <a:gd name="T14" fmla="*/ 4 w 54"/>
                <a:gd name="T15" fmla="*/ 16 h 172"/>
                <a:gd name="T16" fmla="*/ 17 w 54"/>
                <a:gd name="T17" fmla="*/ 32 h 172"/>
                <a:gd name="T18" fmla="*/ 25 w 54"/>
                <a:gd name="T19" fmla="*/ 49 h 172"/>
                <a:gd name="T20" fmla="*/ 33 w 54"/>
                <a:gd name="T21" fmla="*/ 65 h 172"/>
                <a:gd name="T22" fmla="*/ 33 w 54"/>
                <a:gd name="T23" fmla="*/ 86 h 172"/>
                <a:gd name="T24" fmla="*/ 33 w 54"/>
                <a:gd name="T25" fmla="*/ 86 h 172"/>
                <a:gd name="T26" fmla="*/ 33 w 54"/>
                <a:gd name="T27" fmla="*/ 106 h 172"/>
                <a:gd name="T28" fmla="*/ 25 w 54"/>
                <a:gd name="T29" fmla="*/ 123 h 172"/>
                <a:gd name="T30" fmla="*/ 17 w 54"/>
                <a:gd name="T31" fmla="*/ 139 h 172"/>
                <a:gd name="T32" fmla="*/ 4 w 54"/>
                <a:gd name="T33" fmla="*/ 156 h 172"/>
                <a:gd name="T34" fmla="*/ 4 w 54"/>
                <a:gd name="T35" fmla="*/ 156 h 172"/>
                <a:gd name="T36" fmla="*/ 0 w 54"/>
                <a:gd name="T37" fmla="*/ 164 h 172"/>
                <a:gd name="T38" fmla="*/ 4 w 54"/>
                <a:gd name="T39" fmla="*/ 168 h 172"/>
                <a:gd name="T40" fmla="*/ 4 w 54"/>
                <a:gd name="T41" fmla="*/ 168 h 172"/>
                <a:gd name="T42" fmla="*/ 12 w 54"/>
                <a:gd name="T43" fmla="*/ 172 h 172"/>
                <a:gd name="T44" fmla="*/ 12 w 54"/>
                <a:gd name="T45" fmla="*/ 172 h 172"/>
                <a:gd name="T46" fmla="*/ 21 w 54"/>
                <a:gd name="T47" fmla="*/ 168 h 172"/>
                <a:gd name="T48" fmla="*/ 21 w 54"/>
                <a:gd name="T49" fmla="*/ 168 h 172"/>
                <a:gd name="T50" fmla="*/ 33 w 54"/>
                <a:gd name="T51" fmla="*/ 152 h 172"/>
                <a:gd name="T52" fmla="*/ 45 w 54"/>
                <a:gd name="T53" fmla="*/ 131 h 172"/>
                <a:gd name="T54" fmla="*/ 49 w 54"/>
                <a:gd name="T55" fmla="*/ 111 h 172"/>
                <a:gd name="T56" fmla="*/ 54 w 54"/>
                <a:gd name="T57" fmla="*/ 86 h 172"/>
                <a:gd name="T58" fmla="*/ 54 w 54"/>
                <a:gd name="T59" fmla="*/ 86 h 172"/>
                <a:gd name="T60" fmla="*/ 49 w 54"/>
                <a:gd name="T61" fmla="*/ 61 h 172"/>
                <a:gd name="T62" fmla="*/ 45 w 54"/>
                <a:gd name="T63" fmla="*/ 41 h 172"/>
                <a:gd name="T64" fmla="*/ 33 w 54"/>
                <a:gd name="T65" fmla="*/ 20 h 172"/>
                <a:gd name="T66" fmla="*/ 21 w 54"/>
                <a:gd name="T67" fmla="*/ 4 h 172"/>
                <a:gd name="T68" fmla="*/ 21 w 54"/>
                <a:gd name="T69" fmla="*/ 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172">
                  <a:moveTo>
                    <a:pt x="21" y="4"/>
                  </a:moveTo>
                  <a:lnTo>
                    <a:pt x="21" y="4"/>
                  </a:lnTo>
                  <a:lnTo>
                    <a:pt x="12" y="0"/>
                  </a:lnTo>
                  <a:lnTo>
                    <a:pt x="4" y="4"/>
                  </a:lnTo>
                  <a:lnTo>
                    <a:pt x="4" y="4"/>
                  </a:lnTo>
                  <a:lnTo>
                    <a:pt x="0" y="8"/>
                  </a:lnTo>
                  <a:lnTo>
                    <a:pt x="4" y="16"/>
                  </a:lnTo>
                  <a:lnTo>
                    <a:pt x="4" y="16"/>
                  </a:lnTo>
                  <a:lnTo>
                    <a:pt x="17" y="32"/>
                  </a:lnTo>
                  <a:lnTo>
                    <a:pt x="25" y="49"/>
                  </a:lnTo>
                  <a:lnTo>
                    <a:pt x="33" y="65"/>
                  </a:lnTo>
                  <a:lnTo>
                    <a:pt x="33" y="86"/>
                  </a:lnTo>
                  <a:lnTo>
                    <a:pt x="33" y="86"/>
                  </a:lnTo>
                  <a:lnTo>
                    <a:pt x="33" y="106"/>
                  </a:lnTo>
                  <a:lnTo>
                    <a:pt x="25" y="123"/>
                  </a:lnTo>
                  <a:lnTo>
                    <a:pt x="17" y="139"/>
                  </a:lnTo>
                  <a:lnTo>
                    <a:pt x="4" y="156"/>
                  </a:lnTo>
                  <a:lnTo>
                    <a:pt x="4" y="156"/>
                  </a:lnTo>
                  <a:lnTo>
                    <a:pt x="0" y="164"/>
                  </a:lnTo>
                  <a:lnTo>
                    <a:pt x="4" y="168"/>
                  </a:lnTo>
                  <a:lnTo>
                    <a:pt x="4" y="168"/>
                  </a:lnTo>
                  <a:lnTo>
                    <a:pt x="12" y="172"/>
                  </a:lnTo>
                  <a:lnTo>
                    <a:pt x="12" y="172"/>
                  </a:lnTo>
                  <a:lnTo>
                    <a:pt x="21" y="168"/>
                  </a:lnTo>
                  <a:lnTo>
                    <a:pt x="21" y="168"/>
                  </a:lnTo>
                  <a:lnTo>
                    <a:pt x="33" y="152"/>
                  </a:lnTo>
                  <a:lnTo>
                    <a:pt x="45" y="131"/>
                  </a:lnTo>
                  <a:lnTo>
                    <a:pt x="49" y="111"/>
                  </a:lnTo>
                  <a:lnTo>
                    <a:pt x="54" y="86"/>
                  </a:lnTo>
                  <a:lnTo>
                    <a:pt x="54" y="86"/>
                  </a:lnTo>
                  <a:lnTo>
                    <a:pt x="49" y="61"/>
                  </a:lnTo>
                  <a:lnTo>
                    <a:pt x="45" y="41"/>
                  </a:lnTo>
                  <a:lnTo>
                    <a:pt x="33" y="20"/>
                  </a:lnTo>
                  <a:lnTo>
                    <a:pt x="21" y="4"/>
                  </a:lnTo>
                  <a:lnTo>
                    <a:pt x="2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4" name="Freeform 329">
              <a:extLst>
                <a:ext uri="{FF2B5EF4-FFF2-40B4-BE49-F238E27FC236}">
                  <a16:creationId xmlns:a16="http://schemas.microsoft.com/office/drawing/2014/main" id="{3B6D9DB3-9DB9-EDD1-06F7-9968C6B90B9C}"/>
                </a:ext>
              </a:extLst>
            </p:cNvPr>
            <p:cNvSpPr>
              <a:spLocks noEditPoints="1"/>
            </p:cNvSpPr>
            <p:nvPr/>
          </p:nvSpPr>
          <p:spPr bwMode="auto">
            <a:xfrm>
              <a:off x="7100888" y="2206625"/>
              <a:ext cx="769938" cy="769938"/>
            </a:xfrm>
            <a:custGeom>
              <a:avLst/>
              <a:gdLst>
                <a:gd name="T0" fmla="*/ 395 w 485"/>
                <a:gd name="T1" fmla="*/ 341 h 485"/>
                <a:gd name="T2" fmla="*/ 362 w 485"/>
                <a:gd name="T3" fmla="*/ 333 h 485"/>
                <a:gd name="T4" fmla="*/ 333 w 485"/>
                <a:gd name="T5" fmla="*/ 316 h 485"/>
                <a:gd name="T6" fmla="*/ 379 w 485"/>
                <a:gd name="T7" fmla="*/ 218 h 485"/>
                <a:gd name="T8" fmla="*/ 366 w 485"/>
                <a:gd name="T9" fmla="*/ 115 h 485"/>
                <a:gd name="T10" fmla="*/ 325 w 485"/>
                <a:gd name="T11" fmla="*/ 53 h 485"/>
                <a:gd name="T12" fmla="*/ 226 w 485"/>
                <a:gd name="T13" fmla="*/ 0 h 485"/>
                <a:gd name="T14" fmla="*/ 119 w 485"/>
                <a:gd name="T15" fmla="*/ 12 h 485"/>
                <a:gd name="T16" fmla="*/ 54 w 485"/>
                <a:gd name="T17" fmla="*/ 53 h 485"/>
                <a:gd name="T18" fmla="*/ 4 w 485"/>
                <a:gd name="T19" fmla="*/ 152 h 485"/>
                <a:gd name="T20" fmla="*/ 13 w 485"/>
                <a:gd name="T21" fmla="*/ 259 h 485"/>
                <a:gd name="T22" fmla="*/ 54 w 485"/>
                <a:gd name="T23" fmla="*/ 325 h 485"/>
                <a:gd name="T24" fmla="*/ 152 w 485"/>
                <a:gd name="T25" fmla="*/ 374 h 485"/>
                <a:gd name="T26" fmla="*/ 222 w 485"/>
                <a:gd name="T27" fmla="*/ 378 h 485"/>
                <a:gd name="T28" fmla="*/ 317 w 485"/>
                <a:gd name="T29" fmla="*/ 329 h 485"/>
                <a:gd name="T30" fmla="*/ 333 w 485"/>
                <a:gd name="T31" fmla="*/ 362 h 485"/>
                <a:gd name="T32" fmla="*/ 341 w 485"/>
                <a:gd name="T33" fmla="*/ 394 h 485"/>
                <a:gd name="T34" fmla="*/ 436 w 485"/>
                <a:gd name="T35" fmla="*/ 481 h 485"/>
                <a:gd name="T36" fmla="*/ 465 w 485"/>
                <a:gd name="T37" fmla="*/ 481 h 485"/>
                <a:gd name="T38" fmla="*/ 485 w 485"/>
                <a:gd name="T39" fmla="*/ 460 h 485"/>
                <a:gd name="T40" fmla="*/ 477 w 485"/>
                <a:gd name="T41" fmla="*/ 423 h 485"/>
                <a:gd name="T42" fmla="*/ 70 w 485"/>
                <a:gd name="T43" fmla="*/ 308 h 485"/>
                <a:gd name="T44" fmla="*/ 21 w 485"/>
                <a:gd name="T45" fmla="*/ 222 h 485"/>
                <a:gd name="T46" fmla="*/ 33 w 485"/>
                <a:gd name="T47" fmla="*/ 123 h 485"/>
                <a:gd name="T48" fmla="*/ 70 w 485"/>
                <a:gd name="T49" fmla="*/ 70 h 485"/>
                <a:gd name="T50" fmla="*/ 156 w 485"/>
                <a:gd name="T51" fmla="*/ 20 h 485"/>
                <a:gd name="T52" fmla="*/ 222 w 485"/>
                <a:gd name="T53" fmla="*/ 20 h 485"/>
                <a:gd name="T54" fmla="*/ 309 w 485"/>
                <a:gd name="T55" fmla="*/ 70 h 485"/>
                <a:gd name="T56" fmla="*/ 346 w 485"/>
                <a:gd name="T57" fmla="*/ 123 h 485"/>
                <a:gd name="T58" fmla="*/ 358 w 485"/>
                <a:gd name="T59" fmla="*/ 222 h 485"/>
                <a:gd name="T60" fmla="*/ 309 w 485"/>
                <a:gd name="T61" fmla="*/ 308 h 485"/>
                <a:gd name="T62" fmla="*/ 255 w 485"/>
                <a:gd name="T63" fmla="*/ 345 h 485"/>
                <a:gd name="T64" fmla="*/ 156 w 485"/>
                <a:gd name="T65" fmla="*/ 353 h 485"/>
                <a:gd name="T66" fmla="*/ 70 w 485"/>
                <a:gd name="T67" fmla="*/ 308 h 485"/>
                <a:gd name="T68" fmla="*/ 461 w 485"/>
                <a:gd name="T69" fmla="*/ 460 h 485"/>
                <a:gd name="T70" fmla="*/ 444 w 485"/>
                <a:gd name="T71" fmla="*/ 464 h 485"/>
                <a:gd name="T72" fmla="*/ 358 w 485"/>
                <a:gd name="T73" fmla="*/ 378 h 485"/>
                <a:gd name="T74" fmla="*/ 354 w 485"/>
                <a:gd name="T75" fmla="*/ 362 h 485"/>
                <a:gd name="T76" fmla="*/ 362 w 485"/>
                <a:gd name="T77" fmla="*/ 353 h 485"/>
                <a:gd name="T78" fmla="*/ 374 w 485"/>
                <a:gd name="T79" fmla="*/ 353 h 485"/>
                <a:gd name="T80" fmla="*/ 461 w 485"/>
                <a:gd name="T81" fmla="*/ 436 h 485"/>
                <a:gd name="T82" fmla="*/ 465 w 485"/>
                <a:gd name="T83" fmla="*/ 456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485">
                  <a:moveTo>
                    <a:pt x="477" y="423"/>
                  </a:moveTo>
                  <a:lnTo>
                    <a:pt x="395" y="341"/>
                  </a:lnTo>
                  <a:lnTo>
                    <a:pt x="395" y="341"/>
                  </a:lnTo>
                  <a:lnTo>
                    <a:pt x="387" y="337"/>
                  </a:lnTo>
                  <a:lnTo>
                    <a:pt x="374" y="333"/>
                  </a:lnTo>
                  <a:lnTo>
                    <a:pt x="362" y="333"/>
                  </a:lnTo>
                  <a:lnTo>
                    <a:pt x="350" y="337"/>
                  </a:lnTo>
                  <a:lnTo>
                    <a:pt x="333" y="316"/>
                  </a:lnTo>
                  <a:lnTo>
                    <a:pt x="333" y="316"/>
                  </a:lnTo>
                  <a:lnTo>
                    <a:pt x="354" y="288"/>
                  </a:lnTo>
                  <a:lnTo>
                    <a:pt x="370" y="255"/>
                  </a:lnTo>
                  <a:lnTo>
                    <a:pt x="379" y="218"/>
                  </a:lnTo>
                  <a:lnTo>
                    <a:pt x="379" y="185"/>
                  </a:lnTo>
                  <a:lnTo>
                    <a:pt x="374" y="148"/>
                  </a:lnTo>
                  <a:lnTo>
                    <a:pt x="366" y="115"/>
                  </a:lnTo>
                  <a:lnTo>
                    <a:pt x="350" y="82"/>
                  </a:lnTo>
                  <a:lnTo>
                    <a:pt x="325" y="53"/>
                  </a:lnTo>
                  <a:lnTo>
                    <a:pt x="325" y="53"/>
                  </a:lnTo>
                  <a:lnTo>
                    <a:pt x="296" y="29"/>
                  </a:lnTo>
                  <a:lnTo>
                    <a:pt x="263" y="12"/>
                  </a:lnTo>
                  <a:lnTo>
                    <a:pt x="226" y="0"/>
                  </a:lnTo>
                  <a:lnTo>
                    <a:pt x="189" y="0"/>
                  </a:lnTo>
                  <a:lnTo>
                    <a:pt x="152" y="0"/>
                  </a:lnTo>
                  <a:lnTo>
                    <a:pt x="119" y="12"/>
                  </a:lnTo>
                  <a:lnTo>
                    <a:pt x="87" y="29"/>
                  </a:lnTo>
                  <a:lnTo>
                    <a:pt x="54" y="53"/>
                  </a:lnTo>
                  <a:lnTo>
                    <a:pt x="54" y="53"/>
                  </a:lnTo>
                  <a:lnTo>
                    <a:pt x="29" y="82"/>
                  </a:lnTo>
                  <a:lnTo>
                    <a:pt x="13" y="115"/>
                  </a:lnTo>
                  <a:lnTo>
                    <a:pt x="4" y="152"/>
                  </a:lnTo>
                  <a:lnTo>
                    <a:pt x="0" y="189"/>
                  </a:lnTo>
                  <a:lnTo>
                    <a:pt x="4" y="226"/>
                  </a:lnTo>
                  <a:lnTo>
                    <a:pt x="13" y="259"/>
                  </a:lnTo>
                  <a:lnTo>
                    <a:pt x="29" y="292"/>
                  </a:lnTo>
                  <a:lnTo>
                    <a:pt x="54" y="325"/>
                  </a:lnTo>
                  <a:lnTo>
                    <a:pt x="54" y="325"/>
                  </a:lnTo>
                  <a:lnTo>
                    <a:pt x="87" y="349"/>
                  </a:lnTo>
                  <a:lnTo>
                    <a:pt x="119" y="366"/>
                  </a:lnTo>
                  <a:lnTo>
                    <a:pt x="152" y="374"/>
                  </a:lnTo>
                  <a:lnTo>
                    <a:pt x="189" y="378"/>
                  </a:lnTo>
                  <a:lnTo>
                    <a:pt x="189" y="378"/>
                  </a:lnTo>
                  <a:lnTo>
                    <a:pt x="222" y="378"/>
                  </a:lnTo>
                  <a:lnTo>
                    <a:pt x="255" y="366"/>
                  </a:lnTo>
                  <a:lnTo>
                    <a:pt x="288" y="353"/>
                  </a:lnTo>
                  <a:lnTo>
                    <a:pt x="317" y="329"/>
                  </a:lnTo>
                  <a:lnTo>
                    <a:pt x="337" y="349"/>
                  </a:lnTo>
                  <a:lnTo>
                    <a:pt x="337" y="349"/>
                  </a:lnTo>
                  <a:lnTo>
                    <a:pt x="333" y="362"/>
                  </a:lnTo>
                  <a:lnTo>
                    <a:pt x="333" y="374"/>
                  </a:lnTo>
                  <a:lnTo>
                    <a:pt x="337" y="386"/>
                  </a:lnTo>
                  <a:lnTo>
                    <a:pt x="341" y="394"/>
                  </a:lnTo>
                  <a:lnTo>
                    <a:pt x="424" y="473"/>
                  </a:lnTo>
                  <a:lnTo>
                    <a:pt x="424" y="473"/>
                  </a:lnTo>
                  <a:lnTo>
                    <a:pt x="436" y="481"/>
                  </a:lnTo>
                  <a:lnTo>
                    <a:pt x="448" y="485"/>
                  </a:lnTo>
                  <a:lnTo>
                    <a:pt x="448" y="485"/>
                  </a:lnTo>
                  <a:lnTo>
                    <a:pt x="465" y="481"/>
                  </a:lnTo>
                  <a:lnTo>
                    <a:pt x="477" y="473"/>
                  </a:lnTo>
                  <a:lnTo>
                    <a:pt x="477" y="473"/>
                  </a:lnTo>
                  <a:lnTo>
                    <a:pt x="485" y="460"/>
                  </a:lnTo>
                  <a:lnTo>
                    <a:pt x="485" y="448"/>
                  </a:lnTo>
                  <a:lnTo>
                    <a:pt x="485" y="436"/>
                  </a:lnTo>
                  <a:lnTo>
                    <a:pt x="477" y="423"/>
                  </a:lnTo>
                  <a:lnTo>
                    <a:pt x="477" y="423"/>
                  </a:lnTo>
                  <a:close/>
                  <a:moveTo>
                    <a:pt x="70" y="308"/>
                  </a:moveTo>
                  <a:lnTo>
                    <a:pt x="70" y="308"/>
                  </a:lnTo>
                  <a:lnTo>
                    <a:pt x="50" y="283"/>
                  </a:lnTo>
                  <a:lnTo>
                    <a:pt x="33" y="251"/>
                  </a:lnTo>
                  <a:lnTo>
                    <a:pt x="21" y="222"/>
                  </a:lnTo>
                  <a:lnTo>
                    <a:pt x="21" y="189"/>
                  </a:lnTo>
                  <a:lnTo>
                    <a:pt x="21" y="156"/>
                  </a:lnTo>
                  <a:lnTo>
                    <a:pt x="33" y="123"/>
                  </a:lnTo>
                  <a:lnTo>
                    <a:pt x="50" y="94"/>
                  </a:lnTo>
                  <a:lnTo>
                    <a:pt x="70" y="70"/>
                  </a:lnTo>
                  <a:lnTo>
                    <a:pt x="70" y="70"/>
                  </a:lnTo>
                  <a:lnTo>
                    <a:pt x="95" y="45"/>
                  </a:lnTo>
                  <a:lnTo>
                    <a:pt x="124" y="33"/>
                  </a:lnTo>
                  <a:lnTo>
                    <a:pt x="156" y="20"/>
                  </a:lnTo>
                  <a:lnTo>
                    <a:pt x="189" y="20"/>
                  </a:lnTo>
                  <a:lnTo>
                    <a:pt x="189" y="20"/>
                  </a:lnTo>
                  <a:lnTo>
                    <a:pt x="222" y="20"/>
                  </a:lnTo>
                  <a:lnTo>
                    <a:pt x="255" y="33"/>
                  </a:lnTo>
                  <a:lnTo>
                    <a:pt x="284" y="45"/>
                  </a:lnTo>
                  <a:lnTo>
                    <a:pt x="309" y="70"/>
                  </a:lnTo>
                  <a:lnTo>
                    <a:pt x="309" y="70"/>
                  </a:lnTo>
                  <a:lnTo>
                    <a:pt x="333" y="94"/>
                  </a:lnTo>
                  <a:lnTo>
                    <a:pt x="346" y="123"/>
                  </a:lnTo>
                  <a:lnTo>
                    <a:pt x="358" y="156"/>
                  </a:lnTo>
                  <a:lnTo>
                    <a:pt x="358" y="189"/>
                  </a:lnTo>
                  <a:lnTo>
                    <a:pt x="358" y="222"/>
                  </a:lnTo>
                  <a:lnTo>
                    <a:pt x="346" y="251"/>
                  </a:lnTo>
                  <a:lnTo>
                    <a:pt x="333" y="283"/>
                  </a:lnTo>
                  <a:lnTo>
                    <a:pt x="309" y="308"/>
                  </a:lnTo>
                  <a:lnTo>
                    <a:pt x="309" y="308"/>
                  </a:lnTo>
                  <a:lnTo>
                    <a:pt x="284" y="329"/>
                  </a:lnTo>
                  <a:lnTo>
                    <a:pt x="255" y="345"/>
                  </a:lnTo>
                  <a:lnTo>
                    <a:pt x="222" y="353"/>
                  </a:lnTo>
                  <a:lnTo>
                    <a:pt x="189" y="357"/>
                  </a:lnTo>
                  <a:lnTo>
                    <a:pt x="156" y="353"/>
                  </a:lnTo>
                  <a:lnTo>
                    <a:pt x="124" y="345"/>
                  </a:lnTo>
                  <a:lnTo>
                    <a:pt x="95" y="329"/>
                  </a:lnTo>
                  <a:lnTo>
                    <a:pt x="70" y="308"/>
                  </a:lnTo>
                  <a:lnTo>
                    <a:pt x="70" y="308"/>
                  </a:lnTo>
                  <a:close/>
                  <a:moveTo>
                    <a:pt x="461" y="460"/>
                  </a:moveTo>
                  <a:lnTo>
                    <a:pt x="461" y="460"/>
                  </a:lnTo>
                  <a:lnTo>
                    <a:pt x="457" y="464"/>
                  </a:lnTo>
                  <a:lnTo>
                    <a:pt x="448" y="464"/>
                  </a:lnTo>
                  <a:lnTo>
                    <a:pt x="444" y="464"/>
                  </a:lnTo>
                  <a:lnTo>
                    <a:pt x="436" y="460"/>
                  </a:lnTo>
                  <a:lnTo>
                    <a:pt x="358" y="378"/>
                  </a:lnTo>
                  <a:lnTo>
                    <a:pt x="358" y="378"/>
                  </a:lnTo>
                  <a:lnTo>
                    <a:pt x="354" y="374"/>
                  </a:lnTo>
                  <a:lnTo>
                    <a:pt x="354" y="370"/>
                  </a:lnTo>
                  <a:lnTo>
                    <a:pt x="354" y="362"/>
                  </a:lnTo>
                  <a:lnTo>
                    <a:pt x="358" y="357"/>
                  </a:lnTo>
                  <a:lnTo>
                    <a:pt x="358" y="357"/>
                  </a:lnTo>
                  <a:lnTo>
                    <a:pt x="362" y="353"/>
                  </a:lnTo>
                  <a:lnTo>
                    <a:pt x="370" y="353"/>
                  </a:lnTo>
                  <a:lnTo>
                    <a:pt x="370" y="353"/>
                  </a:lnTo>
                  <a:lnTo>
                    <a:pt x="374" y="353"/>
                  </a:lnTo>
                  <a:lnTo>
                    <a:pt x="383" y="357"/>
                  </a:lnTo>
                  <a:lnTo>
                    <a:pt x="461" y="436"/>
                  </a:lnTo>
                  <a:lnTo>
                    <a:pt x="461" y="436"/>
                  </a:lnTo>
                  <a:lnTo>
                    <a:pt x="465" y="444"/>
                  </a:lnTo>
                  <a:lnTo>
                    <a:pt x="465" y="448"/>
                  </a:lnTo>
                  <a:lnTo>
                    <a:pt x="465" y="456"/>
                  </a:lnTo>
                  <a:lnTo>
                    <a:pt x="461" y="460"/>
                  </a:lnTo>
                  <a:lnTo>
                    <a:pt x="461"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5" name="Group 104">
            <a:extLst>
              <a:ext uri="{FF2B5EF4-FFF2-40B4-BE49-F238E27FC236}">
                <a16:creationId xmlns:a16="http://schemas.microsoft.com/office/drawing/2014/main" id="{7B8794D3-A45E-7042-B833-D8AC2DC763B2}"/>
              </a:ext>
            </a:extLst>
          </p:cNvPr>
          <p:cNvGrpSpPr/>
          <p:nvPr/>
        </p:nvGrpSpPr>
        <p:grpSpPr>
          <a:xfrm>
            <a:off x="6287412" y="3148029"/>
            <a:ext cx="426059" cy="398053"/>
            <a:chOff x="9177338" y="1854200"/>
            <a:chExt cx="1122363" cy="1122363"/>
          </a:xfrm>
          <a:solidFill>
            <a:schemeClr val="accent3"/>
          </a:solidFill>
        </p:grpSpPr>
        <p:sp>
          <p:nvSpPr>
            <p:cNvPr id="106" name="Freeform 238">
              <a:extLst>
                <a:ext uri="{FF2B5EF4-FFF2-40B4-BE49-F238E27FC236}">
                  <a16:creationId xmlns:a16="http://schemas.microsoft.com/office/drawing/2014/main" id="{E96B9EA9-D6C2-34DE-F2A5-4EA6FC326FFF}"/>
                </a:ext>
              </a:extLst>
            </p:cNvPr>
            <p:cNvSpPr>
              <a:spLocks noEditPoints="1"/>
            </p:cNvSpPr>
            <p:nvPr/>
          </p:nvSpPr>
          <p:spPr bwMode="auto">
            <a:xfrm>
              <a:off x="9471025" y="1854200"/>
              <a:ext cx="528638" cy="534988"/>
            </a:xfrm>
            <a:custGeom>
              <a:avLst/>
              <a:gdLst>
                <a:gd name="T0" fmla="*/ 234 w 333"/>
                <a:gd name="T1" fmla="*/ 337 h 337"/>
                <a:gd name="T2" fmla="*/ 197 w 333"/>
                <a:gd name="T3" fmla="*/ 333 h 337"/>
                <a:gd name="T4" fmla="*/ 168 w 333"/>
                <a:gd name="T5" fmla="*/ 312 h 337"/>
                <a:gd name="T6" fmla="*/ 152 w 333"/>
                <a:gd name="T7" fmla="*/ 325 h 337"/>
                <a:gd name="T8" fmla="*/ 115 w 333"/>
                <a:gd name="T9" fmla="*/ 337 h 337"/>
                <a:gd name="T10" fmla="*/ 94 w 333"/>
                <a:gd name="T11" fmla="*/ 337 h 337"/>
                <a:gd name="T12" fmla="*/ 49 w 333"/>
                <a:gd name="T13" fmla="*/ 320 h 337"/>
                <a:gd name="T14" fmla="*/ 16 w 333"/>
                <a:gd name="T15" fmla="*/ 292 h 337"/>
                <a:gd name="T16" fmla="*/ 4 w 333"/>
                <a:gd name="T17" fmla="*/ 263 h 337"/>
                <a:gd name="T18" fmla="*/ 4 w 333"/>
                <a:gd name="T19" fmla="*/ 205 h 337"/>
                <a:gd name="T20" fmla="*/ 20 w 333"/>
                <a:gd name="T21" fmla="*/ 177 h 337"/>
                <a:gd name="T22" fmla="*/ 66 w 333"/>
                <a:gd name="T23" fmla="*/ 140 h 337"/>
                <a:gd name="T24" fmla="*/ 74 w 333"/>
                <a:gd name="T25" fmla="*/ 135 h 337"/>
                <a:gd name="T26" fmla="*/ 86 w 333"/>
                <a:gd name="T27" fmla="*/ 115 h 337"/>
                <a:gd name="T28" fmla="*/ 90 w 333"/>
                <a:gd name="T29" fmla="*/ 8 h 337"/>
                <a:gd name="T30" fmla="*/ 90 w 333"/>
                <a:gd name="T31" fmla="*/ 0 h 337"/>
                <a:gd name="T32" fmla="*/ 234 w 333"/>
                <a:gd name="T33" fmla="*/ 0 h 337"/>
                <a:gd name="T34" fmla="*/ 242 w 333"/>
                <a:gd name="T35" fmla="*/ 0 h 337"/>
                <a:gd name="T36" fmla="*/ 247 w 333"/>
                <a:gd name="T37" fmla="*/ 103 h 337"/>
                <a:gd name="T38" fmla="*/ 247 w 333"/>
                <a:gd name="T39" fmla="*/ 115 h 337"/>
                <a:gd name="T40" fmla="*/ 259 w 333"/>
                <a:gd name="T41" fmla="*/ 135 h 337"/>
                <a:gd name="T42" fmla="*/ 271 w 333"/>
                <a:gd name="T43" fmla="*/ 140 h 337"/>
                <a:gd name="T44" fmla="*/ 316 w 333"/>
                <a:gd name="T45" fmla="*/ 177 h 337"/>
                <a:gd name="T46" fmla="*/ 329 w 333"/>
                <a:gd name="T47" fmla="*/ 205 h 337"/>
                <a:gd name="T48" fmla="*/ 329 w 333"/>
                <a:gd name="T49" fmla="*/ 263 h 337"/>
                <a:gd name="T50" fmla="*/ 316 w 333"/>
                <a:gd name="T51" fmla="*/ 292 h 337"/>
                <a:gd name="T52" fmla="*/ 284 w 333"/>
                <a:gd name="T53" fmla="*/ 320 h 337"/>
                <a:gd name="T54" fmla="*/ 242 w 333"/>
                <a:gd name="T55" fmla="*/ 337 h 337"/>
                <a:gd name="T56" fmla="*/ 234 w 333"/>
                <a:gd name="T57" fmla="*/ 337 h 337"/>
                <a:gd name="T58" fmla="*/ 168 w 333"/>
                <a:gd name="T59" fmla="*/ 292 h 337"/>
                <a:gd name="T60" fmla="*/ 177 w 333"/>
                <a:gd name="T61" fmla="*/ 292 h 337"/>
                <a:gd name="T62" fmla="*/ 189 w 333"/>
                <a:gd name="T63" fmla="*/ 304 h 337"/>
                <a:gd name="T64" fmla="*/ 222 w 333"/>
                <a:gd name="T65" fmla="*/ 316 h 337"/>
                <a:gd name="T66" fmla="*/ 242 w 333"/>
                <a:gd name="T67" fmla="*/ 316 h 337"/>
                <a:gd name="T68" fmla="*/ 275 w 333"/>
                <a:gd name="T69" fmla="*/ 304 h 337"/>
                <a:gd name="T70" fmla="*/ 300 w 333"/>
                <a:gd name="T71" fmla="*/ 279 h 337"/>
                <a:gd name="T72" fmla="*/ 312 w 333"/>
                <a:gd name="T73" fmla="*/ 259 h 337"/>
                <a:gd name="T74" fmla="*/ 308 w 333"/>
                <a:gd name="T75" fmla="*/ 209 h 337"/>
                <a:gd name="T76" fmla="*/ 300 w 333"/>
                <a:gd name="T77" fmla="*/ 189 h 337"/>
                <a:gd name="T78" fmla="*/ 263 w 333"/>
                <a:gd name="T79" fmla="*/ 160 h 337"/>
                <a:gd name="T80" fmla="*/ 247 w 333"/>
                <a:gd name="T81" fmla="*/ 152 h 337"/>
                <a:gd name="T82" fmla="*/ 230 w 333"/>
                <a:gd name="T83" fmla="*/ 119 h 337"/>
                <a:gd name="T84" fmla="*/ 226 w 333"/>
                <a:gd name="T85" fmla="*/ 20 h 337"/>
                <a:gd name="T86" fmla="*/ 111 w 333"/>
                <a:gd name="T87" fmla="*/ 103 h 337"/>
                <a:gd name="T88" fmla="*/ 107 w 333"/>
                <a:gd name="T89" fmla="*/ 119 h 337"/>
                <a:gd name="T90" fmla="*/ 86 w 333"/>
                <a:gd name="T91" fmla="*/ 152 h 337"/>
                <a:gd name="T92" fmla="*/ 74 w 333"/>
                <a:gd name="T93" fmla="*/ 160 h 337"/>
                <a:gd name="T94" fmla="*/ 37 w 333"/>
                <a:gd name="T95" fmla="*/ 189 h 337"/>
                <a:gd name="T96" fmla="*/ 24 w 333"/>
                <a:gd name="T97" fmla="*/ 209 h 337"/>
                <a:gd name="T98" fmla="*/ 24 w 333"/>
                <a:gd name="T99" fmla="*/ 259 h 337"/>
                <a:gd name="T100" fmla="*/ 33 w 333"/>
                <a:gd name="T101" fmla="*/ 279 h 337"/>
                <a:gd name="T102" fmla="*/ 61 w 333"/>
                <a:gd name="T103" fmla="*/ 304 h 337"/>
                <a:gd name="T104" fmla="*/ 94 w 333"/>
                <a:gd name="T105" fmla="*/ 316 h 337"/>
                <a:gd name="T106" fmla="*/ 115 w 333"/>
                <a:gd name="T107" fmla="*/ 316 h 337"/>
                <a:gd name="T108" fmla="*/ 148 w 333"/>
                <a:gd name="T109" fmla="*/ 304 h 337"/>
                <a:gd name="T110" fmla="*/ 160 w 333"/>
                <a:gd name="T111" fmla="*/ 292 h 337"/>
                <a:gd name="T112" fmla="*/ 168 w 333"/>
                <a:gd name="T113" fmla="*/ 29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337">
                  <a:moveTo>
                    <a:pt x="234" y="337"/>
                  </a:moveTo>
                  <a:lnTo>
                    <a:pt x="234" y="337"/>
                  </a:lnTo>
                  <a:lnTo>
                    <a:pt x="214" y="337"/>
                  </a:lnTo>
                  <a:lnTo>
                    <a:pt x="197" y="333"/>
                  </a:lnTo>
                  <a:lnTo>
                    <a:pt x="181" y="325"/>
                  </a:lnTo>
                  <a:lnTo>
                    <a:pt x="168" y="312"/>
                  </a:lnTo>
                  <a:lnTo>
                    <a:pt x="168" y="312"/>
                  </a:lnTo>
                  <a:lnTo>
                    <a:pt x="152" y="325"/>
                  </a:lnTo>
                  <a:lnTo>
                    <a:pt x="131" y="333"/>
                  </a:lnTo>
                  <a:lnTo>
                    <a:pt x="115" y="337"/>
                  </a:lnTo>
                  <a:lnTo>
                    <a:pt x="94" y="337"/>
                  </a:lnTo>
                  <a:lnTo>
                    <a:pt x="94" y="337"/>
                  </a:lnTo>
                  <a:lnTo>
                    <a:pt x="70" y="333"/>
                  </a:lnTo>
                  <a:lnTo>
                    <a:pt x="49" y="320"/>
                  </a:lnTo>
                  <a:lnTo>
                    <a:pt x="33" y="308"/>
                  </a:lnTo>
                  <a:lnTo>
                    <a:pt x="16" y="292"/>
                  </a:lnTo>
                  <a:lnTo>
                    <a:pt x="16" y="292"/>
                  </a:lnTo>
                  <a:lnTo>
                    <a:pt x="4" y="263"/>
                  </a:lnTo>
                  <a:lnTo>
                    <a:pt x="0" y="234"/>
                  </a:lnTo>
                  <a:lnTo>
                    <a:pt x="4" y="205"/>
                  </a:lnTo>
                  <a:lnTo>
                    <a:pt x="20" y="177"/>
                  </a:lnTo>
                  <a:lnTo>
                    <a:pt x="20" y="177"/>
                  </a:lnTo>
                  <a:lnTo>
                    <a:pt x="41" y="156"/>
                  </a:lnTo>
                  <a:lnTo>
                    <a:pt x="66" y="140"/>
                  </a:lnTo>
                  <a:lnTo>
                    <a:pt x="66" y="140"/>
                  </a:lnTo>
                  <a:lnTo>
                    <a:pt x="74" y="135"/>
                  </a:lnTo>
                  <a:lnTo>
                    <a:pt x="82" y="127"/>
                  </a:lnTo>
                  <a:lnTo>
                    <a:pt x="86" y="115"/>
                  </a:lnTo>
                  <a:lnTo>
                    <a:pt x="90" y="103"/>
                  </a:lnTo>
                  <a:lnTo>
                    <a:pt x="90" y="8"/>
                  </a:lnTo>
                  <a:lnTo>
                    <a:pt x="90" y="8"/>
                  </a:lnTo>
                  <a:lnTo>
                    <a:pt x="90" y="0"/>
                  </a:lnTo>
                  <a:lnTo>
                    <a:pt x="98" y="0"/>
                  </a:lnTo>
                  <a:lnTo>
                    <a:pt x="234" y="0"/>
                  </a:lnTo>
                  <a:lnTo>
                    <a:pt x="234" y="0"/>
                  </a:lnTo>
                  <a:lnTo>
                    <a:pt x="242" y="0"/>
                  </a:lnTo>
                  <a:lnTo>
                    <a:pt x="247" y="8"/>
                  </a:lnTo>
                  <a:lnTo>
                    <a:pt x="247" y="103"/>
                  </a:lnTo>
                  <a:lnTo>
                    <a:pt x="247" y="103"/>
                  </a:lnTo>
                  <a:lnTo>
                    <a:pt x="247" y="115"/>
                  </a:lnTo>
                  <a:lnTo>
                    <a:pt x="255" y="127"/>
                  </a:lnTo>
                  <a:lnTo>
                    <a:pt x="259" y="135"/>
                  </a:lnTo>
                  <a:lnTo>
                    <a:pt x="271" y="140"/>
                  </a:lnTo>
                  <a:lnTo>
                    <a:pt x="271" y="140"/>
                  </a:lnTo>
                  <a:lnTo>
                    <a:pt x="296" y="156"/>
                  </a:lnTo>
                  <a:lnTo>
                    <a:pt x="316" y="177"/>
                  </a:lnTo>
                  <a:lnTo>
                    <a:pt x="316" y="177"/>
                  </a:lnTo>
                  <a:lnTo>
                    <a:pt x="329" y="205"/>
                  </a:lnTo>
                  <a:lnTo>
                    <a:pt x="333" y="234"/>
                  </a:lnTo>
                  <a:lnTo>
                    <a:pt x="329" y="263"/>
                  </a:lnTo>
                  <a:lnTo>
                    <a:pt x="316" y="292"/>
                  </a:lnTo>
                  <a:lnTo>
                    <a:pt x="316" y="292"/>
                  </a:lnTo>
                  <a:lnTo>
                    <a:pt x="304" y="308"/>
                  </a:lnTo>
                  <a:lnTo>
                    <a:pt x="284" y="320"/>
                  </a:lnTo>
                  <a:lnTo>
                    <a:pt x="267" y="333"/>
                  </a:lnTo>
                  <a:lnTo>
                    <a:pt x="242" y="337"/>
                  </a:lnTo>
                  <a:lnTo>
                    <a:pt x="242" y="337"/>
                  </a:lnTo>
                  <a:lnTo>
                    <a:pt x="234" y="337"/>
                  </a:lnTo>
                  <a:lnTo>
                    <a:pt x="234" y="337"/>
                  </a:lnTo>
                  <a:close/>
                  <a:moveTo>
                    <a:pt x="168" y="292"/>
                  </a:moveTo>
                  <a:lnTo>
                    <a:pt x="168" y="292"/>
                  </a:lnTo>
                  <a:lnTo>
                    <a:pt x="177" y="292"/>
                  </a:lnTo>
                  <a:lnTo>
                    <a:pt x="177" y="292"/>
                  </a:lnTo>
                  <a:lnTo>
                    <a:pt x="189" y="304"/>
                  </a:lnTo>
                  <a:lnTo>
                    <a:pt x="205" y="312"/>
                  </a:lnTo>
                  <a:lnTo>
                    <a:pt x="222" y="316"/>
                  </a:lnTo>
                  <a:lnTo>
                    <a:pt x="242" y="316"/>
                  </a:lnTo>
                  <a:lnTo>
                    <a:pt x="242" y="316"/>
                  </a:lnTo>
                  <a:lnTo>
                    <a:pt x="259" y="312"/>
                  </a:lnTo>
                  <a:lnTo>
                    <a:pt x="275" y="304"/>
                  </a:lnTo>
                  <a:lnTo>
                    <a:pt x="288" y="292"/>
                  </a:lnTo>
                  <a:lnTo>
                    <a:pt x="300" y="279"/>
                  </a:lnTo>
                  <a:lnTo>
                    <a:pt x="300" y="279"/>
                  </a:lnTo>
                  <a:lnTo>
                    <a:pt x="312" y="259"/>
                  </a:lnTo>
                  <a:lnTo>
                    <a:pt x="312" y="234"/>
                  </a:lnTo>
                  <a:lnTo>
                    <a:pt x="308" y="209"/>
                  </a:lnTo>
                  <a:lnTo>
                    <a:pt x="300" y="189"/>
                  </a:lnTo>
                  <a:lnTo>
                    <a:pt x="300" y="189"/>
                  </a:lnTo>
                  <a:lnTo>
                    <a:pt x="284" y="172"/>
                  </a:lnTo>
                  <a:lnTo>
                    <a:pt x="263" y="160"/>
                  </a:lnTo>
                  <a:lnTo>
                    <a:pt x="263" y="160"/>
                  </a:lnTo>
                  <a:lnTo>
                    <a:pt x="247" y="152"/>
                  </a:lnTo>
                  <a:lnTo>
                    <a:pt x="234" y="140"/>
                  </a:lnTo>
                  <a:lnTo>
                    <a:pt x="230" y="119"/>
                  </a:lnTo>
                  <a:lnTo>
                    <a:pt x="226" y="103"/>
                  </a:lnTo>
                  <a:lnTo>
                    <a:pt x="226" y="20"/>
                  </a:lnTo>
                  <a:lnTo>
                    <a:pt x="111" y="20"/>
                  </a:lnTo>
                  <a:lnTo>
                    <a:pt x="111" y="103"/>
                  </a:lnTo>
                  <a:lnTo>
                    <a:pt x="111" y="103"/>
                  </a:lnTo>
                  <a:lnTo>
                    <a:pt x="107" y="119"/>
                  </a:lnTo>
                  <a:lnTo>
                    <a:pt x="98" y="140"/>
                  </a:lnTo>
                  <a:lnTo>
                    <a:pt x="86" y="152"/>
                  </a:lnTo>
                  <a:lnTo>
                    <a:pt x="74" y="160"/>
                  </a:lnTo>
                  <a:lnTo>
                    <a:pt x="74" y="160"/>
                  </a:lnTo>
                  <a:lnTo>
                    <a:pt x="53" y="172"/>
                  </a:lnTo>
                  <a:lnTo>
                    <a:pt x="37" y="189"/>
                  </a:lnTo>
                  <a:lnTo>
                    <a:pt x="37" y="189"/>
                  </a:lnTo>
                  <a:lnTo>
                    <a:pt x="24" y="209"/>
                  </a:lnTo>
                  <a:lnTo>
                    <a:pt x="20" y="234"/>
                  </a:lnTo>
                  <a:lnTo>
                    <a:pt x="24" y="259"/>
                  </a:lnTo>
                  <a:lnTo>
                    <a:pt x="33" y="279"/>
                  </a:lnTo>
                  <a:lnTo>
                    <a:pt x="33" y="279"/>
                  </a:lnTo>
                  <a:lnTo>
                    <a:pt x="45" y="292"/>
                  </a:lnTo>
                  <a:lnTo>
                    <a:pt x="61" y="304"/>
                  </a:lnTo>
                  <a:lnTo>
                    <a:pt x="78" y="312"/>
                  </a:lnTo>
                  <a:lnTo>
                    <a:pt x="94" y="316"/>
                  </a:lnTo>
                  <a:lnTo>
                    <a:pt x="94" y="316"/>
                  </a:lnTo>
                  <a:lnTo>
                    <a:pt x="115" y="316"/>
                  </a:lnTo>
                  <a:lnTo>
                    <a:pt x="131" y="312"/>
                  </a:lnTo>
                  <a:lnTo>
                    <a:pt x="148" y="304"/>
                  </a:lnTo>
                  <a:lnTo>
                    <a:pt x="160" y="292"/>
                  </a:lnTo>
                  <a:lnTo>
                    <a:pt x="160" y="292"/>
                  </a:lnTo>
                  <a:lnTo>
                    <a:pt x="168" y="292"/>
                  </a:lnTo>
                  <a:lnTo>
                    <a:pt x="168"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7" name="Freeform 239">
              <a:extLst>
                <a:ext uri="{FF2B5EF4-FFF2-40B4-BE49-F238E27FC236}">
                  <a16:creationId xmlns:a16="http://schemas.microsoft.com/office/drawing/2014/main" id="{ADBA2519-962D-FA8E-46ED-9B4D896C979D}"/>
                </a:ext>
              </a:extLst>
            </p:cNvPr>
            <p:cNvSpPr>
              <a:spLocks noEditPoints="1"/>
            </p:cNvSpPr>
            <p:nvPr/>
          </p:nvSpPr>
          <p:spPr bwMode="auto">
            <a:xfrm>
              <a:off x="9471025" y="2441575"/>
              <a:ext cx="528638" cy="534988"/>
            </a:xfrm>
            <a:custGeom>
              <a:avLst/>
              <a:gdLst>
                <a:gd name="T0" fmla="*/ 98 w 333"/>
                <a:gd name="T1" fmla="*/ 337 h 337"/>
                <a:gd name="T2" fmla="*/ 90 w 333"/>
                <a:gd name="T3" fmla="*/ 333 h 337"/>
                <a:gd name="T4" fmla="*/ 90 w 333"/>
                <a:gd name="T5" fmla="*/ 234 h 337"/>
                <a:gd name="T6" fmla="*/ 86 w 333"/>
                <a:gd name="T7" fmla="*/ 222 h 337"/>
                <a:gd name="T8" fmla="*/ 74 w 333"/>
                <a:gd name="T9" fmla="*/ 201 h 337"/>
                <a:gd name="T10" fmla="*/ 66 w 333"/>
                <a:gd name="T11" fmla="*/ 193 h 337"/>
                <a:gd name="T12" fmla="*/ 20 w 333"/>
                <a:gd name="T13" fmla="*/ 156 h 337"/>
                <a:gd name="T14" fmla="*/ 4 w 333"/>
                <a:gd name="T15" fmla="*/ 131 h 337"/>
                <a:gd name="T16" fmla="*/ 4 w 333"/>
                <a:gd name="T17" fmla="*/ 70 h 337"/>
                <a:gd name="T18" fmla="*/ 16 w 333"/>
                <a:gd name="T19" fmla="*/ 45 h 337"/>
                <a:gd name="T20" fmla="*/ 49 w 333"/>
                <a:gd name="T21" fmla="*/ 12 h 337"/>
                <a:gd name="T22" fmla="*/ 94 w 333"/>
                <a:gd name="T23" fmla="*/ 0 h 337"/>
                <a:gd name="T24" fmla="*/ 115 w 333"/>
                <a:gd name="T25" fmla="*/ 0 h 337"/>
                <a:gd name="T26" fmla="*/ 152 w 333"/>
                <a:gd name="T27" fmla="*/ 8 h 337"/>
                <a:gd name="T28" fmla="*/ 168 w 333"/>
                <a:gd name="T29" fmla="*/ 20 h 337"/>
                <a:gd name="T30" fmla="*/ 201 w 333"/>
                <a:gd name="T31" fmla="*/ 4 h 337"/>
                <a:gd name="T32" fmla="*/ 242 w 333"/>
                <a:gd name="T33" fmla="*/ 0 h 337"/>
                <a:gd name="T34" fmla="*/ 267 w 333"/>
                <a:gd name="T35" fmla="*/ 4 h 337"/>
                <a:gd name="T36" fmla="*/ 304 w 333"/>
                <a:gd name="T37" fmla="*/ 29 h 337"/>
                <a:gd name="T38" fmla="*/ 316 w 333"/>
                <a:gd name="T39" fmla="*/ 45 h 337"/>
                <a:gd name="T40" fmla="*/ 333 w 333"/>
                <a:gd name="T41" fmla="*/ 103 h 337"/>
                <a:gd name="T42" fmla="*/ 316 w 333"/>
                <a:gd name="T43" fmla="*/ 156 h 337"/>
                <a:gd name="T44" fmla="*/ 296 w 333"/>
                <a:gd name="T45" fmla="*/ 181 h 337"/>
                <a:gd name="T46" fmla="*/ 271 w 333"/>
                <a:gd name="T47" fmla="*/ 193 h 337"/>
                <a:gd name="T48" fmla="*/ 255 w 333"/>
                <a:gd name="T49" fmla="*/ 209 h 337"/>
                <a:gd name="T50" fmla="*/ 247 w 333"/>
                <a:gd name="T51" fmla="*/ 234 h 337"/>
                <a:gd name="T52" fmla="*/ 247 w 333"/>
                <a:gd name="T53" fmla="*/ 329 h 337"/>
                <a:gd name="T54" fmla="*/ 234 w 333"/>
                <a:gd name="T55" fmla="*/ 337 h 337"/>
                <a:gd name="T56" fmla="*/ 111 w 333"/>
                <a:gd name="T57" fmla="*/ 316 h 337"/>
                <a:gd name="T58" fmla="*/ 226 w 333"/>
                <a:gd name="T59" fmla="*/ 234 h 337"/>
                <a:gd name="T60" fmla="*/ 230 w 333"/>
                <a:gd name="T61" fmla="*/ 214 h 337"/>
                <a:gd name="T62" fmla="*/ 247 w 333"/>
                <a:gd name="T63" fmla="*/ 185 h 337"/>
                <a:gd name="T64" fmla="*/ 263 w 333"/>
                <a:gd name="T65" fmla="*/ 177 h 337"/>
                <a:gd name="T66" fmla="*/ 300 w 333"/>
                <a:gd name="T67" fmla="*/ 144 h 337"/>
                <a:gd name="T68" fmla="*/ 308 w 333"/>
                <a:gd name="T69" fmla="*/ 123 h 337"/>
                <a:gd name="T70" fmla="*/ 312 w 333"/>
                <a:gd name="T71" fmla="*/ 78 h 337"/>
                <a:gd name="T72" fmla="*/ 300 w 333"/>
                <a:gd name="T73" fmla="*/ 57 h 337"/>
                <a:gd name="T74" fmla="*/ 275 w 333"/>
                <a:gd name="T75" fmla="*/ 29 h 337"/>
                <a:gd name="T76" fmla="*/ 242 w 333"/>
                <a:gd name="T77" fmla="*/ 20 h 337"/>
                <a:gd name="T78" fmla="*/ 222 w 333"/>
                <a:gd name="T79" fmla="*/ 20 h 337"/>
                <a:gd name="T80" fmla="*/ 189 w 333"/>
                <a:gd name="T81" fmla="*/ 33 h 337"/>
                <a:gd name="T82" fmla="*/ 177 w 333"/>
                <a:gd name="T83" fmla="*/ 41 h 337"/>
                <a:gd name="T84" fmla="*/ 160 w 333"/>
                <a:gd name="T85" fmla="*/ 41 h 337"/>
                <a:gd name="T86" fmla="*/ 148 w 333"/>
                <a:gd name="T87" fmla="*/ 33 h 337"/>
                <a:gd name="T88" fmla="*/ 115 w 333"/>
                <a:gd name="T89" fmla="*/ 20 h 337"/>
                <a:gd name="T90" fmla="*/ 94 w 333"/>
                <a:gd name="T91" fmla="*/ 20 h 337"/>
                <a:gd name="T92" fmla="*/ 61 w 333"/>
                <a:gd name="T93" fmla="*/ 29 h 337"/>
                <a:gd name="T94" fmla="*/ 33 w 333"/>
                <a:gd name="T95" fmla="*/ 57 h 337"/>
                <a:gd name="T96" fmla="*/ 24 w 333"/>
                <a:gd name="T97" fmla="*/ 78 h 337"/>
                <a:gd name="T98" fmla="*/ 24 w 333"/>
                <a:gd name="T99" fmla="*/ 123 h 337"/>
                <a:gd name="T100" fmla="*/ 37 w 333"/>
                <a:gd name="T101" fmla="*/ 144 h 337"/>
                <a:gd name="T102" fmla="*/ 74 w 333"/>
                <a:gd name="T103" fmla="*/ 177 h 337"/>
                <a:gd name="T104" fmla="*/ 86 w 333"/>
                <a:gd name="T105" fmla="*/ 185 h 337"/>
                <a:gd name="T106" fmla="*/ 107 w 333"/>
                <a:gd name="T107" fmla="*/ 214 h 337"/>
                <a:gd name="T108" fmla="*/ 111 w 333"/>
                <a:gd name="T109" fmla="*/ 31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3" h="337">
                  <a:moveTo>
                    <a:pt x="234" y="337"/>
                  </a:moveTo>
                  <a:lnTo>
                    <a:pt x="98" y="337"/>
                  </a:lnTo>
                  <a:lnTo>
                    <a:pt x="98" y="337"/>
                  </a:lnTo>
                  <a:lnTo>
                    <a:pt x="90" y="333"/>
                  </a:lnTo>
                  <a:lnTo>
                    <a:pt x="90" y="329"/>
                  </a:lnTo>
                  <a:lnTo>
                    <a:pt x="90" y="234"/>
                  </a:lnTo>
                  <a:lnTo>
                    <a:pt x="90" y="234"/>
                  </a:lnTo>
                  <a:lnTo>
                    <a:pt x="86" y="222"/>
                  </a:lnTo>
                  <a:lnTo>
                    <a:pt x="82" y="209"/>
                  </a:lnTo>
                  <a:lnTo>
                    <a:pt x="74" y="201"/>
                  </a:lnTo>
                  <a:lnTo>
                    <a:pt x="66" y="193"/>
                  </a:lnTo>
                  <a:lnTo>
                    <a:pt x="66" y="193"/>
                  </a:lnTo>
                  <a:lnTo>
                    <a:pt x="41" y="181"/>
                  </a:lnTo>
                  <a:lnTo>
                    <a:pt x="20" y="156"/>
                  </a:lnTo>
                  <a:lnTo>
                    <a:pt x="20" y="156"/>
                  </a:lnTo>
                  <a:lnTo>
                    <a:pt x="4" y="131"/>
                  </a:lnTo>
                  <a:lnTo>
                    <a:pt x="0" y="103"/>
                  </a:lnTo>
                  <a:lnTo>
                    <a:pt x="4" y="70"/>
                  </a:lnTo>
                  <a:lnTo>
                    <a:pt x="16" y="45"/>
                  </a:lnTo>
                  <a:lnTo>
                    <a:pt x="16" y="45"/>
                  </a:lnTo>
                  <a:lnTo>
                    <a:pt x="33" y="29"/>
                  </a:lnTo>
                  <a:lnTo>
                    <a:pt x="49" y="12"/>
                  </a:lnTo>
                  <a:lnTo>
                    <a:pt x="70" y="4"/>
                  </a:lnTo>
                  <a:lnTo>
                    <a:pt x="94" y="0"/>
                  </a:lnTo>
                  <a:lnTo>
                    <a:pt x="94" y="0"/>
                  </a:lnTo>
                  <a:lnTo>
                    <a:pt x="115" y="0"/>
                  </a:lnTo>
                  <a:lnTo>
                    <a:pt x="131" y="4"/>
                  </a:lnTo>
                  <a:lnTo>
                    <a:pt x="152" y="8"/>
                  </a:lnTo>
                  <a:lnTo>
                    <a:pt x="168" y="20"/>
                  </a:lnTo>
                  <a:lnTo>
                    <a:pt x="168" y="20"/>
                  </a:lnTo>
                  <a:lnTo>
                    <a:pt x="185" y="8"/>
                  </a:lnTo>
                  <a:lnTo>
                    <a:pt x="201" y="4"/>
                  </a:lnTo>
                  <a:lnTo>
                    <a:pt x="222" y="0"/>
                  </a:lnTo>
                  <a:lnTo>
                    <a:pt x="242" y="0"/>
                  </a:lnTo>
                  <a:lnTo>
                    <a:pt x="242" y="0"/>
                  </a:lnTo>
                  <a:lnTo>
                    <a:pt x="267" y="4"/>
                  </a:lnTo>
                  <a:lnTo>
                    <a:pt x="284" y="12"/>
                  </a:lnTo>
                  <a:lnTo>
                    <a:pt x="304" y="29"/>
                  </a:lnTo>
                  <a:lnTo>
                    <a:pt x="316" y="45"/>
                  </a:lnTo>
                  <a:lnTo>
                    <a:pt x="316" y="45"/>
                  </a:lnTo>
                  <a:lnTo>
                    <a:pt x="329" y="70"/>
                  </a:lnTo>
                  <a:lnTo>
                    <a:pt x="333" y="103"/>
                  </a:lnTo>
                  <a:lnTo>
                    <a:pt x="329" y="131"/>
                  </a:lnTo>
                  <a:lnTo>
                    <a:pt x="316" y="156"/>
                  </a:lnTo>
                  <a:lnTo>
                    <a:pt x="316" y="156"/>
                  </a:lnTo>
                  <a:lnTo>
                    <a:pt x="296" y="181"/>
                  </a:lnTo>
                  <a:lnTo>
                    <a:pt x="271" y="193"/>
                  </a:lnTo>
                  <a:lnTo>
                    <a:pt x="271" y="193"/>
                  </a:lnTo>
                  <a:lnTo>
                    <a:pt x="259" y="201"/>
                  </a:lnTo>
                  <a:lnTo>
                    <a:pt x="255" y="209"/>
                  </a:lnTo>
                  <a:lnTo>
                    <a:pt x="247" y="222"/>
                  </a:lnTo>
                  <a:lnTo>
                    <a:pt x="247" y="234"/>
                  </a:lnTo>
                  <a:lnTo>
                    <a:pt x="247" y="329"/>
                  </a:lnTo>
                  <a:lnTo>
                    <a:pt x="247" y="329"/>
                  </a:lnTo>
                  <a:lnTo>
                    <a:pt x="242" y="333"/>
                  </a:lnTo>
                  <a:lnTo>
                    <a:pt x="234" y="337"/>
                  </a:lnTo>
                  <a:lnTo>
                    <a:pt x="234" y="337"/>
                  </a:lnTo>
                  <a:close/>
                  <a:moveTo>
                    <a:pt x="111" y="316"/>
                  </a:moveTo>
                  <a:lnTo>
                    <a:pt x="226" y="316"/>
                  </a:lnTo>
                  <a:lnTo>
                    <a:pt x="226" y="234"/>
                  </a:lnTo>
                  <a:lnTo>
                    <a:pt x="226" y="234"/>
                  </a:lnTo>
                  <a:lnTo>
                    <a:pt x="230" y="214"/>
                  </a:lnTo>
                  <a:lnTo>
                    <a:pt x="234" y="197"/>
                  </a:lnTo>
                  <a:lnTo>
                    <a:pt x="247" y="185"/>
                  </a:lnTo>
                  <a:lnTo>
                    <a:pt x="263" y="177"/>
                  </a:lnTo>
                  <a:lnTo>
                    <a:pt x="263" y="177"/>
                  </a:lnTo>
                  <a:lnTo>
                    <a:pt x="284" y="164"/>
                  </a:lnTo>
                  <a:lnTo>
                    <a:pt x="300" y="144"/>
                  </a:lnTo>
                  <a:lnTo>
                    <a:pt x="300" y="144"/>
                  </a:lnTo>
                  <a:lnTo>
                    <a:pt x="308" y="123"/>
                  </a:lnTo>
                  <a:lnTo>
                    <a:pt x="312" y="103"/>
                  </a:lnTo>
                  <a:lnTo>
                    <a:pt x="312" y="78"/>
                  </a:lnTo>
                  <a:lnTo>
                    <a:pt x="300" y="57"/>
                  </a:lnTo>
                  <a:lnTo>
                    <a:pt x="300" y="57"/>
                  </a:lnTo>
                  <a:lnTo>
                    <a:pt x="288" y="41"/>
                  </a:lnTo>
                  <a:lnTo>
                    <a:pt x="275" y="29"/>
                  </a:lnTo>
                  <a:lnTo>
                    <a:pt x="259" y="24"/>
                  </a:lnTo>
                  <a:lnTo>
                    <a:pt x="242" y="20"/>
                  </a:lnTo>
                  <a:lnTo>
                    <a:pt x="242" y="20"/>
                  </a:lnTo>
                  <a:lnTo>
                    <a:pt x="222" y="20"/>
                  </a:lnTo>
                  <a:lnTo>
                    <a:pt x="205" y="24"/>
                  </a:lnTo>
                  <a:lnTo>
                    <a:pt x="189" y="33"/>
                  </a:lnTo>
                  <a:lnTo>
                    <a:pt x="177" y="41"/>
                  </a:lnTo>
                  <a:lnTo>
                    <a:pt x="177" y="41"/>
                  </a:lnTo>
                  <a:lnTo>
                    <a:pt x="168" y="45"/>
                  </a:lnTo>
                  <a:lnTo>
                    <a:pt x="160" y="41"/>
                  </a:lnTo>
                  <a:lnTo>
                    <a:pt x="160" y="41"/>
                  </a:lnTo>
                  <a:lnTo>
                    <a:pt x="148" y="33"/>
                  </a:lnTo>
                  <a:lnTo>
                    <a:pt x="131" y="24"/>
                  </a:lnTo>
                  <a:lnTo>
                    <a:pt x="115" y="20"/>
                  </a:lnTo>
                  <a:lnTo>
                    <a:pt x="94" y="20"/>
                  </a:lnTo>
                  <a:lnTo>
                    <a:pt x="94" y="20"/>
                  </a:lnTo>
                  <a:lnTo>
                    <a:pt x="78" y="24"/>
                  </a:lnTo>
                  <a:lnTo>
                    <a:pt x="61" y="29"/>
                  </a:lnTo>
                  <a:lnTo>
                    <a:pt x="45" y="41"/>
                  </a:lnTo>
                  <a:lnTo>
                    <a:pt x="33" y="57"/>
                  </a:lnTo>
                  <a:lnTo>
                    <a:pt x="33" y="57"/>
                  </a:lnTo>
                  <a:lnTo>
                    <a:pt x="24" y="78"/>
                  </a:lnTo>
                  <a:lnTo>
                    <a:pt x="20" y="103"/>
                  </a:lnTo>
                  <a:lnTo>
                    <a:pt x="24" y="123"/>
                  </a:lnTo>
                  <a:lnTo>
                    <a:pt x="37" y="144"/>
                  </a:lnTo>
                  <a:lnTo>
                    <a:pt x="37" y="144"/>
                  </a:lnTo>
                  <a:lnTo>
                    <a:pt x="53" y="164"/>
                  </a:lnTo>
                  <a:lnTo>
                    <a:pt x="74" y="177"/>
                  </a:lnTo>
                  <a:lnTo>
                    <a:pt x="74" y="177"/>
                  </a:lnTo>
                  <a:lnTo>
                    <a:pt x="86" y="185"/>
                  </a:lnTo>
                  <a:lnTo>
                    <a:pt x="98" y="197"/>
                  </a:lnTo>
                  <a:lnTo>
                    <a:pt x="107" y="214"/>
                  </a:lnTo>
                  <a:lnTo>
                    <a:pt x="111" y="234"/>
                  </a:lnTo>
                  <a:lnTo>
                    <a:pt x="111" y="3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8" name="Freeform 240">
              <a:extLst>
                <a:ext uri="{FF2B5EF4-FFF2-40B4-BE49-F238E27FC236}">
                  <a16:creationId xmlns:a16="http://schemas.microsoft.com/office/drawing/2014/main" id="{39AA2450-FC13-79D6-4495-6995DE8AB6AB}"/>
                </a:ext>
              </a:extLst>
            </p:cNvPr>
            <p:cNvSpPr>
              <a:spLocks/>
            </p:cNvSpPr>
            <p:nvPr/>
          </p:nvSpPr>
          <p:spPr bwMode="auto">
            <a:xfrm>
              <a:off x="10031413" y="2212975"/>
              <a:ext cx="268288" cy="169863"/>
            </a:xfrm>
            <a:custGeom>
              <a:avLst/>
              <a:gdLst>
                <a:gd name="T0" fmla="*/ 9 w 169"/>
                <a:gd name="T1" fmla="*/ 107 h 107"/>
                <a:gd name="T2" fmla="*/ 9 w 169"/>
                <a:gd name="T3" fmla="*/ 107 h 107"/>
                <a:gd name="T4" fmla="*/ 17 w 169"/>
                <a:gd name="T5" fmla="*/ 103 h 107"/>
                <a:gd name="T6" fmla="*/ 74 w 169"/>
                <a:gd name="T7" fmla="*/ 49 h 107"/>
                <a:gd name="T8" fmla="*/ 66 w 169"/>
                <a:gd name="T9" fmla="*/ 86 h 107"/>
                <a:gd name="T10" fmla="*/ 66 w 169"/>
                <a:gd name="T11" fmla="*/ 86 h 107"/>
                <a:gd name="T12" fmla="*/ 66 w 169"/>
                <a:gd name="T13" fmla="*/ 94 h 107"/>
                <a:gd name="T14" fmla="*/ 70 w 169"/>
                <a:gd name="T15" fmla="*/ 99 h 107"/>
                <a:gd name="T16" fmla="*/ 70 w 169"/>
                <a:gd name="T17" fmla="*/ 99 h 107"/>
                <a:gd name="T18" fmla="*/ 74 w 169"/>
                <a:gd name="T19" fmla="*/ 99 h 107"/>
                <a:gd name="T20" fmla="*/ 83 w 169"/>
                <a:gd name="T21" fmla="*/ 99 h 107"/>
                <a:gd name="T22" fmla="*/ 165 w 169"/>
                <a:gd name="T23" fmla="*/ 16 h 107"/>
                <a:gd name="T24" fmla="*/ 165 w 169"/>
                <a:gd name="T25" fmla="*/ 16 h 107"/>
                <a:gd name="T26" fmla="*/ 169 w 169"/>
                <a:gd name="T27" fmla="*/ 12 h 107"/>
                <a:gd name="T28" fmla="*/ 165 w 169"/>
                <a:gd name="T29" fmla="*/ 4 h 107"/>
                <a:gd name="T30" fmla="*/ 165 w 169"/>
                <a:gd name="T31" fmla="*/ 4 h 107"/>
                <a:gd name="T32" fmla="*/ 161 w 169"/>
                <a:gd name="T33" fmla="*/ 0 h 107"/>
                <a:gd name="T34" fmla="*/ 153 w 169"/>
                <a:gd name="T35" fmla="*/ 4 h 107"/>
                <a:gd name="T36" fmla="*/ 95 w 169"/>
                <a:gd name="T37" fmla="*/ 57 h 107"/>
                <a:gd name="T38" fmla="*/ 103 w 169"/>
                <a:gd name="T39" fmla="*/ 20 h 107"/>
                <a:gd name="T40" fmla="*/ 103 w 169"/>
                <a:gd name="T41" fmla="*/ 20 h 107"/>
                <a:gd name="T42" fmla="*/ 103 w 169"/>
                <a:gd name="T43" fmla="*/ 12 h 107"/>
                <a:gd name="T44" fmla="*/ 99 w 169"/>
                <a:gd name="T45" fmla="*/ 8 h 107"/>
                <a:gd name="T46" fmla="*/ 99 w 169"/>
                <a:gd name="T47" fmla="*/ 8 h 107"/>
                <a:gd name="T48" fmla="*/ 95 w 169"/>
                <a:gd name="T49" fmla="*/ 8 h 107"/>
                <a:gd name="T50" fmla="*/ 87 w 169"/>
                <a:gd name="T51" fmla="*/ 8 h 107"/>
                <a:gd name="T52" fmla="*/ 5 w 169"/>
                <a:gd name="T53" fmla="*/ 90 h 107"/>
                <a:gd name="T54" fmla="*/ 5 w 169"/>
                <a:gd name="T55" fmla="*/ 90 h 107"/>
                <a:gd name="T56" fmla="*/ 0 w 169"/>
                <a:gd name="T57" fmla="*/ 94 h 107"/>
                <a:gd name="T58" fmla="*/ 0 w 169"/>
                <a:gd name="T59" fmla="*/ 103 h 107"/>
                <a:gd name="T60" fmla="*/ 0 w 169"/>
                <a:gd name="T61" fmla="*/ 103 h 107"/>
                <a:gd name="T62" fmla="*/ 9 w 169"/>
                <a:gd name="T63" fmla="*/ 107 h 107"/>
                <a:gd name="T64" fmla="*/ 9 w 169"/>
                <a:gd name="T6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07">
                  <a:moveTo>
                    <a:pt x="9" y="107"/>
                  </a:moveTo>
                  <a:lnTo>
                    <a:pt x="9" y="107"/>
                  </a:lnTo>
                  <a:lnTo>
                    <a:pt x="17" y="103"/>
                  </a:lnTo>
                  <a:lnTo>
                    <a:pt x="74" y="49"/>
                  </a:lnTo>
                  <a:lnTo>
                    <a:pt x="66" y="86"/>
                  </a:lnTo>
                  <a:lnTo>
                    <a:pt x="66" y="86"/>
                  </a:lnTo>
                  <a:lnTo>
                    <a:pt x="66" y="94"/>
                  </a:lnTo>
                  <a:lnTo>
                    <a:pt x="70" y="99"/>
                  </a:lnTo>
                  <a:lnTo>
                    <a:pt x="70" y="99"/>
                  </a:lnTo>
                  <a:lnTo>
                    <a:pt x="74" y="99"/>
                  </a:lnTo>
                  <a:lnTo>
                    <a:pt x="83" y="99"/>
                  </a:lnTo>
                  <a:lnTo>
                    <a:pt x="165" y="16"/>
                  </a:lnTo>
                  <a:lnTo>
                    <a:pt x="165" y="16"/>
                  </a:lnTo>
                  <a:lnTo>
                    <a:pt x="169" y="12"/>
                  </a:lnTo>
                  <a:lnTo>
                    <a:pt x="165" y="4"/>
                  </a:lnTo>
                  <a:lnTo>
                    <a:pt x="165" y="4"/>
                  </a:lnTo>
                  <a:lnTo>
                    <a:pt x="161" y="0"/>
                  </a:lnTo>
                  <a:lnTo>
                    <a:pt x="153" y="4"/>
                  </a:lnTo>
                  <a:lnTo>
                    <a:pt x="95" y="57"/>
                  </a:lnTo>
                  <a:lnTo>
                    <a:pt x="103" y="20"/>
                  </a:lnTo>
                  <a:lnTo>
                    <a:pt x="103" y="20"/>
                  </a:lnTo>
                  <a:lnTo>
                    <a:pt x="103" y="12"/>
                  </a:lnTo>
                  <a:lnTo>
                    <a:pt x="99" y="8"/>
                  </a:lnTo>
                  <a:lnTo>
                    <a:pt x="99" y="8"/>
                  </a:lnTo>
                  <a:lnTo>
                    <a:pt x="95" y="8"/>
                  </a:lnTo>
                  <a:lnTo>
                    <a:pt x="87" y="8"/>
                  </a:lnTo>
                  <a:lnTo>
                    <a:pt x="5" y="90"/>
                  </a:lnTo>
                  <a:lnTo>
                    <a:pt x="5" y="90"/>
                  </a:lnTo>
                  <a:lnTo>
                    <a:pt x="0" y="94"/>
                  </a:lnTo>
                  <a:lnTo>
                    <a:pt x="0" y="103"/>
                  </a:lnTo>
                  <a:lnTo>
                    <a:pt x="0" y="103"/>
                  </a:lnTo>
                  <a:lnTo>
                    <a:pt x="9" y="107"/>
                  </a:lnTo>
                  <a:lnTo>
                    <a:pt x="9"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9" name="Freeform 241">
              <a:extLst>
                <a:ext uri="{FF2B5EF4-FFF2-40B4-BE49-F238E27FC236}">
                  <a16:creationId xmlns:a16="http://schemas.microsoft.com/office/drawing/2014/main" id="{1C3CF68A-7688-E363-006F-33665D7022B7}"/>
                </a:ext>
              </a:extLst>
            </p:cNvPr>
            <p:cNvSpPr>
              <a:spLocks/>
            </p:cNvSpPr>
            <p:nvPr/>
          </p:nvSpPr>
          <p:spPr bwMode="auto">
            <a:xfrm>
              <a:off x="9177338" y="2212975"/>
              <a:ext cx="266700" cy="169863"/>
            </a:xfrm>
            <a:custGeom>
              <a:avLst/>
              <a:gdLst>
                <a:gd name="T0" fmla="*/ 86 w 168"/>
                <a:gd name="T1" fmla="*/ 99 h 107"/>
                <a:gd name="T2" fmla="*/ 86 w 168"/>
                <a:gd name="T3" fmla="*/ 99 h 107"/>
                <a:gd name="T4" fmla="*/ 90 w 168"/>
                <a:gd name="T5" fmla="*/ 99 h 107"/>
                <a:gd name="T6" fmla="*/ 98 w 168"/>
                <a:gd name="T7" fmla="*/ 99 h 107"/>
                <a:gd name="T8" fmla="*/ 98 w 168"/>
                <a:gd name="T9" fmla="*/ 99 h 107"/>
                <a:gd name="T10" fmla="*/ 103 w 168"/>
                <a:gd name="T11" fmla="*/ 94 h 107"/>
                <a:gd name="T12" fmla="*/ 103 w 168"/>
                <a:gd name="T13" fmla="*/ 86 h 107"/>
                <a:gd name="T14" fmla="*/ 94 w 168"/>
                <a:gd name="T15" fmla="*/ 49 h 107"/>
                <a:gd name="T16" fmla="*/ 152 w 168"/>
                <a:gd name="T17" fmla="*/ 103 h 107"/>
                <a:gd name="T18" fmla="*/ 152 w 168"/>
                <a:gd name="T19" fmla="*/ 103 h 107"/>
                <a:gd name="T20" fmla="*/ 156 w 168"/>
                <a:gd name="T21" fmla="*/ 107 h 107"/>
                <a:gd name="T22" fmla="*/ 156 w 168"/>
                <a:gd name="T23" fmla="*/ 107 h 107"/>
                <a:gd name="T24" fmla="*/ 164 w 168"/>
                <a:gd name="T25" fmla="*/ 103 h 107"/>
                <a:gd name="T26" fmla="*/ 164 w 168"/>
                <a:gd name="T27" fmla="*/ 103 h 107"/>
                <a:gd name="T28" fmla="*/ 168 w 168"/>
                <a:gd name="T29" fmla="*/ 94 h 107"/>
                <a:gd name="T30" fmla="*/ 164 w 168"/>
                <a:gd name="T31" fmla="*/ 90 h 107"/>
                <a:gd name="T32" fmla="*/ 78 w 168"/>
                <a:gd name="T33" fmla="*/ 8 h 107"/>
                <a:gd name="T34" fmla="*/ 78 w 168"/>
                <a:gd name="T35" fmla="*/ 8 h 107"/>
                <a:gd name="T36" fmla="*/ 74 w 168"/>
                <a:gd name="T37" fmla="*/ 8 h 107"/>
                <a:gd name="T38" fmla="*/ 66 w 168"/>
                <a:gd name="T39" fmla="*/ 8 h 107"/>
                <a:gd name="T40" fmla="*/ 66 w 168"/>
                <a:gd name="T41" fmla="*/ 8 h 107"/>
                <a:gd name="T42" fmla="*/ 61 w 168"/>
                <a:gd name="T43" fmla="*/ 12 h 107"/>
                <a:gd name="T44" fmla="*/ 61 w 168"/>
                <a:gd name="T45" fmla="*/ 20 h 107"/>
                <a:gd name="T46" fmla="*/ 74 w 168"/>
                <a:gd name="T47" fmla="*/ 57 h 107"/>
                <a:gd name="T48" fmla="*/ 16 w 168"/>
                <a:gd name="T49" fmla="*/ 4 h 107"/>
                <a:gd name="T50" fmla="*/ 16 w 168"/>
                <a:gd name="T51" fmla="*/ 4 h 107"/>
                <a:gd name="T52" fmla="*/ 8 w 168"/>
                <a:gd name="T53" fmla="*/ 0 h 107"/>
                <a:gd name="T54" fmla="*/ 0 w 168"/>
                <a:gd name="T55" fmla="*/ 4 h 107"/>
                <a:gd name="T56" fmla="*/ 0 w 168"/>
                <a:gd name="T57" fmla="*/ 4 h 107"/>
                <a:gd name="T58" fmla="*/ 0 w 168"/>
                <a:gd name="T59" fmla="*/ 12 h 107"/>
                <a:gd name="T60" fmla="*/ 0 w 168"/>
                <a:gd name="T61" fmla="*/ 16 h 107"/>
                <a:gd name="T62" fmla="*/ 86 w 168"/>
                <a:gd name="T63" fmla="*/ 9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07">
                  <a:moveTo>
                    <a:pt x="86" y="99"/>
                  </a:moveTo>
                  <a:lnTo>
                    <a:pt x="86" y="99"/>
                  </a:lnTo>
                  <a:lnTo>
                    <a:pt x="90" y="99"/>
                  </a:lnTo>
                  <a:lnTo>
                    <a:pt x="98" y="99"/>
                  </a:lnTo>
                  <a:lnTo>
                    <a:pt x="98" y="99"/>
                  </a:lnTo>
                  <a:lnTo>
                    <a:pt x="103" y="94"/>
                  </a:lnTo>
                  <a:lnTo>
                    <a:pt x="103" y="86"/>
                  </a:lnTo>
                  <a:lnTo>
                    <a:pt x="94" y="49"/>
                  </a:lnTo>
                  <a:lnTo>
                    <a:pt x="152" y="103"/>
                  </a:lnTo>
                  <a:lnTo>
                    <a:pt x="152" y="103"/>
                  </a:lnTo>
                  <a:lnTo>
                    <a:pt x="156" y="107"/>
                  </a:lnTo>
                  <a:lnTo>
                    <a:pt x="156" y="107"/>
                  </a:lnTo>
                  <a:lnTo>
                    <a:pt x="164" y="103"/>
                  </a:lnTo>
                  <a:lnTo>
                    <a:pt x="164" y="103"/>
                  </a:lnTo>
                  <a:lnTo>
                    <a:pt x="168" y="94"/>
                  </a:lnTo>
                  <a:lnTo>
                    <a:pt x="164" y="90"/>
                  </a:lnTo>
                  <a:lnTo>
                    <a:pt x="78" y="8"/>
                  </a:lnTo>
                  <a:lnTo>
                    <a:pt x="78" y="8"/>
                  </a:lnTo>
                  <a:lnTo>
                    <a:pt x="74" y="8"/>
                  </a:lnTo>
                  <a:lnTo>
                    <a:pt x="66" y="8"/>
                  </a:lnTo>
                  <a:lnTo>
                    <a:pt x="66" y="8"/>
                  </a:lnTo>
                  <a:lnTo>
                    <a:pt x="61" y="12"/>
                  </a:lnTo>
                  <a:lnTo>
                    <a:pt x="61" y="20"/>
                  </a:lnTo>
                  <a:lnTo>
                    <a:pt x="74" y="57"/>
                  </a:lnTo>
                  <a:lnTo>
                    <a:pt x="16" y="4"/>
                  </a:lnTo>
                  <a:lnTo>
                    <a:pt x="16" y="4"/>
                  </a:lnTo>
                  <a:lnTo>
                    <a:pt x="8" y="0"/>
                  </a:lnTo>
                  <a:lnTo>
                    <a:pt x="0" y="4"/>
                  </a:lnTo>
                  <a:lnTo>
                    <a:pt x="0" y="4"/>
                  </a:lnTo>
                  <a:lnTo>
                    <a:pt x="0" y="12"/>
                  </a:lnTo>
                  <a:lnTo>
                    <a:pt x="0" y="16"/>
                  </a:lnTo>
                  <a:lnTo>
                    <a:pt x="8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0" name="Freeform 242">
              <a:extLst>
                <a:ext uri="{FF2B5EF4-FFF2-40B4-BE49-F238E27FC236}">
                  <a16:creationId xmlns:a16="http://schemas.microsoft.com/office/drawing/2014/main" id="{B1BA9279-34C3-A458-7D70-BAAC54450FDC}"/>
                </a:ext>
              </a:extLst>
            </p:cNvPr>
            <p:cNvSpPr>
              <a:spLocks/>
            </p:cNvSpPr>
            <p:nvPr/>
          </p:nvSpPr>
          <p:spPr bwMode="auto">
            <a:xfrm>
              <a:off x="9177338" y="2447925"/>
              <a:ext cx="266700" cy="169863"/>
            </a:xfrm>
            <a:custGeom>
              <a:avLst/>
              <a:gdLst>
                <a:gd name="T0" fmla="*/ 152 w 168"/>
                <a:gd name="T1" fmla="*/ 4 h 107"/>
                <a:gd name="T2" fmla="*/ 94 w 168"/>
                <a:gd name="T3" fmla="*/ 57 h 107"/>
                <a:gd name="T4" fmla="*/ 103 w 168"/>
                <a:gd name="T5" fmla="*/ 20 h 107"/>
                <a:gd name="T6" fmla="*/ 103 w 168"/>
                <a:gd name="T7" fmla="*/ 20 h 107"/>
                <a:gd name="T8" fmla="*/ 103 w 168"/>
                <a:gd name="T9" fmla="*/ 12 h 107"/>
                <a:gd name="T10" fmla="*/ 98 w 168"/>
                <a:gd name="T11" fmla="*/ 8 h 107"/>
                <a:gd name="T12" fmla="*/ 98 w 168"/>
                <a:gd name="T13" fmla="*/ 8 h 107"/>
                <a:gd name="T14" fmla="*/ 90 w 168"/>
                <a:gd name="T15" fmla="*/ 8 h 107"/>
                <a:gd name="T16" fmla="*/ 86 w 168"/>
                <a:gd name="T17" fmla="*/ 8 h 107"/>
                <a:gd name="T18" fmla="*/ 0 w 168"/>
                <a:gd name="T19" fmla="*/ 90 h 107"/>
                <a:gd name="T20" fmla="*/ 0 w 168"/>
                <a:gd name="T21" fmla="*/ 90 h 107"/>
                <a:gd name="T22" fmla="*/ 0 w 168"/>
                <a:gd name="T23" fmla="*/ 94 h 107"/>
                <a:gd name="T24" fmla="*/ 0 w 168"/>
                <a:gd name="T25" fmla="*/ 103 h 107"/>
                <a:gd name="T26" fmla="*/ 0 w 168"/>
                <a:gd name="T27" fmla="*/ 103 h 107"/>
                <a:gd name="T28" fmla="*/ 8 w 168"/>
                <a:gd name="T29" fmla="*/ 107 h 107"/>
                <a:gd name="T30" fmla="*/ 8 w 168"/>
                <a:gd name="T31" fmla="*/ 107 h 107"/>
                <a:gd name="T32" fmla="*/ 16 w 168"/>
                <a:gd name="T33" fmla="*/ 103 h 107"/>
                <a:gd name="T34" fmla="*/ 74 w 168"/>
                <a:gd name="T35" fmla="*/ 49 h 107"/>
                <a:gd name="T36" fmla="*/ 61 w 168"/>
                <a:gd name="T37" fmla="*/ 86 h 107"/>
                <a:gd name="T38" fmla="*/ 61 w 168"/>
                <a:gd name="T39" fmla="*/ 86 h 107"/>
                <a:gd name="T40" fmla="*/ 61 w 168"/>
                <a:gd name="T41" fmla="*/ 94 h 107"/>
                <a:gd name="T42" fmla="*/ 66 w 168"/>
                <a:gd name="T43" fmla="*/ 99 h 107"/>
                <a:gd name="T44" fmla="*/ 66 w 168"/>
                <a:gd name="T45" fmla="*/ 99 h 107"/>
                <a:gd name="T46" fmla="*/ 74 w 168"/>
                <a:gd name="T47" fmla="*/ 99 h 107"/>
                <a:gd name="T48" fmla="*/ 78 w 168"/>
                <a:gd name="T49" fmla="*/ 99 h 107"/>
                <a:gd name="T50" fmla="*/ 164 w 168"/>
                <a:gd name="T51" fmla="*/ 16 h 107"/>
                <a:gd name="T52" fmla="*/ 164 w 168"/>
                <a:gd name="T53" fmla="*/ 16 h 107"/>
                <a:gd name="T54" fmla="*/ 168 w 168"/>
                <a:gd name="T55" fmla="*/ 12 h 107"/>
                <a:gd name="T56" fmla="*/ 164 w 168"/>
                <a:gd name="T57" fmla="*/ 4 h 107"/>
                <a:gd name="T58" fmla="*/ 164 w 168"/>
                <a:gd name="T59" fmla="*/ 4 h 107"/>
                <a:gd name="T60" fmla="*/ 160 w 168"/>
                <a:gd name="T61" fmla="*/ 0 h 107"/>
                <a:gd name="T62" fmla="*/ 152 w 168"/>
                <a:gd name="T63" fmla="*/ 4 h 107"/>
                <a:gd name="T64" fmla="*/ 152 w 168"/>
                <a:gd name="T65" fmla="*/ 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07">
                  <a:moveTo>
                    <a:pt x="152" y="4"/>
                  </a:moveTo>
                  <a:lnTo>
                    <a:pt x="94" y="57"/>
                  </a:lnTo>
                  <a:lnTo>
                    <a:pt x="103" y="20"/>
                  </a:lnTo>
                  <a:lnTo>
                    <a:pt x="103" y="20"/>
                  </a:lnTo>
                  <a:lnTo>
                    <a:pt x="103" y="12"/>
                  </a:lnTo>
                  <a:lnTo>
                    <a:pt x="98" y="8"/>
                  </a:lnTo>
                  <a:lnTo>
                    <a:pt x="98" y="8"/>
                  </a:lnTo>
                  <a:lnTo>
                    <a:pt x="90" y="8"/>
                  </a:lnTo>
                  <a:lnTo>
                    <a:pt x="86" y="8"/>
                  </a:lnTo>
                  <a:lnTo>
                    <a:pt x="0" y="90"/>
                  </a:lnTo>
                  <a:lnTo>
                    <a:pt x="0" y="90"/>
                  </a:lnTo>
                  <a:lnTo>
                    <a:pt x="0" y="94"/>
                  </a:lnTo>
                  <a:lnTo>
                    <a:pt x="0" y="103"/>
                  </a:lnTo>
                  <a:lnTo>
                    <a:pt x="0" y="103"/>
                  </a:lnTo>
                  <a:lnTo>
                    <a:pt x="8" y="107"/>
                  </a:lnTo>
                  <a:lnTo>
                    <a:pt x="8" y="107"/>
                  </a:lnTo>
                  <a:lnTo>
                    <a:pt x="16" y="103"/>
                  </a:lnTo>
                  <a:lnTo>
                    <a:pt x="74" y="49"/>
                  </a:lnTo>
                  <a:lnTo>
                    <a:pt x="61" y="86"/>
                  </a:lnTo>
                  <a:lnTo>
                    <a:pt x="61" y="86"/>
                  </a:lnTo>
                  <a:lnTo>
                    <a:pt x="61" y="94"/>
                  </a:lnTo>
                  <a:lnTo>
                    <a:pt x="66" y="99"/>
                  </a:lnTo>
                  <a:lnTo>
                    <a:pt x="66" y="99"/>
                  </a:lnTo>
                  <a:lnTo>
                    <a:pt x="74" y="99"/>
                  </a:lnTo>
                  <a:lnTo>
                    <a:pt x="78" y="99"/>
                  </a:lnTo>
                  <a:lnTo>
                    <a:pt x="164" y="16"/>
                  </a:lnTo>
                  <a:lnTo>
                    <a:pt x="164" y="16"/>
                  </a:lnTo>
                  <a:lnTo>
                    <a:pt x="168" y="12"/>
                  </a:lnTo>
                  <a:lnTo>
                    <a:pt x="164" y="4"/>
                  </a:lnTo>
                  <a:lnTo>
                    <a:pt x="164" y="4"/>
                  </a:lnTo>
                  <a:lnTo>
                    <a:pt x="160" y="0"/>
                  </a:lnTo>
                  <a:lnTo>
                    <a:pt x="152" y="4"/>
                  </a:lnTo>
                  <a:lnTo>
                    <a:pt x="1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1" name="Freeform 243">
              <a:extLst>
                <a:ext uri="{FF2B5EF4-FFF2-40B4-BE49-F238E27FC236}">
                  <a16:creationId xmlns:a16="http://schemas.microsoft.com/office/drawing/2014/main" id="{27714846-6937-5FC9-9A5A-0865D527253B}"/>
                </a:ext>
              </a:extLst>
            </p:cNvPr>
            <p:cNvSpPr>
              <a:spLocks/>
            </p:cNvSpPr>
            <p:nvPr/>
          </p:nvSpPr>
          <p:spPr bwMode="auto">
            <a:xfrm>
              <a:off x="10031413" y="2447925"/>
              <a:ext cx="268288" cy="169863"/>
            </a:xfrm>
            <a:custGeom>
              <a:avLst/>
              <a:gdLst>
                <a:gd name="T0" fmla="*/ 83 w 169"/>
                <a:gd name="T1" fmla="*/ 8 h 107"/>
                <a:gd name="T2" fmla="*/ 83 w 169"/>
                <a:gd name="T3" fmla="*/ 8 h 107"/>
                <a:gd name="T4" fmla="*/ 74 w 169"/>
                <a:gd name="T5" fmla="*/ 8 h 107"/>
                <a:gd name="T6" fmla="*/ 70 w 169"/>
                <a:gd name="T7" fmla="*/ 8 h 107"/>
                <a:gd name="T8" fmla="*/ 70 w 169"/>
                <a:gd name="T9" fmla="*/ 8 h 107"/>
                <a:gd name="T10" fmla="*/ 66 w 169"/>
                <a:gd name="T11" fmla="*/ 12 h 107"/>
                <a:gd name="T12" fmla="*/ 66 w 169"/>
                <a:gd name="T13" fmla="*/ 20 h 107"/>
                <a:gd name="T14" fmla="*/ 74 w 169"/>
                <a:gd name="T15" fmla="*/ 57 h 107"/>
                <a:gd name="T16" fmla="*/ 17 w 169"/>
                <a:gd name="T17" fmla="*/ 4 h 107"/>
                <a:gd name="T18" fmla="*/ 17 w 169"/>
                <a:gd name="T19" fmla="*/ 4 h 107"/>
                <a:gd name="T20" fmla="*/ 9 w 169"/>
                <a:gd name="T21" fmla="*/ 0 h 107"/>
                <a:gd name="T22" fmla="*/ 0 w 169"/>
                <a:gd name="T23" fmla="*/ 4 h 107"/>
                <a:gd name="T24" fmla="*/ 0 w 169"/>
                <a:gd name="T25" fmla="*/ 4 h 107"/>
                <a:gd name="T26" fmla="*/ 0 w 169"/>
                <a:gd name="T27" fmla="*/ 12 h 107"/>
                <a:gd name="T28" fmla="*/ 5 w 169"/>
                <a:gd name="T29" fmla="*/ 16 h 107"/>
                <a:gd name="T30" fmla="*/ 87 w 169"/>
                <a:gd name="T31" fmla="*/ 99 h 107"/>
                <a:gd name="T32" fmla="*/ 87 w 169"/>
                <a:gd name="T33" fmla="*/ 99 h 107"/>
                <a:gd name="T34" fmla="*/ 95 w 169"/>
                <a:gd name="T35" fmla="*/ 99 h 107"/>
                <a:gd name="T36" fmla="*/ 99 w 169"/>
                <a:gd name="T37" fmla="*/ 99 h 107"/>
                <a:gd name="T38" fmla="*/ 99 w 169"/>
                <a:gd name="T39" fmla="*/ 99 h 107"/>
                <a:gd name="T40" fmla="*/ 103 w 169"/>
                <a:gd name="T41" fmla="*/ 94 h 107"/>
                <a:gd name="T42" fmla="*/ 103 w 169"/>
                <a:gd name="T43" fmla="*/ 86 h 107"/>
                <a:gd name="T44" fmla="*/ 95 w 169"/>
                <a:gd name="T45" fmla="*/ 49 h 107"/>
                <a:gd name="T46" fmla="*/ 153 w 169"/>
                <a:gd name="T47" fmla="*/ 103 h 107"/>
                <a:gd name="T48" fmla="*/ 153 w 169"/>
                <a:gd name="T49" fmla="*/ 103 h 107"/>
                <a:gd name="T50" fmla="*/ 161 w 169"/>
                <a:gd name="T51" fmla="*/ 107 h 107"/>
                <a:gd name="T52" fmla="*/ 161 w 169"/>
                <a:gd name="T53" fmla="*/ 107 h 107"/>
                <a:gd name="T54" fmla="*/ 165 w 169"/>
                <a:gd name="T55" fmla="*/ 103 h 107"/>
                <a:gd name="T56" fmla="*/ 165 w 169"/>
                <a:gd name="T57" fmla="*/ 103 h 107"/>
                <a:gd name="T58" fmla="*/ 169 w 169"/>
                <a:gd name="T59" fmla="*/ 94 h 107"/>
                <a:gd name="T60" fmla="*/ 165 w 169"/>
                <a:gd name="T61" fmla="*/ 90 h 107"/>
                <a:gd name="T62" fmla="*/ 83 w 169"/>
                <a:gd name="T6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07">
                  <a:moveTo>
                    <a:pt x="83" y="8"/>
                  </a:moveTo>
                  <a:lnTo>
                    <a:pt x="83" y="8"/>
                  </a:lnTo>
                  <a:lnTo>
                    <a:pt x="74" y="8"/>
                  </a:lnTo>
                  <a:lnTo>
                    <a:pt x="70" y="8"/>
                  </a:lnTo>
                  <a:lnTo>
                    <a:pt x="70" y="8"/>
                  </a:lnTo>
                  <a:lnTo>
                    <a:pt x="66" y="12"/>
                  </a:lnTo>
                  <a:lnTo>
                    <a:pt x="66" y="20"/>
                  </a:lnTo>
                  <a:lnTo>
                    <a:pt x="74" y="57"/>
                  </a:lnTo>
                  <a:lnTo>
                    <a:pt x="17" y="4"/>
                  </a:lnTo>
                  <a:lnTo>
                    <a:pt x="17" y="4"/>
                  </a:lnTo>
                  <a:lnTo>
                    <a:pt x="9" y="0"/>
                  </a:lnTo>
                  <a:lnTo>
                    <a:pt x="0" y="4"/>
                  </a:lnTo>
                  <a:lnTo>
                    <a:pt x="0" y="4"/>
                  </a:lnTo>
                  <a:lnTo>
                    <a:pt x="0" y="12"/>
                  </a:lnTo>
                  <a:lnTo>
                    <a:pt x="5" y="16"/>
                  </a:lnTo>
                  <a:lnTo>
                    <a:pt x="87" y="99"/>
                  </a:lnTo>
                  <a:lnTo>
                    <a:pt x="87" y="99"/>
                  </a:lnTo>
                  <a:lnTo>
                    <a:pt x="95" y="99"/>
                  </a:lnTo>
                  <a:lnTo>
                    <a:pt x="99" y="99"/>
                  </a:lnTo>
                  <a:lnTo>
                    <a:pt x="99" y="99"/>
                  </a:lnTo>
                  <a:lnTo>
                    <a:pt x="103" y="94"/>
                  </a:lnTo>
                  <a:lnTo>
                    <a:pt x="103" y="86"/>
                  </a:lnTo>
                  <a:lnTo>
                    <a:pt x="95" y="49"/>
                  </a:lnTo>
                  <a:lnTo>
                    <a:pt x="153" y="103"/>
                  </a:lnTo>
                  <a:lnTo>
                    <a:pt x="153" y="103"/>
                  </a:lnTo>
                  <a:lnTo>
                    <a:pt x="161" y="107"/>
                  </a:lnTo>
                  <a:lnTo>
                    <a:pt x="161" y="107"/>
                  </a:lnTo>
                  <a:lnTo>
                    <a:pt x="165" y="103"/>
                  </a:lnTo>
                  <a:lnTo>
                    <a:pt x="165" y="103"/>
                  </a:lnTo>
                  <a:lnTo>
                    <a:pt x="169" y="94"/>
                  </a:lnTo>
                  <a:lnTo>
                    <a:pt x="165" y="90"/>
                  </a:lnTo>
                  <a:lnTo>
                    <a:pt x="8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2" name="Freeform 244">
              <a:extLst>
                <a:ext uri="{FF2B5EF4-FFF2-40B4-BE49-F238E27FC236}">
                  <a16:creationId xmlns:a16="http://schemas.microsoft.com/office/drawing/2014/main" id="{A0F99DFC-BA9F-4706-4A79-C8540D4425AF}"/>
                </a:ext>
              </a:extLst>
            </p:cNvPr>
            <p:cNvSpPr>
              <a:spLocks/>
            </p:cNvSpPr>
            <p:nvPr/>
          </p:nvSpPr>
          <p:spPr bwMode="auto">
            <a:xfrm>
              <a:off x="9483725" y="2395538"/>
              <a:ext cx="503238" cy="46038"/>
            </a:xfrm>
            <a:custGeom>
              <a:avLst/>
              <a:gdLst>
                <a:gd name="T0" fmla="*/ 308 w 317"/>
                <a:gd name="T1" fmla="*/ 4 h 29"/>
                <a:gd name="T2" fmla="*/ 308 w 317"/>
                <a:gd name="T3" fmla="*/ 4 h 29"/>
                <a:gd name="T4" fmla="*/ 259 w 317"/>
                <a:gd name="T5" fmla="*/ 0 h 29"/>
                <a:gd name="T6" fmla="*/ 206 w 317"/>
                <a:gd name="T7" fmla="*/ 4 h 29"/>
                <a:gd name="T8" fmla="*/ 206 w 317"/>
                <a:gd name="T9" fmla="*/ 4 h 29"/>
                <a:gd name="T10" fmla="*/ 160 w 317"/>
                <a:gd name="T11" fmla="*/ 8 h 29"/>
                <a:gd name="T12" fmla="*/ 111 w 317"/>
                <a:gd name="T13" fmla="*/ 4 h 29"/>
                <a:gd name="T14" fmla="*/ 111 w 317"/>
                <a:gd name="T15" fmla="*/ 4 h 29"/>
                <a:gd name="T16" fmla="*/ 62 w 317"/>
                <a:gd name="T17" fmla="*/ 0 h 29"/>
                <a:gd name="T18" fmla="*/ 8 w 317"/>
                <a:gd name="T19" fmla="*/ 4 h 29"/>
                <a:gd name="T20" fmla="*/ 8 w 317"/>
                <a:gd name="T21" fmla="*/ 4 h 29"/>
                <a:gd name="T22" fmla="*/ 4 w 317"/>
                <a:gd name="T23" fmla="*/ 8 h 29"/>
                <a:gd name="T24" fmla="*/ 0 w 317"/>
                <a:gd name="T25" fmla="*/ 16 h 29"/>
                <a:gd name="T26" fmla="*/ 0 w 317"/>
                <a:gd name="T27" fmla="*/ 16 h 29"/>
                <a:gd name="T28" fmla="*/ 4 w 317"/>
                <a:gd name="T29" fmla="*/ 21 h 29"/>
                <a:gd name="T30" fmla="*/ 12 w 317"/>
                <a:gd name="T31" fmla="*/ 25 h 29"/>
                <a:gd name="T32" fmla="*/ 12 w 317"/>
                <a:gd name="T33" fmla="*/ 25 h 29"/>
                <a:gd name="T34" fmla="*/ 12 w 317"/>
                <a:gd name="T35" fmla="*/ 25 h 29"/>
                <a:gd name="T36" fmla="*/ 12 w 317"/>
                <a:gd name="T37" fmla="*/ 25 h 29"/>
                <a:gd name="T38" fmla="*/ 62 w 317"/>
                <a:gd name="T39" fmla="*/ 21 h 29"/>
                <a:gd name="T40" fmla="*/ 107 w 317"/>
                <a:gd name="T41" fmla="*/ 25 h 29"/>
                <a:gd name="T42" fmla="*/ 107 w 317"/>
                <a:gd name="T43" fmla="*/ 25 h 29"/>
                <a:gd name="T44" fmla="*/ 160 w 317"/>
                <a:gd name="T45" fmla="*/ 29 h 29"/>
                <a:gd name="T46" fmla="*/ 160 w 317"/>
                <a:gd name="T47" fmla="*/ 29 h 29"/>
                <a:gd name="T48" fmla="*/ 210 w 317"/>
                <a:gd name="T49" fmla="*/ 25 h 29"/>
                <a:gd name="T50" fmla="*/ 210 w 317"/>
                <a:gd name="T51" fmla="*/ 25 h 29"/>
                <a:gd name="T52" fmla="*/ 259 w 317"/>
                <a:gd name="T53" fmla="*/ 21 h 29"/>
                <a:gd name="T54" fmla="*/ 308 w 317"/>
                <a:gd name="T55" fmla="*/ 25 h 29"/>
                <a:gd name="T56" fmla="*/ 308 w 317"/>
                <a:gd name="T57" fmla="*/ 25 h 29"/>
                <a:gd name="T58" fmla="*/ 313 w 317"/>
                <a:gd name="T59" fmla="*/ 21 h 29"/>
                <a:gd name="T60" fmla="*/ 317 w 317"/>
                <a:gd name="T61" fmla="*/ 16 h 29"/>
                <a:gd name="T62" fmla="*/ 317 w 317"/>
                <a:gd name="T63" fmla="*/ 16 h 29"/>
                <a:gd name="T64" fmla="*/ 317 w 317"/>
                <a:gd name="T65" fmla="*/ 8 h 29"/>
                <a:gd name="T66" fmla="*/ 308 w 317"/>
                <a:gd name="T67" fmla="*/ 4 h 29"/>
                <a:gd name="T68" fmla="*/ 308 w 317"/>
                <a:gd name="T6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7" h="29">
                  <a:moveTo>
                    <a:pt x="308" y="4"/>
                  </a:moveTo>
                  <a:lnTo>
                    <a:pt x="308" y="4"/>
                  </a:lnTo>
                  <a:lnTo>
                    <a:pt x="259" y="0"/>
                  </a:lnTo>
                  <a:lnTo>
                    <a:pt x="206" y="4"/>
                  </a:lnTo>
                  <a:lnTo>
                    <a:pt x="206" y="4"/>
                  </a:lnTo>
                  <a:lnTo>
                    <a:pt x="160" y="8"/>
                  </a:lnTo>
                  <a:lnTo>
                    <a:pt x="111" y="4"/>
                  </a:lnTo>
                  <a:lnTo>
                    <a:pt x="111" y="4"/>
                  </a:lnTo>
                  <a:lnTo>
                    <a:pt x="62" y="0"/>
                  </a:lnTo>
                  <a:lnTo>
                    <a:pt x="8" y="4"/>
                  </a:lnTo>
                  <a:lnTo>
                    <a:pt x="8" y="4"/>
                  </a:lnTo>
                  <a:lnTo>
                    <a:pt x="4" y="8"/>
                  </a:lnTo>
                  <a:lnTo>
                    <a:pt x="0" y="16"/>
                  </a:lnTo>
                  <a:lnTo>
                    <a:pt x="0" y="16"/>
                  </a:lnTo>
                  <a:lnTo>
                    <a:pt x="4" y="21"/>
                  </a:lnTo>
                  <a:lnTo>
                    <a:pt x="12" y="25"/>
                  </a:lnTo>
                  <a:lnTo>
                    <a:pt x="12" y="25"/>
                  </a:lnTo>
                  <a:lnTo>
                    <a:pt x="12" y="25"/>
                  </a:lnTo>
                  <a:lnTo>
                    <a:pt x="12" y="25"/>
                  </a:lnTo>
                  <a:lnTo>
                    <a:pt x="62" y="21"/>
                  </a:lnTo>
                  <a:lnTo>
                    <a:pt x="107" y="25"/>
                  </a:lnTo>
                  <a:lnTo>
                    <a:pt x="107" y="25"/>
                  </a:lnTo>
                  <a:lnTo>
                    <a:pt x="160" y="29"/>
                  </a:lnTo>
                  <a:lnTo>
                    <a:pt x="160" y="29"/>
                  </a:lnTo>
                  <a:lnTo>
                    <a:pt x="210" y="25"/>
                  </a:lnTo>
                  <a:lnTo>
                    <a:pt x="210" y="25"/>
                  </a:lnTo>
                  <a:lnTo>
                    <a:pt x="259" y="21"/>
                  </a:lnTo>
                  <a:lnTo>
                    <a:pt x="308" y="25"/>
                  </a:lnTo>
                  <a:lnTo>
                    <a:pt x="308" y="25"/>
                  </a:lnTo>
                  <a:lnTo>
                    <a:pt x="313" y="21"/>
                  </a:lnTo>
                  <a:lnTo>
                    <a:pt x="317" y="16"/>
                  </a:lnTo>
                  <a:lnTo>
                    <a:pt x="317" y="16"/>
                  </a:lnTo>
                  <a:lnTo>
                    <a:pt x="317" y="8"/>
                  </a:lnTo>
                  <a:lnTo>
                    <a:pt x="308" y="4"/>
                  </a:lnTo>
                  <a:lnTo>
                    <a:pt x="30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7E82BA03-F95C-4DDC-3DBC-88C5368A3168}"/>
              </a:ext>
            </a:extLst>
          </p:cNvPr>
          <p:cNvSpPr>
            <a:spLocks noGrp="1"/>
          </p:cNvSpPr>
          <p:nvPr>
            <p:ph type="ftr" sz="quarter" idx="11"/>
          </p:nvPr>
        </p:nvSpPr>
        <p:spPr>
          <a:xfrm>
            <a:off x="420573" y="4827355"/>
            <a:ext cx="7429017" cy="137613"/>
          </a:xfrm>
        </p:spPr>
        <p:txBody>
          <a:bodyPr/>
          <a:lstStyle/>
          <a:p>
            <a:r>
              <a:rPr lang="en-US" sz="500" dirty="0"/>
              <a:t>1. US FDA. Biosimilars Basics for Patients. Available at: https://www.fda.gov/drugs/biosimilars/biosimilars-basics-patients. Accessed June 2024; 2. </a:t>
            </a:r>
            <a:r>
              <a:rPr kumimoji="0" lang="en-US" sz="500" b="0" i="0" u="none" strike="noStrike" kern="1200" cap="none" spc="0" normalizeH="0" baseline="0" noProof="0" dirty="0">
                <a:ln>
                  <a:noFill/>
                </a:ln>
                <a:effectLst/>
                <a:uLnTx/>
                <a:uFillTx/>
                <a:ea typeface="+mn-ea"/>
                <a:cs typeface="+mn-cs"/>
              </a:rPr>
              <a:t>European Commission. Consensus information paper. 2016. Available at: </a:t>
            </a:r>
            <a:r>
              <a:rPr lang="en-US" sz="500" dirty="0"/>
              <a:t>https://ec.europa.eu/docsroom/documents/26643</a:t>
            </a:r>
            <a:r>
              <a:rPr kumimoji="0" lang="en-US" sz="500" b="0" i="0" u="none" strike="noStrike" kern="1200" cap="none" spc="0" normalizeH="0" baseline="0" noProof="0" dirty="0">
                <a:ln>
                  <a:noFill/>
                </a:ln>
                <a:effectLst/>
                <a:uLnTx/>
                <a:uFillTx/>
                <a:ea typeface="+mn-ea"/>
                <a:cs typeface="+mn-cs"/>
              </a:rPr>
              <a:t>. Accessed March 2023; </a:t>
            </a:r>
            <a:r>
              <a:rPr lang="en-US" sz="500" dirty="0"/>
              <a:t>3. EMA and EC. Biosimilars in the EU. 2019. Available at: https://www.ema.europa.eu/en/documents/leaflet/biosimilars-eu-information-guide-healthcare-professionals_en.pdf. Accessed August 2023; 4. EMA. Biosimilar medicines: Overview. Available at: https://www.ema.europa.eu/en/human-regulatory/overview/biosimilar-medicines-overview. Accessed March 2023; 5. US FDA. 100 Years of Insulin. 2022. Available at: https://www.fda.gov/about-fda/fda-history-exhibits/100-years-insulin. Accessed December 2023; 6. </a:t>
            </a:r>
            <a:r>
              <a:rPr lang="it-IT" sz="500" dirty="0"/>
              <a:t>Greenberg G, Giovannoni G. </a:t>
            </a:r>
            <a:r>
              <a:rPr lang="it-IT" sz="500" i="1" dirty="0" err="1"/>
              <a:t>Mult</a:t>
            </a:r>
            <a:r>
              <a:rPr lang="it-IT" sz="500" i="1" dirty="0"/>
              <a:t> </a:t>
            </a:r>
            <a:r>
              <a:rPr lang="it-IT" sz="500" i="1" dirty="0" err="1"/>
              <a:t>Scler</a:t>
            </a:r>
            <a:r>
              <a:rPr lang="it-IT" sz="500" i="1" dirty="0"/>
              <a:t> </a:t>
            </a:r>
            <a:r>
              <a:rPr lang="it-IT" sz="500" i="1" dirty="0" err="1"/>
              <a:t>Relat</a:t>
            </a:r>
            <a:r>
              <a:rPr lang="it-IT" sz="500" i="1" dirty="0"/>
              <a:t> </a:t>
            </a:r>
            <a:r>
              <a:rPr lang="it-IT" sz="500" i="1" dirty="0" err="1"/>
              <a:t>Disord</a:t>
            </a:r>
            <a:r>
              <a:rPr lang="it-IT" sz="500" i="1" dirty="0"/>
              <a:t> </a:t>
            </a:r>
            <a:r>
              <a:rPr lang="it-IT" sz="500" dirty="0"/>
              <a:t>2023;77:104841; 7. </a:t>
            </a:r>
            <a:r>
              <a:rPr lang="en-US" sz="500" dirty="0"/>
              <a:t>Medicines for Europe. Biosimilar medicine handbook. Available at: https://www.medicinesforeurope.com/wp-content/uploads/2016/04/Medicines-for-Europe_BIOSIMILARS_INT_web.pdf. Accessed August 2023.</a:t>
            </a:r>
          </a:p>
        </p:txBody>
      </p:sp>
      <p:grpSp>
        <p:nvGrpSpPr>
          <p:cNvPr id="3" name="Group 2">
            <a:extLst>
              <a:ext uri="{FF2B5EF4-FFF2-40B4-BE49-F238E27FC236}">
                <a16:creationId xmlns:a16="http://schemas.microsoft.com/office/drawing/2014/main" id="{D1AA1E70-8122-460D-C602-609940905980}"/>
              </a:ext>
            </a:extLst>
          </p:cNvPr>
          <p:cNvGrpSpPr/>
          <p:nvPr/>
        </p:nvGrpSpPr>
        <p:grpSpPr>
          <a:xfrm>
            <a:off x="505954" y="2896633"/>
            <a:ext cx="349719" cy="348307"/>
            <a:chOff x="-2795156" y="2146492"/>
            <a:chExt cx="1260634" cy="1343881"/>
          </a:xfrm>
        </p:grpSpPr>
        <p:sp>
          <p:nvSpPr>
            <p:cNvPr id="4" name="Freeform 3">
              <a:extLst>
                <a:ext uri="{FF2B5EF4-FFF2-40B4-BE49-F238E27FC236}">
                  <a16:creationId xmlns:a16="http://schemas.microsoft.com/office/drawing/2014/main" id="{4F6F09BC-B503-BDFA-449A-44D99E61F8DC}"/>
                </a:ext>
              </a:extLst>
            </p:cNvPr>
            <p:cNvSpPr/>
            <p:nvPr/>
          </p:nvSpPr>
          <p:spPr>
            <a:xfrm>
              <a:off x="-2705449" y="2286833"/>
              <a:ext cx="1082171" cy="1062056"/>
            </a:xfrm>
            <a:custGeom>
              <a:avLst/>
              <a:gdLst>
                <a:gd name="connsiteX0" fmla="*/ 403021 w 1082171"/>
                <a:gd name="connsiteY0" fmla="*/ 32823 h 1062056"/>
                <a:gd name="connsiteX1" fmla="*/ 455028 w 1082171"/>
                <a:gd name="connsiteY1" fmla="*/ 57969 h 1062056"/>
                <a:gd name="connsiteX2" fmla="*/ 545325 w 1082171"/>
                <a:gd name="connsiteY2" fmla="*/ 50254 h 1062056"/>
                <a:gd name="connsiteX3" fmla="*/ 592283 w 1082171"/>
                <a:gd name="connsiteY3" fmla="*/ 16631 h 1062056"/>
                <a:gd name="connsiteX4" fmla="*/ 722204 w 1082171"/>
                <a:gd name="connsiteY4" fmla="*/ 46825 h 1062056"/>
                <a:gd name="connsiteX5" fmla="*/ 749445 w 1082171"/>
                <a:gd name="connsiteY5" fmla="*/ 97688 h 1062056"/>
                <a:gd name="connsiteX6" fmla="*/ 827074 w 1082171"/>
                <a:gd name="connsiteY6" fmla="*/ 144551 h 1062056"/>
                <a:gd name="connsiteX7" fmla="*/ 884796 w 1082171"/>
                <a:gd name="connsiteY7" fmla="*/ 144932 h 1062056"/>
                <a:gd name="connsiteX8" fmla="*/ 972140 w 1082171"/>
                <a:gd name="connsiteY8" fmla="*/ 245802 h 1062056"/>
                <a:gd name="connsiteX9" fmla="*/ 964329 w 1082171"/>
                <a:gd name="connsiteY9" fmla="*/ 303048 h 1062056"/>
                <a:gd name="connsiteX10" fmla="*/ 999572 w 1082171"/>
                <a:gd name="connsiteY10" fmla="*/ 386582 h 1062056"/>
                <a:gd name="connsiteX11" fmla="*/ 1046054 w 1082171"/>
                <a:gd name="connsiteY11" fmla="*/ 420872 h 1062056"/>
                <a:gd name="connsiteX12" fmla="*/ 1057484 w 1082171"/>
                <a:gd name="connsiteY12" fmla="*/ 553746 h 1062056"/>
                <a:gd name="connsiteX13" fmla="*/ 1017574 w 1082171"/>
                <a:gd name="connsiteY13" fmla="*/ 595465 h 1062056"/>
                <a:gd name="connsiteX14" fmla="*/ 997000 w 1082171"/>
                <a:gd name="connsiteY14" fmla="*/ 683762 h 1062056"/>
                <a:gd name="connsiteX15" fmla="*/ 1014431 w 1082171"/>
                <a:gd name="connsiteY15" fmla="*/ 738816 h 1062056"/>
                <a:gd name="connsiteX16" fmla="*/ 945565 w 1082171"/>
                <a:gd name="connsiteY16" fmla="*/ 853021 h 1062056"/>
                <a:gd name="connsiteX17" fmla="*/ 888701 w 1082171"/>
                <a:gd name="connsiteY17" fmla="*/ 863213 h 1062056"/>
                <a:gd name="connsiteX18" fmla="*/ 820216 w 1082171"/>
                <a:gd name="connsiteY18" fmla="*/ 922554 h 1062056"/>
                <a:gd name="connsiteX19" fmla="*/ 802023 w 1082171"/>
                <a:gd name="connsiteY19" fmla="*/ 977322 h 1062056"/>
                <a:gd name="connsiteX20" fmla="*/ 679151 w 1082171"/>
                <a:gd name="connsiteY20" fmla="*/ 1029234 h 1062056"/>
                <a:gd name="connsiteX21" fmla="*/ 627144 w 1082171"/>
                <a:gd name="connsiteY21" fmla="*/ 1004088 h 1062056"/>
                <a:gd name="connsiteX22" fmla="*/ 536847 w 1082171"/>
                <a:gd name="connsiteY22" fmla="*/ 1011803 h 1062056"/>
                <a:gd name="connsiteX23" fmla="*/ 489889 w 1082171"/>
                <a:gd name="connsiteY23" fmla="*/ 1045426 h 1062056"/>
                <a:gd name="connsiteX24" fmla="*/ 359968 w 1082171"/>
                <a:gd name="connsiteY24" fmla="*/ 1015232 h 1062056"/>
                <a:gd name="connsiteX25" fmla="*/ 332727 w 1082171"/>
                <a:gd name="connsiteY25" fmla="*/ 964368 h 1062056"/>
                <a:gd name="connsiteX26" fmla="*/ 255098 w 1082171"/>
                <a:gd name="connsiteY26" fmla="*/ 917505 h 1062056"/>
                <a:gd name="connsiteX27" fmla="*/ 197376 w 1082171"/>
                <a:gd name="connsiteY27" fmla="*/ 917124 h 1062056"/>
                <a:gd name="connsiteX28" fmla="*/ 110032 w 1082171"/>
                <a:gd name="connsiteY28" fmla="*/ 816254 h 1062056"/>
                <a:gd name="connsiteX29" fmla="*/ 117843 w 1082171"/>
                <a:gd name="connsiteY29" fmla="*/ 759009 h 1062056"/>
                <a:gd name="connsiteX30" fmla="*/ 82600 w 1082171"/>
                <a:gd name="connsiteY30" fmla="*/ 675475 h 1062056"/>
                <a:gd name="connsiteX31" fmla="*/ 36118 w 1082171"/>
                <a:gd name="connsiteY31" fmla="*/ 641185 h 1062056"/>
                <a:gd name="connsiteX32" fmla="*/ 24688 w 1082171"/>
                <a:gd name="connsiteY32" fmla="*/ 508311 h 1062056"/>
                <a:gd name="connsiteX33" fmla="*/ 64598 w 1082171"/>
                <a:gd name="connsiteY33" fmla="*/ 466592 h 1062056"/>
                <a:gd name="connsiteX34" fmla="*/ 85172 w 1082171"/>
                <a:gd name="connsiteY34" fmla="*/ 378295 h 1062056"/>
                <a:gd name="connsiteX35" fmla="*/ 67741 w 1082171"/>
                <a:gd name="connsiteY35" fmla="*/ 323240 h 1062056"/>
                <a:gd name="connsiteX36" fmla="*/ 136607 w 1082171"/>
                <a:gd name="connsiteY36" fmla="*/ 209036 h 1062056"/>
                <a:gd name="connsiteX37" fmla="*/ 193471 w 1082171"/>
                <a:gd name="connsiteY37" fmla="*/ 198844 h 1062056"/>
                <a:gd name="connsiteX38" fmla="*/ 261956 w 1082171"/>
                <a:gd name="connsiteY38" fmla="*/ 139503 h 1062056"/>
                <a:gd name="connsiteX39" fmla="*/ 280149 w 1082171"/>
                <a:gd name="connsiteY39" fmla="*/ 84734 h 1062056"/>
                <a:gd name="connsiteX40" fmla="*/ 403021 w 1082171"/>
                <a:gd name="connsiteY40" fmla="*/ 32823 h 106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82171" h="1062056">
                  <a:moveTo>
                    <a:pt x="403021" y="32823"/>
                  </a:moveTo>
                  <a:lnTo>
                    <a:pt x="455028" y="57969"/>
                  </a:lnTo>
                  <a:cubicBezTo>
                    <a:pt x="484269" y="72066"/>
                    <a:pt x="518940" y="69113"/>
                    <a:pt x="545325" y="50254"/>
                  </a:cubicBezTo>
                  <a:lnTo>
                    <a:pt x="592283" y="16631"/>
                  </a:lnTo>
                  <a:cubicBezTo>
                    <a:pt x="635812" y="-14611"/>
                    <a:pt x="696867" y="-324"/>
                    <a:pt x="722204" y="46825"/>
                  </a:cubicBezTo>
                  <a:lnTo>
                    <a:pt x="749445" y="97688"/>
                  </a:lnTo>
                  <a:cubicBezTo>
                    <a:pt x="764781" y="126359"/>
                    <a:pt x="794594" y="144266"/>
                    <a:pt x="827074" y="144551"/>
                  </a:cubicBezTo>
                  <a:lnTo>
                    <a:pt x="884796" y="144932"/>
                  </a:lnTo>
                  <a:cubicBezTo>
                    <a:pt x="938326" y="145313"/>
                    <a:pt x="979379" y="192653"/>
                    <a:pt x="972140" y="245802"/>
                  </a:cubicBezTo>
                  <a:lnTo>
                    <a:pt x="964329" y="303048"/>
                  </a:lnTo>
                  <a:cubicBezTo>
                    <a:pt x="959948" y="335242"/>
                    <a:pt x="973473" y="367246"/>
                    <a:pt x="999572" y="386582"/>
                  </a:cubicBezTo>
                  <a:lnTo>
                    <a:pt x="1046054" y="420872"/>
                  </a:lnTo>
                  <a:cubicBezTo>
                    <a:pt x="1089202" y="452685"/>
                    <a:pt x="1094536" y="515074"/>
                    <a:pt x="1057484" y="553746"/>
                  </a:cubicBezTo>
                  <a:lnTo>
                    <a:pt x="1017574" y="595465"/>
                  </a:lnTo>
                  <a:cubicBezTo>
                    <a:pt x="995095" y="618896"/>
                    <a:pt x="987189" y="652806"/>
                    <a:pt x="997000" y="683762"/>
                  </a:cubicBezTo>
                  <a:lnTo>
                    <a:pt x="1014431" y="738816"/>
                  </a:lnTo>
                  <a:cubicBezTo>
                    <a:pt x="1030623" y="789870"/>
                    <a:pt x="998238" y="843591"/>
                    <a:pt x="945565" y="853021"/>
                  </a:cubicBezTo>
                  <a:lnTo>
                    <a:pt x="888701" y="863213"/>
                  </a:lnTo>
                  <a:cubicBezTo>
                    <a:pt x="856697" y="868928"/>
                    <a:pt x="830408" y="891788"/>
                    <a:pt x="820216" y="922554"/>
                  </a:cubicBezTo>
                  <a:lnTo>
                    <a:pt x="802023" y="977322"/>
                  </a:lnTo>
                  <a:cubicBezTo>
                    <a:pt x="785164" y="1028186"/>
                    <a:pt x="727347" y="1052570"/>
                    <a:pt x="679151" y="1029234"/>
                  </a:cubicBezTo>
                  <a:lnTo>
                    <a:pt x="627144" y="1004088"/>
                  </a:lnTo>
                  <a:cubicBezTo>
                    <a:pt x="597903" y="989990"/>
                    <a:pt x="563232" y="992943"/>
                    <a:pt x="536847" y="1011803"/>
                  </a:cubicBezTo>
                  <a:lnTo>
                    <a:pt x="489889" y="1045426"/>
                  </a:lnTo>
                  <a:cubicBezTo>
                    <a:pt x="446360" y="1076668"/>
                    <a:pt x="385305" y="1062381"/>
                    <a:pt x="359968" y="1015232"/>
                  </a:cubicBezTo>
                  <a:lnTo>
                    <a:pt x="332727" y="964368"/>
                  </a:lnTo>
                  <a:cubicBezTo>
                    <a:pt x="317391" y="935698"/>
                    <a:pt x="287578" y="917791"/>
                    <a:pt x="255098" y="917505"/>
                  </a:cubicBezTo>
                  <a:lnTo>
                    <a:pt x="197376" y="917124"/>
                  </a:lnTo>
                  <a:cubicBezTo>
                    <a:pt x="143846" y="916743"/>
                    <a:pt x="102793" y="869404"/>
                    <a:pt x="110032" y="816254"/>
                  </a:cubicBezTo>
                  <a:lnTo>
                    <a:pt x="117843" y="759009"/>
                  </a:lnTo>
                  <a:cubicBezTo>
                    <a:pt x="122224" y="726815"/>
                    <a:pt x="108699" y="694811"/>
                    <a:pt x="82600" y="675475"/>
                  </a:cubicBezTo>
                  <a:lnTo>
                    <a:pt x="36118" y="641185"/>
                  </a:lnTo>
                  <a:cubicBezTo>
                    <a:pt x="-7030" y="609371"/>
                    <a:pt x="-12364" y="546983"/>
                    <a:pt x="24688" y="508311"/>
                  </a:cubicBezTo>
                  <a:lnTo>
                    <a:pt x="64598" y="466592"/>
                  </a:lnTo>
                  <a:cubicBezTo>
                    <a:pt x="87077" y="443160"/>
                    <a:pt x="94983" y="409251"/>
                    <a:pt x="85172" y="378295"/>
                  </a:cubicBezTo>
                  <a:lnTo>
                    <a:pt x="67741" y="323240"/>
                  </a:lnTo>
                  <a:cubicBezTo>
                    <a:pt x="51549" y="272186"/>
                    <a:pt x="83934" y="218465"/>
                    <a:pt x="136607" y="209036"/>
                  </a:cubicBezTo>
                  <a:lnTo>
                    <a:pt x="193471" y="198844"/>
                  </a:lnTo>
                  <a:cubicBezTo>
                    <a:pt x="225475" y="193129"/>
                    <a:pt x="251764" y="170269"/>
                    <a:pt x="261956" y="139503"/>
                  </a:cubicBezTo>
                  <a:lnTo>
                    <a:pt x="280149" y="84734"/>
                  </a:lnTo>
                  <a:cubicBezTo>
                    <a:pt x="297008" y="33871"/>
                    <a:pt x="354825" y="9487"/>
                    <a:pt x="403021" y="32823"/>
                  </a:cubicBezTo>
                  <a:close/>
                </a:path>
              </a:pathLst>
            </a:custGeom>
            <a:noFill/>
            <a:ln w="15875" cap="rnd">
              <a:solidFill>
                <a:schemeClr val="accent3"/>
              </a:solidFill>
              <a:prstDash val="solid"/>
              <a:round/>
            </a:ln>
          </p:spPr>
          <p:txBody>
            <a:bodyPr rtlCol="0" anchor="ctr"/>
            <a:lstStyle/>
            <a:p>
              <a:endParaRPr lang="en-AR"/>
            </a:p>
          </p:txBody>
        </p:sp>
        <p:sp>
          <p:nvSpPr>
            <p:cNvPr id="5" name="Freeform 4">
              <a:extLst>
                <a:ext uri="{FF2B5EF4-FFF2-40B4-BE49-F238E27FC236}">
                  <a16:creationId xmlns:a16="http://schemas.microsoft.com/office/drawing/2014/main" id="{B1381CA0-12B6-01BF-49C8-71018B24D790}"/>
                </a:ext>
              </a:extLst>
            </p:cNvPr>
            <p:cNvSpPr/>
            <p:nvPr/>
          </p:nvSpPr>
          <p:spPr>
            <a:xfrm>
              <a:off x="-2474792" y="2513294"/>
              <a:ext cx="620763" cy="609039"/>
            </a:xfrm>
            <a:custGeom>
              <a:avLst/>
              <a:gdLst>
                <a:gd name="connsiteX0" fmla="*/ 231229 w 620763"/>
                <a:gd name="connsiteY0" fmla="*/ 18865 h 609039"/>
                <a:gd name="connsiteX1" fmla="*/ 261042 w 620763"/>
                <a:gd name="connsiteY1" fmla="*/ 33248 h 609039"/>
                <a:gd name="connsiteX2" fmla="*/ 312858 w 620763"/>
                <a:gd name="connsiteY2" fmla="*/ 28771 h 609039"/>
                <a:gd name="connsiteX3" fmla="*/ 339814 w 620763"/>
                <a:gd name="connsiteY3" fmla="*/ 9530 h 609039"/>
                <a:gd name="connsiteX4" fmla="*/ 414300 w 620763"/>
                <a:gd name="connsiteY4" fmla="*/ 26866 h 609039"/>
                <a:gd name="connsiteX5" fmla="*/ 429921 w 620763"/>
                <a:gd name="connsiteY5" fmla="*/ 56012 h 609039"/>
                <a:gd name="connsiteX6" fmla="*/ 474402 w 620763"/>
                <a:gd name="connsiteY6" fmla="*/ 82873 h 609039"/>
                <a:gd name="connsiteX7" fmla="*/ 507549 w 620763"/>
                <a:gd name="connsiteY7" fmla="*/ 83063 h 609039"/>
                <a:gd name="connsiteX8" fmla="*/ 557651 w 620763"/>
                <a:gd name="connsiteY8" fmla="*/ 140880 h 609039"/>
                <a:gd name="connsiteX9" fmla="*/ 553174 w 620763"/>
                <a:gd name="connsiteY9" fmla="*/ 173646 h 609039"/>
                <a:gd name="connsiteX10" fmla="*/ 573367 w 620763"/>
                <a:gd name="connsiteY10" fmla="*/ 221557 h 609039"/>
                <a:gd name="connsiteX11" fmla="*/ 600037 w 620763"/>
                <a:gd name="connsiteY11" fmla="*/ 241178 h 609039"/>
                <a:gd name="connsiteX12" fmla="*/ 606609 w 620763"/>
                <a:gd name="connsiteY12" fmla="*/ 317378 h 609039"/>
                <a:gd name="connsiteX13" fmla="*/ 583654 w 620763"/>
                <a:gd name="connsiteY13" fmla="*/ 341286 h 609039"/>
                <a:gd name="connsiteX14" fmla="*/ 571843 w 620763"/>
                <a:gd name="connsiteY14" fmla="*/ 391959 h 609039"/>
                <a:gd name="connsiteX15" fmla="*/ 581844 w 620763"/>
                <a:gd name="connsiteY15" fmla="*/ 423487 h 609039"/>
                <a:gd name="connsiteX16" fmla="*/ 542316 w 620763"/>
                <a:gd name="connsiteY16" fmla="*/ 489019 h 609039"/>
                <a:gd name="connsiteX17" fmla="*/ 509740 w 620763"/>
                <a:gd name="connsiteY17" fmla="*/ 494924 h 609039"/>
                <a:gd name="connsiteX18" fmla="*/ 470497 w 620763"/>
                <a:gd name="connsiteY18" fmla="*/ 528929 h 609039"/>
                <a:gd name="connsiteX19" fmla="*/ 460019 w 620763"/>
                <a:gd name="connsiteY19" fmla="*/ 560361 h 609039"/>
                <a:gd name="connsiteX20" fmla="*/ 389535 w 620763"/>
                <a:gd name="connsiteY20" fmla="*/ 590174 h 609039"/>
                <a:gd name="connsiteX21" fmla="*/ 359721 w 620763"/>
                <a:gd name="connsiteY21" fmla="*/ 575792 h 609039"/>
                <a:gd name="connsiteX22" fmla="*/ 307905 w 620763"/>
                <a:gd name="connsiteY22" fmla="*/ 580268 h 609039"/>
                <a:gd name="connsiteX23" fmla="*/ 280950 w 620763"/>
                <a:gd name="connsiteY23" fmla="*/ 599509 h 609039"/>
                <a:gd name="connsiteX24" fmla="*/ 206464 w 620763"/>
                <a:gd name="connsiteY24" fmla="*/ 582173 h 609039"/>
                <a:gd name="connsiteX25" fmla="*/ 190843 w 620763"/>
                <a:gd name="connsiteY25" fmla="*/ 553027 h 609039"/>
                <a:gd name="connsiteX26" fmla="*/ 146361 w 620763"/>
                <a:gd name="connsiteY26" fmla="*/ 526166 h 609039"/>
                <a:gd name="connsiteX27" fmla="*/ 113214 w 620763"/>
                <a:gd name="connsiteY27" fmla="*/ 525976 h 609039"/>
                <a:gd name="connsiteX28" fmla="*/ 63113 w 620763"/>
                <a:gd name="connsiteY28" fmla="*/ 468159 h 609039"/>
                <a:gd name="connsiteX29" fmla="*/ 67590 w 620763"/>
                <a:gd name="connsiteY29" fmla="*/ 435393 h 609039"/>
                <a:gd name="connsiteX30" fmla="*/ 47397 w 620763"/>
                <a:gd name="connsiteY30" fmla="*/ 387482 h 609039"/>
                <a:gd name="connsiteX31" fmla="*/ 20727 w 620763"/>
                <a:gd name="connsiteY31" fmla="*/ 367861 h 609039"/>
                <a:gd name="connsiteX32" fmla="*/ 14154 w 620763"/>
                <a:gd name="connsiteY32" fmla="*/ 291661 h 609039"/>
                <a:gd name="connsiteX33" fmla="*/ 37110 w 620763"/>
                <a:gd name="connsiteY33" fmla="*/ 267753 h 609039"/>
                <a:gd name="connsiteX34" fmla="*/ 48921 w 620763"/>
                <a:gd name="connsiteY34" fmla="*/ 217080 h 609039"/>
                <a:gd name="connsiteX35" fmla="*/ 38919 w 620763"/>
                <a:gd name="connsiteY35" fmla="*/ 185552 h 609039"/>
                <a:gd name="connsiteX36" fmla="*/ 78448 w 620763"/>
                <a:gd name="connsiteY36" fmla="*/ 120020 h 609039"/>
                <a:gd name="connsiteX37" fmla="*/ 111024 w 620763"/>
                <a:gd name="connsiteY37" fmla="*/ 114115 h 609039"/>
                <a:gd name="connsiteX38" fmla="*/ 150267 w 620763"/>
                <a:gd name="connsiteY38" fmla="*/ 80111 h 609039"/>
                <a:gd name="connsiteX39" fmla="*/ 160744 w 620763"/>
                <a:gd name="connsiteY39" fmla="*/ 48678 h 609039"/>
                <a:gd name="connsiteX40" fmla="*/ 231229 w 620763"/>
                <a:gd name="connsiteY40" fmla="*/ 18865 h 60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20763" h="609039">
                  <a:moveTo>
                    <a:pt x="231229" y="18865"/>
                  </a:moveTo>
                  <a:lnTo>
                    <a:pt x="261042" y="33248"/>
                  </a:lnTo>
                  <a:cubicBezTo>
                    <a:pt x="277806" y="41344"/>
                    <a:pt x="297714" y="39629"/>
                    <a:pt x="312858" y="28771"/>
                  </a:cubicBezTo>
                  <a:lnTo>
                    <a:pt x="339814" y="9530"/>
                  </a:lnTo>
                  <a:cubicBezTo>
                    <a:pt x="364769" y="-8377"/>
                    <a:pt x="399822" y="-185"/>
                    <a:pt x="414300" y="26866"/>
                  </a:cubicBezTo>
                  <a:lnTo>
                    <a:pt x="429921" y="56012"/>
                  </a:lnTo>
                  <a:cubicBezTo>
                    <a:pt x="438684" y="72395"/>
                    <a:pt x="455829" y="82778"/>
                    <a:pt x="474402" y="82873"/>
                  </a:cubicBezTo>
                  <a:lnTo>
                    <a:pt x="507549" y="83063"/>
                  </a:lnTo>
                  <a:cubicBezTo>
                    <a:pt x="538315" y="83254"/>
                    <a:pt x="561842" y="110400"/>
                    <a:pt x="557651" y="140880"/>
                  </a:cubicBezTo>
                  <a:lnTo>
                    <a:pt x="553174" y="173646"/>
                  </a:lnTo>
                  <a:cubicBezTo>
                    <a:pt x="550602" y="192125"/>
                    <a:pt x="558413" y="210508"/>
                    <a:pt x="573367" y="221557"/>
                  </a:cubicBezTo>
                  <a:lnTo>
                    <a:pt x="600037" y="241178"/>
                  </a:lnTo>
                  <a:cubicBezTo>
                    <a:pt x="624802" y="259371"/>
                    <a:pt x="627850" y="295185"/>
                    <a:pt x="606609" y="317378"/>
                  </a:cubicBezTo>
                  <a:lnTo>
                    <a:pt x="583654" y="341286"/>
                  </a:lnTo>
                  <a:cubicBezTo>
                    <a:pt x="570795" y="354716"/>
                    <a:pt x="566223" y="374147"/>
                    <a:pt x="571843" y="391959"/>
                  </a:cubicBezTo>
                  <a:lnTo>
                    <a:pt x="581844" y="423487"/>
                  </a:lnTo>
                  <a:cubicBezTo>
                    <a:pt x="591179" y="452729"/>
                    <a:pt x="572605" y="483590"/>
                    <a:pt x="542316" y="489019"/>
                  </a:cubicBezTo>
                  <a:lnTo>
                    <a:pt x="509740" y="494924"/>
                  </a:lnTo>
                  <a:cubicBezTo>
                    <a:pt x="491357" y="498258"/>
                    <a:pt x="476307" y="511307"/>
                    <a:pt x="470497" y="528929"/>
                  </a:cubicBezTo>
                  <a:lnTo>
                    <a:pt x="460019" y="560361"/>
                  </a:lnTo>
                  <a:cubicBezTo>
                    <a:pt x="450304" y="589508"/>
                    <a:pt x="417252" y="603509"/>
                    <a:pt x="389535" y="590174"/>
                  </a:cubicBezTo>
                  <a:lnTo>
                    <a:pt x="359721" y="575792"/>
                  </a:lnTo>
                  <a:cubicBezTo>
                    <a:pt x="342957" y="567695"/>
                    <a:pt x="323050" y="569410"/>
                    <a:pt x="307905" y="580268"/>
                  </a:cubicBezTo>
                  <a:lnTo>
                    <a:pt x="280950" y="599509"/>
                  </a:lnTo>
                  <a:cubicBezTo>
                    <a:pt x="255994" y="617416"/>
                    <a:pt x="220942" y="609224"/>
                    <a:pt x="206464" y="582173"/>
                  </a:cubicBezTo>
                  <a:lnTo>
                    <a:pt x="190843" y="553027"/>
                  </a:lnTo>
                  <a:cubicBezTo>
                    <a:pt x="182080" y="536644"/>
                    <a:pt x="164935" y="526262"/>
                    <a:pt x="146361" y="526166"/>
                  </a:cubicBezTo>
                  <a:lnTo>
                    <a:pt x="113214" y="525976"/>
                  </a:lnTo>
                  <a:cubicBezTo>
                    <a:pt x="82449" y="525785"/>
                    <a:pt x="58922" y="498639"/>
                    <a:pt x="63113" y="468159"/>
                  </a:cubicBezTo>
                  <a:lnTo>
                    <a:pt x="67590" y="435393"/>
                  </a:lnTo>
                  <a:cubicBezTo>
                    <a:pt x="70161" y="416915"/>
                    <a:pt x="62351" y="398531"/>
                    <a:pt x="47397" y="387482"/>
                  </a:cubicBezTo>
                  <a:lnTo>
                    <a:pt x="20727" y="367861"/>
                  </a:lnTo>
                  <a:cubicBezTo>
                    <a:pt x="-4038" y="349668"/>
                    <a:pt x="-7086" y="313854"/>
                    <a:pt x="14154" y="291661"/>
                  </a:cubicBezTo>
                  <a:lnTo>
                    <a:pt x="37110" y="267753"/>
                  </a:lnTo>
                  <a:cubicBezTo>
                    <a:pt x="49968" y="254323"/>
                    <a:pt x="54540" y="234892"/>
                    <a:pt x="48921" y="217080"/>
                  </a:cubicBezTo>
                  <a:lnTo>
                    <a:pt x="38919" y="185552"/>
                  </a:lnTo>
                  <a:cubicBezTo>
                    <a:pt x="29585" y="156311"/>
                    <a:pt x="48159" y="125450"/>
                    <a:pt x="78448" y="120020"/>
                  </a:cubicBezTo>
                  <a:lnTo>
                    <a:pt x="111024" y="114115"/>
                  </a:lnTo>
                  <a:cubicBezTo>
                    <a:pt x="129407" y="110781"/>
                    <a:pt x="144456" y="97732"/>
                    <a:pt x="150267" y="80111"/>
                  </a:cubicBezTo>
                  <a:lnTo>
                    <a:pt x="160744" y="48678"/>
                  </a:lnTo>
                  <a:cubicBezTo>
                    <a:pt x="170460" y="19532"/>
                    <a:pt x="203511" y="5530"/>
                    <a:pt x="231229" y="18865"/>
                  </a:cubicBezTo>
                  <a:close/>
                </a:path>
              </a:pathLst>
            </a:custGeom>
            <a:noFill/>
            <a:ln w="15875" cap="rnd">
              <a:solidFill>
                <a:schemeClr val="accent3"/>
              </a:solidFill>
              <a:prstDash val="solid"/>
              <a:round/>
            </a:ln>
          </p:spPr>
          <p:txBody>
            <a:bodyPr rtlCol="0" anchor="ctr"/>
            <a:lstStyle/>
            <a:p>
              <a:endParaRPr lang="en-AR"/>
            </a:p>
          </p:txBody>
        </p:sp>
        <p:sp>
          <p:nvSpPr>
            <p:cNvPr id="6" name="Freeform 5">
              <a:extLst>
                <a:ext uri="{FF2B5EF4-FFF2-40B4-BE49-F238E27FC236}">
                  <a16:creationId xmlns:a16="http://schemas.microsoft.com/office/drawing/2014/main" id="{CE316F09-FA04-9106-B0B7-A0030C9C95A2}"/>
                </a:ext>
              </a:extLst>
            </p:cNvPr>
            <p:cNvSpPr/>
            <p:nvPr/>
          </p:nvSpPr>
          <p:spPr>
            <a:xfrm>
              <a:off x="-2275115" y="23909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7" name="Freeform 6">
              <a:extLst>
                <a:ext uri="{FF2B5EF4-FFF2-40B4-BE49-F238E27FC236}">
                  <a16:creationId xmlns:a16="http://schemas.microsoft.com/office/drawing/2014/main" id="{250A1BC9-6EEA-5338-BCA5-24EFD52031D4}"/>
                </a:ext>
              </a:extLst>
            </p:cNvPr>
            <p:cNvSpPr/>
            <p:nvPr/>
          </p:nvSpPr>
          <p:spPr>
            <a:xfrm>
              <a:off x="-2506382" y="259150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8" name="Freeform 7">
              <a:extLst>
                <a:ext uri="{FF2B5EF4-FFF2-40B4-BE49-F238E27FC236}">
                  <a16:creationId xmlns:a16="http://schemas.microsoft.com/office/drawing/2014/main" id="{F4AFA59E-A5D3-E515-132D-94EAC0761338}"/>
                </a:ext>
              </a:extLst>
            </p:cNvPr>
            <p:cNvSpPr/>
            <p:nvPr/>
          </p:nvSpPr>
          <p:spPr>
            <a:xfrm>
              <a:off x="-2559912" y="2960594"/>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9" name="Freeform 8">
              <a:extLst>
                <a:ext uri="{FF2B5EF4-FFF2-40B4-BE49-F238E27FC236}">
                  <a16:creationId xmlns:a16="http://schemas.microsoft.com/office/drawing/2014/main" id="{24A87DCA-A07F-564E-5553-DE9A6376B78D}"/>
                </a:ext>
              </a:extLst>
            </p:cNvPr>
            <p:cNvSpPr/>
            <p:nvPr/>
          </p:nvSpPr>
          <p:spPr>
            <a:xfrm>
              <a:off x="-2319406" y="313318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0" name="Freeform 9">
              <a:extLst>
                <a:ext uri="{FF2B5EF4-FFF2-40B4-BE49-F238E27FC236}">
                  <a16:creationId xmlns:a16="http://schemas.microsoft.com/office/drawing/2014/main" id="{30FF3C8C-92FE-B35A-4A50-AAF90F66A8DA}"/>
                </a:ext>
              </a:extLst>
            </p:cNvPr>
            <p:cNvSpPr/>
            <p:nvPr/>
          </p:nvSpPr>
          <p:spPr>
            <a:xfrm>
              <a:off x="-2106618" y="322224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1" name="Freeform 10">
              <a:extLst>
                <a:ext uri="{FF2B5EF4-FFF2-40B4-BE49-F238E27FC236}">
                  <a16:creationId xmlns:a16="http://schemas.microsoft.com/office/drawing/2014/main" id="{381B617E-FC63-D9C5-EC4B-AF083E9156E3}"/>
                </a:ext>
              </a:extLst>
            </p:cNvPr>
            <p:cNvSpPr/>
            <p:nvPr/>
          </p:nvSpPr>
          <p:spPr>
            <a:xfrm>
              <a:off x="-1934120" y="308079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2" name="Freeform 11">
              <a:extLst>
                <a:ext uri="{FF2B5EF4-FFF2-40B4-BE49-F238E27FC236}">
                  <a16:creationId xmlns:a16="http://schemas.microsoft.com/office/drawing/2014/main" id="{54C7B3DB-6E31-3836-47DC-4B5F7449E9DE}"/>
                </a:ext>
              </a:extLst>
            </p:cNvPr>
            <p:cNvSpPr/>
            <p:nvPr/>
          </p:nvSpPr>
          <p:spPr>
            <a:xfrm>
              <a:off x="-1754288" y="284867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3" name="Freeform 12">
              <a:extLst>
                <a:ext uri="{FF2B5EF4-FFF2-40B4-BE49-F238E27FC236}">
                  <a16:creationId xmlns:a16="http://schemas.microsoft.com/office/drawing/2014/main" id="{B2CCDE92-BBDD-252D-3467-F06EFD793380}"/>
                </a:ext>
              </a:extLst>
            </p:cNvPr>
            <p:cNvSpPr/>
            <p:nvPr/>
          </p:nvSpPr>
          <p:spPr>
            <a:xfrm>
              <a:off x="-1882494" y="2617217"/>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4" name="Freeform 13">
              <a:extLst>
                <a:ext uri="{FF2B5EF4-FFF2-40B4-BE49-F238E27FC236}">
                  <a16:creationId xmlns:a16="http://schemas.microsoft.com/office/drawing/2014/main" id="{D7273C48-74D4-3FAE-230E-85F866B02B64}"/>
                </a:ext>
              </a:extLst>
            </p:cNvPr>
            <p:cNvSpPr/>
            <p:nvPr/>
          </p:nvSpPr>
          <p:spPr>
            <a:xfrm>
              <a:off x="-1843156" y="249405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5" name="Freeform 14">
              <a:extLst>
                <a:ext uri="{FF2B5EF4-FFF2-40B4-BE49-F238E27FC236}">
                  <a16:creationId xmlns:a16="http://schemas.microsoft.com/office/drawing/2014/main" id="{01EB3322-8855-2B71-7A1F-1DC9193E5CAD}"/>
                </a:ext>
              </a:extLst>
            </p:cNvPr>
            <p:cNvSpPr/>
            <p:nvPr/>
          </p:nvSpPr>
          <p:spPr>
            <a:xfrm>
              <a:off x="-2065755" y="2435766"/>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6" name="Freeform 15">
              <a:extLst>
                <a:ext uri="{FF2B5EF4-FFF2-40B4-BE49-F238E27FC236}">
                  <a16:creationId xmlns:a16="http://schemas.microsoft.com/office/drawing/2014/main" id="{7A8D0171-ADFC-6B05-1BFF-2B0A7786E9B9}"/>
                </a:ext>
              </a:extLst>
            </p:cNvPr>
            <p:cNvSpPr/>
            <p:nvPr/>
          </p:nvSpPr>
          <p:spPr>
            <a:xfrm>
              <a:off x="-2578677" y="27629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7" name="Freeform 16">
              <a:extLst>
                <a:ext uri="{FF2B5EF4-FFF2-40B4-BE49-F238E27FC236}">
                  <a16:creationId xmlns:a16="http://schemas.microsoft.com/office/drawing/2014/main" id="{886E20F1-7BC6-7188-B7BE-4B65E2790734}"/>
                </a:ext>
              </a:extLst>
            </p:cNvPr>
            <p:cNvSpPr/>
            <p:nvPr/>
          </p:nvSpPr>
          <p:spPr>
            <a:xfrm>
              <a:off x="-2475711" y="3069750"/>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19" name="Freeform 18">
              <a:extLst>
                <a:ext uri="{FF2B5EF4-FFF2-40B4-BE49-F238E27FC236}">
                  <a16:creationId xmlns:a16="http://schemas.microsoft.com/office/drawing/2014/main" id="{EC7AF019-6D24-6474-C8B6-6B5C03C9A099}"/>
                </a:ext>
              </a:extLst>
            </p:cNvPr>
            <p:cNvSpPr/>
            <p:nvPr/>
          </p:nvSpPr>
          <p:spPr>
            <a:xfrm>
              <a:off x="-1818772" y="3047271"/>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0" name="Freeform 19">
              <a:extLst>
                <a:ext uri="{FF2B5EF4-FFF2-40B4-BE49-F238E27FC236}">
                  <a16:creationId xmlns:a16="http://schemas.microsoft.com/office/drawing/2014/main" id="{8288AEAA-0AB4-6641-C774-130FF3374805}"/>
                </a:ext>
              </a:extLst>
            </p:cNvPr>
            <p:cNvSpPr/>
            <p:nvPr/>
          </p:nvSpPr>
          <p:spPr>
            <a:xfrm>
              <a:off x="-2217039" y="2636407"/>
              <a:ext cx="107352" cy="107352"/>
            </a:xfrm>
            <a:custGeom>
              <a:avLst/>
              <a:gdLst>
                <a:gd name="connsiteX0" fmla="*/ 103111 w 107352"/>
                <a:gd name="connsiteY0" fmla="*/ 32817 h 107352"/>
                <a:gd name="connsiteX1" fmla="*/ 74536 w 107352"/>
                <a:gd name="connsiteY1" fmla="*/ 103111 h 107352"/>
                <a:gd name="connsiteX2" fmla="*/ 4242 w 107352"/>
                <a:gd name="connsiteY2" fmla="*/ 74536 h 107352"/>
                <a:gd name="connsiteX3" fmla="*/ 32817 w 107352"/>
                <a:gd name="connsiteY3" fmla="*/ 4242 h 107352"/>
                <a:gd name="connsiteX4" fmla="*/ 103111 w 107352"/>
                <a:gd name="connsiteY4" fmla="*/ 32817 h 107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2" h="107352">
                  <a:moveTo>
                    <a:pt x="103111" y="32817"/>
                  </a:moveTo>
                  <a:cubicBezTo>
                    <a:pt x="114636" y="60153"/>
                    <a:pt x="101873" y="91586"/>
                    <a:pt x="74536" y="103111"/>
                  </a:cubicBezTo>
                  <a:cubicBezTo>
                    <a:pt x="47199" y="114636"/>
                    <a:pt x="15767" y="101873"/>
                    <a:pt x="4242" y="74536"/>
                  </a:cubicBezTo>
                  <a:cubicBezTo>
                    <a:pt x="-7284" y="47199"/>
                    <a:pt x="5480" y="15767"/>
                    <a:pt x="32817" y="4242"/>
                  </a:cubicBezTo>
                  <a:cubicBezTo>
                    <a:pt x="60153" y="-7284"/>
                    <a:pt x="91586" y="5480"/>
                    <a:pt x="103111" y="32817"/>
                  </a:cubicBezTo>
                  <a:close/>
                </a:path>
              </a:pathLst>
            </a:custGeom>
            <a:noFill/>
            <a:ln w="15875" cap="rnd">
              <a:solidFill>
                <a:schemeClr val="accent3"/>
              </a:solidFill>
              <a:prstDash val="solid"/>
              <a:round/>
            </a:ln>
          </p:spPr>
          <p:txBody>
            <a:bodyPr rtlCol="0" anchor="ctr"/>
            <a:lstStyle/>
            <a:p>
              <a:endParaRPr lang="en-AR"/>
            </a:p>
          </p:txBody>
        </p:sp>
        <p:sp>
          <p:nvSpPr>
            <p:cNvPr id="22" name="Freeform 21">
              <a:extLst>
                <a:ext uri="{FF2B5EF4-FFF2-40B4-BE49-F238E27FC236}">
                  <a16:creationId xmlns:a16="http://schemas.microsoft.com/office/drawing/2014/main" id="{C93EE1EC-B295-0E50-8088-490EA56833DC}"/>
                </a:ext>
              </a:extLst>
            </p:cNvPr>
            <p:cNvSpPr/>
            <p:nvPr/>
          </p:nvSpPr>
          <p:spPr>
            <a:xfrm rot="18149399">
              <a:off x="-2169853" y="2895598"/>
              <a:ext cx="87630" cy="140207"/>
            </a:xfrm>
            <a:custGeom>
              <a:avLst/>
              <a:gdLst>
                <a:gd name="connsiteX0" fmla="*/ 43815 w 87630"/>
                <a:gd name="connsiteY0" fmla="*/ 0 h 140207"/>
                <a:gd name="connsiteX1" fmla="*/ 43815 w 87630"/>
                <a:gd name="connsiteY1" fmla="*/ 0 h 140207"/>
                <a:gd name="connsiteX2" fmla="*/ 87630 w 87630"/>
                <a:gd name="connsiteY2" fmla="*/ 43815 h 140207"/>
                <a:gd name="connsiteX3" fmla="*/ 87630 w 87630"/>
                <a:gd name="connsiteY3" fmla="*/ 96393 h 140207"/>
                <a:gd name="connsiteX4" fmla="*/ 43815 w 87630"/>
                <a:gd name="connsiteY4" fmla="*/ 140208 h 140207"/>
                <a:gd name="connsiteX5" fmla="*/ 43815 w 87630"/>
                <a:gd name="connsiteY5" fmla="*/ 140208 h 140207"/>
                <a:gd name="connsiteX6" fmla="*/ 0 w 87630"/>
                <a:gd name="connsiteY6" fmla="*/ 96393 h 140207"/>
                <a:gd name="connsiteX7" fmla="*/ 0 w 87630"/>
                <a:gd name="connsiteY7" fmla="*/ 43815 h 140207"/>
                <a:gd name="connsiteX8" fmla="*/ 43815 w 87630"/>
                <a:gd name="connsiteY8" fmla="*/ 0 h 14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630" h="140207">
                  <a:moveTo>
                    <a:pt x="43815" y="0"/>
                  </a:moveTo>
                  <a:lnTo>
                    <a:pt x="43815" y="0"/>
                  </a:lnTo>
                  <a:cubicBezTo>
                    <a:pt x="68008" y="0"/>
                    <a:pt x="87630" y="19622"/>
                    <a:pt x="87630" y="43815"/>
                  </a:cubicBezTo>
                  <a:lnTo>
                    <a:pt x="87630" y="96393"/>
                  </a:lnTo>
                  <a:cubicBezTo>
                    <a:pt x="87630" y="120586"/>
                    <a:pt x="68008" y="140208"/>
                    <a:pt x="43815" y="140208"/>
                  </a:cubicBezTo>
                  <a:lnTo>
                    <a:pt x="43815" y="140208"/>
                  </a:lnTo>
                  <a:cubicBezTo>
                    <a:pt x="19622" y="140208"/>
                    <a:pt x="0" y="120586"/>
                    <a:pt x="0" y="96393"/>
                  </a:cubicBezTo>
                  <a:lnTo>
                    <a:pt x="0" y="43815"/>
                  </a:lnTo>
                  <a:cubicBezTo>
                    <a:pt x="0" y="19622"/>
                    <a:pt x="19622" y="0"/>
                    <a:pt x="43815" y="0"/>
                  </a:cubicBezTo>
                  <a:close/>
                </a:path>
              </a:pathLst>
            </a:custGeom>
            <a:noFill/>
            <a:ln w="15875" cap="rnd">
              <a:solidFill>
                <a:schemeClr val="accent3"/>
              </a:solidFill>
              <a:prstDash val="solid"/>
              <a:round/>
            </a:ln>
          </p:spPr>
          <p:txBody>
            <a:bodyPr rtlCol="0" anchor="ctr"/>
            <a:lstStyle/>
            <a:p>
              <a:endParaRPr lang="en-AR"/>
            </a:p>
          </p:txBody>
        </p:sp>
        <p:sp>
          <p:nvSpPr>
            <p:cNvPr id="24" name="Freeform 23">
              <a:extLst>
                <a:ext uri="{FF2B5EF4-FFF2-40B4-BE49-F238E27FC236}">
                  <a16:creationId xmlns:a16="http://schemas.microsoft.com/office/drawing/2014/main" id="{159F2097-EE8E-C59E-F6C3-46E97F9FAB34}"/>
                </a:ext>
              </a:extLst>
            </p:cNvPr>
            <p:cNvSpPr/>
            <p:nvPr/>
          </p:nvSpPr>
          <p:spPr>
            <a:xfrm>
              <a:off x="-2350529" y="2747424"/>
              <a:ext cx="19430" cy="46100"/>
            </a:xfrm>
            <a:custGeom>
              <a:avLst/>
              <a:gdLst>
                <a:gd name="connsiteX0" fmla="*/ 0 w 19430"/>
                <a:gd name="connsiteY0" fmla="*/ 0 h 46100"/>
                <a:gd name="connsiteX1" fmla="*/ 19431 w 19430"/>
                <a:gd name="connsiteY1" fmla="*/ 46101 h 46100"/>
              </a:gdLst>
              <a:ahLst/>
              <a:cxnLst>
                <a:cxn ang="0">
                  <a:pos x="connsiteX0" y="connsiteY0"/>
                </a:cxn>
                <a:cxn ang="0">
                  <a:pos x="connsiteX1" y="connsiteY1"/>
                </a:cxn>
              </a:cxnLst>
              <a:rect l="l" t="t" r="r" b="b"/>
              <a:pathLst>
                <a:path w="19430" h="46100">
                  <a:moveTo>
                    <a:pt x="0" y="0"/>
                  </a:moveTo>
                  <a:lnTo>
                    <a:pt x="19431" y="46101"/>
                  </a:lnTo>
                </a:path>
              </a:pathLst>
            </a:custGeom>
            <a:ln w="15875" cap="rnd">
              <a:solidFill>
                <a:schemeClr val="accent3"/>
              </a:solidFill>
              <a:prstDash val="solid"/>
              <a:round/>
            </a:ln>
          </p:spPr>
          <p:txBody>
            <a:bodyPr rtlCol="0" anchor="ctr"/>
            <a:lstStyle/>
            <a:p>
              <a:endParaRPr lang="en-AR"/>
            </a:p>
          </p:txBody>
        </p:sp>
        <p:sp>
          <p:nvSpPr>
            <p:cNvPr id="25" name="Freeform 24">
              <a:extLst>
                <a:ext uri="{FF2B5EF4-FFF2-40B4-BE49-F238E27FC236}">
                  <a16:creationId xmlns:a16="http://schemas.microsoft.com/office/drawing/2014/main" id="{DFE9F639-10A1-DD94-5394-C6D2B8925AC5}"/>
                </a:ext>
              </a:extLst>
            </p:cNvPr>
            <p:cNvSpPr/>
            <p:nvPr/>
          </p:nvSpPr>
          <p:spPr>
            <a:xfrm>
              <a:off x="-2073732" y="2775999"/>
              <a:ext cx="58673" cy="24764"/>
            </a:xfrm>
            <a:custGeom>
              <a:avLst/>
              <a:gdLst>
                <a:gd name="connsiteX0" fmla="*/ 0 w 58673"/>
                <a:gd name="connsiteY0" fmla="*/ 24765 h 24764"/>
                <a:gd name="connsiteX1" fmla="*/ 58674 w 58673"/>
                <a:gd name="connsiteY1" fmla="*/ 0 h 24764"/>
              </a:gdLst>
              <a:ahLst/>
              <a:cxnLst>
                <a:cxn ang="0">
                  <a:pos x="connsiteX0" y="connsiteY0"/>
                </a:cxn>
                <a:cxn ang="0">
                  <a:pos x="connsiteX1" y="connsiteY1"/>
                </a:cxn>
              </a:cxnLst>
              <a:rect l="l" t="t" r="r" b="b"/>
              <a:pathLst>
                <a:path w="58673" h="24764">
                  <a:moveTo>
                    <a:pt x="0" y="24765"/>
                  </a:moveTo>
                  <a:lnTo>
                    <a:pt x="58674" y="0"/>
                  </a:lnTo>
                </a:path>
              </a:pathLst>
            </a:custGeom>
            <a:ln w="15875" cap="rnd">
              <a:solidFill>
                <a:schemeClr val="accent3"/>
              </a:solidFill>
              <a:prstDash val="solid"/>
              <a:round/>
            </a:ln>
          </p:spPr>
          <p:txBody>
            <a:bodyPr rtlCol="0" anchor="ctr"/>
            <a:lstStyle/>
            <a:p>
              <a:endParaRPr lang="en-AR"/>
            </a:p>
          </p:txBody>
        </p:sp>
        <p:sp>
          <p:nvSpPr>
            <p:cNvPr id="26" name="Freeform 25">
              <a:extLst>
                <a:ext uri="{FF2B5EF4-FFF2-40B4-BE49-F238E27FC236}">
                  <a16:creationId xmlns:a16="http://schemas.microsoft.com/office/drawing/2014/main" id="{398DA8E2-A2C2-EE1C-E708-F20F00AC7243}"/>
                </a:ext>
              </a:extLst>
            </p:cNvPr>
            <p:cNvSpPr/>
            <p:nvPr/>
          </p:nvSpPr>
          <p:spPr>
            <a:xfrm>
              <a:off x="-2325978" y="2922113"/>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7" name="Freeform 26">
              <a:extLst>
                <a:ext uri="{FF2B5EF4-FFF2-40B4-BE49-F238E27FC236}">
                  <a16:creationId xmlns:a16="http://schemas.microsoft.com/office/drawing/2014/main" id="{69785E87-090E-530F-5C15-6F68F0C1C8CC}"/>
                </a:ext>
              </a:extLst>
            </p:cNvPr>
            <p:cNvSpPr/>
            <p:nvPr/>
          </p:nvSpPr>
          <p:spPr>
            <a:xfrm>
              <a:off x="-2289402" y="2669605"/>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8" name="Freeform 27">
              <a:extLst>
                <a:ext uri="{FF2B5EF4-FFF2-40B4-BE49-F238E27FC236}">
                  <a16:creationId xmlns:a16="http://schemas.microsoft.com/office/drawing/2014/main" id="{A4A853D4-3148-B2A8-4F69-97DA481A2083}"/>
                </a:ext>
              </a:extLst>
            </p:cNvPr>
            <p:cNvSpPr/>
            <p:nvPr/>
          </p:nvSpPr>
          <p:spPr>
            <a:xfrm>
              <a:off x="-2006796" y="2888489"/>
              <a:ext cx="17002" cy="17621"/>
            </a:xfrm>
            <a:custGeom>
              <a:avLst/>
              <a:gdLst>
                <a:gd name="connsiteX0" fmla="*/ 8501 w 17002"/>
                <a:gd name="connsiteY0" fmla="*/ 17621 h 17621"/>
                <a:gd name="connsiteX1" fmla="*/ 8501 w 17002"/>
                <a:gd name="connsiteY1" fmla="*/ 0 h 17621"/>
                <a:gd name="connsiteX2" fmla="*/ 8501 w 17002"/>
                <a:gd name="connsiteY2" fmla="*/ 17621 h 17621"/>
                <a:gd name="connsiteX3" fmla="*/ 8501 w 17002"/>
                <a:gd name="connsiteY3" fmla="*/ 17621 h 17621"/>
              </a:gdLst>
              <a:ahLst/>
              <a:cxnLst>
                <a:cxn ang="0">
                  <a:pos x="connsiteX0" y="connsiteY0"/>
                </a:cxn>
                <a:cxn ang="0">
                  <a:pos x="connsiteX1" y="connsiteY1"/>
                </a:cxn>
                <a:cxn ang="0">
                  <a:pos x="connsiteX2" y="connsiteY2"/>
                </a:cxn>
                <a:cxn ang="0">
                  <a:pos x="connsiteX3" y="connsiteY3"/>
                </a:cxn>
              </a:cxnLst>
              <a:rect l="l" t="t" r="r" b="b"/>
              <a:pathLst>
                <a:path w="17002" h="17621">
                  <a:moveTo>
                    <a:pt x="8501" y="17621"/>
                  </a:moveTo>
                  <a:cubicBezTo>
                    <a:pt x="19836" y="17621"/>
                    <a:pt x="19836" y="0"/>
                    <a:pt x="8501" y="0"/>
                  </a:cubicBezTo>
                  <a:cubicBezTo>
                    <a:pt x="-2834" y="0"/>
                    <a:pt x="-2834" y="17621"/>
                    <a:pt x="8501" y="17621"/>
                  </a:cubicBezTo>
                  <a:lnTo>
                    <a:pt x="8501" y="17621"/>
                  </a:lnTo>
                  <a:close/>
                </a:path>
              </a:pathLst>
            </a:custGeom>
            <a:solidFill>
              <a:srgbClr val="010101"/>
            </a:solidFill>
            <a:ln w="15875" cap="flat">
              <a:solidFill>
                <a:schemeClr val="accent3"/>
              </a:solidFill>
              <a:prstDash val="solid"/>
              <a:miter/>
            </a:ln>
          </p:spPr>
          <p:txBody>
            <a:bodyPr rtlCol="0" anchor="ctr"/>
            <a:lstStyle/>
            <a:p>
              <a:endParaRPr lang="en-AR"/>
            </a:p>
          </p:txBody>
        </p:sp>
        <p:sp>
          <p:nvSpPr>
            <p:cNvPr id="29" name="Freeform 28">
              <a:extLst>
                <a:ext uri="{FF2B5EF4-FFF2-40B4-BE49-F238E27FC236}">
                  <a16:creationId xmlns:a16="http://schemas.microsoft.com/office/drawing/2014/main" id="{A784D58A-D0EC-155C-2DDD-5A2D97824955}"/>
                </a:ext>
              </a:extLst>
            </p:cNvPr>
            <p:cNvSpPr/>
            <p:nvPr/>
          </p:nvSpPr>
          <p:spPr>
            <a:xfrm>
              <a:off x="-2483879" y="2146492"/>
              <a:ext cx="105536" cy="172497"/>
            </a:xfrm>
            <a:custGeom>
              <a:avLst/>
              <a:gdLst>
                <a:gd name="connsiteX0" fmla="*/ 105537 w 105536"/>
                <a:gd name="connsiteY0" fmla="*/ 172498 h 172497"/>
                <a:gd name="connsiteX1" fmla="*/ 57245 w 105536"/>
                <a:gd name="connsiteY1" fmla="*/ 58388 h 172497"/>
                <a:gd name="connsiteX2" fmla="*/ 0 w 105536"/>
                <a:gd name="connsiteY2" fmla="*/ 33433 h 172497"/>
                <a:gd name="connsiteX3" fmla="*/ 57245 w 105536"/>
                <a:gd name="connsiteY3" fmla="*/ 58388 h 172497"/>
                <a:gd name="connsiteX4" fmla="*/ 79343 w 105536"/>
                <a:gd name="connsiteY4" fmla="*/ 0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36" h="172497">
                  <a:moveTo>
                    <a:pt x="105537" y="172498"/>
                  </a:moveTo>
                  <a:lnTo>
                    <a:pt x="57245" y="58388"/>
                  </a:lnTo>
                  <a:lnTo>
                    <a:pt x="0" y="33433"/>
                  </a:lnTo>
                  <a:lnTo>
                    <a:pt x="57245" y="58388"/>
                  </a:lnTo>
                  <a:lnTo>
                    <a:pt x="79343" y="0"/>
                  </a:lnTo>
                </a:path>
              </a:pathLst>
            </a:custGeom>
            <a:noFill/>
            <a:ln w="15875" cap="rnd">
              <a:solidFill>
                <a:schemeClr val="accent3"/>
              </a:solidFill>
              <a:prstDash val="solid"/>
              <a:round/>
            </a:ln>
          </p:spPr>
          <p:txBody>
            <a:bodyPr rtlCol="0" anchor="ctr"/>
            <a:lstStyle/>
            <a:p>
              <a:endParaRPr lang="en-AR"/>
            </a:p>
          </p:txBody>
        </p:sp>
        <p:sp>
          <p:nvSpPr>
            <p:cNvPr id="30" name="Freeform 29">
              <a:extLst>
                <a:ext uri="{FF2B5EF4-FFF2-40B4-BE49-F238E27FC236}">
                  <a16:creationId xmlns:a16="http://schemas.microsoft.com/office/drawing/2014/main" id="{3421AD70-7E3F-4247-5B13-9D725A3A2D80}"/>
                </a:ext>
              </a:extLst>
            </p:cNvPr>
            <p:cNvSpPr/>
            <p:nvPr/>
          </p:nvSpPr>
          <p:spPr>
            <a:xfrm>
              <a:off x="-1953051" y="3317876"/>
              <a:ext cx="105441" cy="172497"/>
            </a:xfrm>
            <a:custGeom>
              <a:avLst/>
              <a:gdLst>
                <a:gd name="connsiteX0" fmla="*/ 0 w 105441"/>
                <a:gd name="connsiteY0" fmla="*/ 0 h 172497"/>
                <a:gd name="connsiteX1" fmla="*/ 48196 w 105441"/>
                <a:gd name="connsiteY1" fmla="*/ 114110 h 172497"/>
                <a:gd name="connsiteX2" fmla="*/ 105442 w 105441"/>
                <a:gd name="connsiteY2" fmla="*/ 138970 h 172497"/>
                <a:gd name="connsiteX3" fmla="*/ 48196 w 105441"/>
                <a:gd name="connsiteY3" fmla="*/ 114110 h 172497"/>
                <a:gd name="connsiteX4" fmla="*/ 26194 w 105441"/>
                <a:gd name="connsiteY4" fmla="*/ 172498 h 172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41" h="172497">
                  <a:moveTo>
                    <a:pt x="0" y="0"/>
                  </a:moveTo>
                  <a:lnTo>
                    <a:pt x="48196" y="114110"/>
                  </a:lnTo>
                  <a:lnTo>
                    <a:pt x="105442" y="138970"/>
                  </a:lnTo>
                  <a:lnTo>
                    <a:pt x="48196" y="114110"/>
                  </a:lnTo>
                  <a:lnTo>
                    <a:pt x="26194" y="172498"/>
                  </a:lnTo>
                </a:path>
              </a:pathLst>
            </a:custGeom>
            <a:noFill/>
            <a:ln w="15875" cap="rnd">
              <a:solidFill>
                <a:schemeClr val="accent3"/>
              </a:solidFill>
              <a:prstDash val="solid"/>
              <a:round/>
            </a:ln>
          </p:spPr>
          <p:txBody>
            <a:bodyPr rtlCol="0" anchor="ctr"/>
            <a:lstStyle/>
            <a:p>
              <a:endParaRPr lang="en-AR"/>
            </a:p>
          </p:txBody>
        </p:sp>
        <p:sp>
          <p:nvSpPr>
            <p:cNvPr id="31" name="Freeform 30">
              <a:extLst>
                <a:ext uri="{FF2B5EF4-FFF2-40B4-BE49-F238E27FC236}">
                  <a16:creationId xmlns:a16="http://schemas.microsoft.com/office/drawing/2014/main" id="{9B4C44B5-00C3-D74B-1A11-C844CE88077F}"/>
                </a:ext>
              </a:extLst>
            </p:cNvPr>
            <p:cNvSpPr/>
            <p:nvPr/>
          </p:nvSpPr>
          <p:spPr>
            <a:xfrm>
              <a:off x="-2546744" y="3221388"/>
              <a:ext cx="140303" cy="158305"/>
            </a:xfrm>
            <a:custGeom>
              <a:avLst/>
              <a:gdLst>
                <a:gd name="connsiteX0" fmla="*/ 140303 w 140303"/>
                <a:gd name="connsiteY0" fmla="*/ 0 h 158305"/>
                <a:gd name="connsiteX1" fmla="*/ 61913 w 140303"/>
                <a:gd name="connsiteY1" fmla="*/ 96012 h 158305"/>
                <a:gd name="connsiteX2" fmla="*/ 66770 w 140303"/>
                <a:gd name="connsiteY2" fmla="*/ 158305 h 158305"/>
                <a:gd name="connsiteX3" fmla="*/ 61913 w 140303"/>
                <a:gd name="connsiteY3" fmla="*/ 96012 h 158305"/>
                <a:gd name="connsiteX4" fmla="*/ 0 w 140303"/>
                <a:gd name="connsiteY4" fmla="*/ 103822 h 158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305">
                  <a:moveTo>
                    <a:pt x="140303" y="0"/>
                  </a:moveTo>
                  <a:lnTo>
                    <a:pt x="61913" y="96012"/>
                  </a:lnTo>
                  <a:lnTo>
                    <a:pt x="66770" y="158305"/>
                  </a:lnTo>
                  <a:lnTo>
                    <a:pt x="61913" y="96012"/>
                  </a:lnTo>
                  <a:lnTo>
                    <a:pt x="0" y="103822"/>
                  </a:lnTo>
                </a:path>
              </a:pathLst>
            </a:custGeom>
            <a:noFill/>
            <a:ln w="15875" cap="rnd">
              <a:solidFill>
                <a:schemeClr val="accent3"/>
              </a:solidFill>
              <a:prstDash val="solid"/>
              <a:round/>
            </a:ln>
          </p:spPr>
          <p:txBody>
            <a:bodyPr rtlCol="0" anchor="ctr"/>
            <a:lstStyle/>
            <a:p>
              <a:endParaRPr lang="en-AR"/>
            </a:p>
          </p:txBody>
        </p:sp>
        <p:sp>
          <p:nvSpPr>
            <p:cNvPr id="32" name="Freeform 31">
              <a:extLst>
                <a:ext uri="{FF2B5EF4-FFF2-40B4-BE49-F238E27FC236}">
                  <a16:creationId xmlns:a16="http://schemas.microsoft.com/office/drawing/2014/main" id="{F56AB2EA-7D22-A7F9-2CF2-466103889C53}"/>
                </a:ext>
              </a:extLst>
            </p:cNvPr>
            <p:cNvSpPr/>
            <p:nvPr/>
          </p:nvSpPr>
          <p:spPr>
            <a:xfrm>
              <a:off x="-1933905" y="2254029"/>
              <a:ext cx="140303" cy="158210"/>
            </a:xfrm>
            <a:custGeom>
              <a:avLst/>
              <a:gdLst>
                <a:gd name="connsiteX0" fmla="*/ 0 w 140303"/>
                <a:gd name="connsiteY0" fmla="*/ 158210 h 158210"/>
                <a:gd name="connsiteX1" fmla="*/ 78391 w 140303"/>
                <a:gd name="connsiteY1" fmla="*/ 62198 h 158210"/>
                <a:gd name="connsiteX2" fmla="*/ 73533 w 140303"/>
                <a:gd name="connsiteY2" fmla="*/ 0 h 158210"/>
                <a:gd name="connsiteX3" fmla="*/ 78391 w 140303"/>
                <a:gd name="connsiteY3" fmla="*/ 62198 h 158210"/>
                <a:gd name="connsiteX4" fmla="*/ 140303 w 140303"/>
                <a:gd name="connsiteY4" fmla="*/ 54388 h 158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03" h="158210">
                  <a:moveTo>
                    <a:pt x="0" y="158210"/>
                  </a:moveTo>
                  <a:lnTo>
                    <a:pt x="78391" y="62198"/>
                  </a:lnTo>
                  <a:lnTo>
                    <a:pt x="73533" y="0"/>
                  </a:lnTo>
                  <a:lnTo>
                    <a:pt x="78391" y="62198"/>
                  </a:lnTo>
                  <a:lnTo>
                    <a:pt x="140303" y="54388"/>
                  </a:lnTo>
                </a:path>
              </a:pathLst>
            </a:custGeom>
            <a:noFill/>
            <a:ln w="15875" cap="rnd">
              <a:solidFill>
                <a:schemeClr val="accent3"/>
              </a:solidFill>
              <a:prstDash val="solid"/>
              <a:round/>
            </a:ln>
          </p:spPr>
          <p:txBody>
            <a:bodyPr rtlCol="0" anchor="ctr"/>
            <a:lstStyle/>
            <a:p>
              <a:endParaRPr lang="en-AR"/>
            </a:p>
          </p:txBody>
        </p:sp>
        <p:sp>
          <p:nvSpPr>
            <p:cNvPr id="37" name="Freeform 36">
              <a:extLst>
                <a:ext uri="{FF2B5EF4-FFF2-40B4-BE49-F238E27FC236}">
                  <a16:creationId xmlns:a16="http://schemas.microsoft.com/office/drawing/2014/main" id="{8A113EE5-21CA-B169-CE78-A0DDB721C26E}"/>
                </a:ext>
              </a:extLst>
            </p:cNvPr>
            <p:cNvSpPr/>
            <p:nvPr/>
          </p:nvSpPr>
          <p:spPr>
            <a:xfrm>
              <a:off x="-2795156" y="2618170"/>
              <a:ext cx="174116" cy="93440"/>
            </a:xfrm>
            <a:custGeom>
              <a:avLst/>
              <a:gdLst>
                <a:gd name="connsiteX0" fmla="*/ 174117 w 174116"/>
                <a:gd name="connsiteY0" fmla="*/ 93440 h 93440"/>
                <a:gd name="connsiteX1" fmla="*/ 56293 w 174116"/>
                <a:gd name="connsiteY1" fmla="*/ 54959 h 93440"/>
                <a:gd name="connsiteX2" fmla="*/ 0 w 174116"/>
                <a:gd name="connsiteY2" fmla="*/ 81820 h 93440"/>
                <a:gd name="connsiteX3" fmla="*/ 56293 w 174116"/>
                <a:gd name="connsiteY3" fmla="*/ 54959 h 93440"/>
                <a:gd name="connsiteX4" fmla="*/ 26765 w 174116"/>
                <a:gd name="connsiteY4" fmla="*/ 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16" h="93440">
                  <a:moveTo>
                    <a:pt x="174117" y="93440"/>
                  </a:moveTo>
                  <a:lnTo>
                    <a:pt x="56293" y="54959"/>
                  </a:lnTo>
                  <a:lnTo>
                    <a:pt x="0" y="81820"/>
                  </a:lnTo>
                  <a:lnTo>
                    <a:pt x="56293" y="54959"/>
                  </a:lnTo>
                  <a:lnTo>
                    <a:pt x="26765" y="0"/>
                  </a:lnTo>
                </a:path>
              </a:pathLst>
            </a:custGeom>
            <a:noFill/>
            <a:ln w="15875" cap="rnd">
              <a:solidFill>
                <a:schemeClr val="accent3"/>
              </a:solidFill>
              <a:prstDash val="solid"/>
              <a:round/>
            </a:ln>
          </p:spPr>
          <p:txBody>
            <a:bodyPr rtlCol="0" anchor="ctr"/>
            <a:lstStyle/>
            <a:p>
              <a:endParaRPr lang="en-AR"/>
            </a:p>
          </p:txBody>
        </p:sp>
        <p:sp>
          <p:nvSpPr>
            <p:cNvPr id="38" name="Freeform 37">
              <a:extLst>
                <a:ext uri="{FF2B5EF4-FFF2-40B4-BE49-F238E27FC236}">
                  <a16:creationId xmlns:a16="http://schemas.microsoft.com/office/drawing/2014/main" id="{C967302D-236D-4688-65D2-003B396EC914}"/>
                </a:ext>
              </a:extLst>
            </p:cNvPr>
            <p:cNvSpPr/>
            <p:nvPr/>
          </p:nvSpPr>
          <p:spPr>
            <a:xfrm>
              <a:off x="-1708734" y="2918112"/>
              <a:ext cx="174212" cy="93440"/>
            </a:xfrm>
            <a:custGeom>
              <a:avLst/>
              <a:gdLst>
                <a:gd name="connsiteX0" fmla="*/ 0 w 174212"/>
                <a:gd name="connsiteY0" fmla="*/ 0 h 93440"/>
                <a:gd name="connsiteX1" fmla="*/ 117824 w 174212"/>
                <a:gd name="connsiteY1" fmla="*/ 38481 h 93440"/>
                <a:gd name="connsiteX2" fmla="*/ 174212 w 174212"/>
                <a:gd name="connsiteY2" fmla="*/ 11621 h 93440"/>
                <a:gd name="connsiteX3" fmla="*/ 117824 w 174212"/>
                <a:gd name="connsiteY3" fmla="*/ 38481 h 93440"/>
                <a:gd name="connsiteX4" fmla="*/ 147447 w 174212"/>
                <a:gd name="connsiteY4" fmla="*/ 93440 h 93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212" h="93440">
                  <a:moveTo>
                    <a:pt x="0" y="0"/>
                  </a:moveTo>
                  <a:lnTo>
                    <a:pt x="117824" y="38481"/>
                  </a:lnTo>
                  <a:lnTo>
                    <a:pt x="174212" y="11621"/>
                  </a:lnTo>
                  <a:lnTo>
                    <a:pt x="117824" y="38481"/>
                  </a:lnTo>
                  <a:lnTo>
                    <a:pt x="147447" y="93440"/>
                  </a:lnTo>
                </a:path>
              </a:pathLst>
            </a:custGeom>
            <a:noFill/>
            <a:ln w="15875" cap="rnd">
              <a:solidFill>
                <a:schemeClr val="accent3"/>
              </a:solidFill>
              <a:prstDash val="solid"/>
              <a:round/>
            </a:ln>
          </p:spPr>
          <p:txBody>
            <a:bodyPr rtlCol="0" anchor="ctr"/>
            <a:lstStyle/>
            <a:p>
              <a:endParaRPr lang="en-AR"/>
            </a:p>
          </p:txBody>
        </p:sp>
      </p:grpSp>
      <p:grpSp>
        <p:nvGrpSpPr>
          <p:cNvPr id="40" name="Group 39">
            <a:extLst>
              <a:ext uri="{FF2B5EF4-FFF2-40B4-BE49-F238E27FC236}">
                <a16:creationId xmlns:a16="http://schemas.microsoft.com/office/drawing/2014/main" id="{FE118374-46B3-D8F4-916C-B82A66D801DF}"/>
              </a:ext>
            </a:extLst>
          </p:cNvPr>
          <p:cNvGrpSpPr/>
          <p:nvPr/>
        </p:nvGrpSpPr>
        <p:grpSpPr>
          <a:xfrm>
            <a:off x="521643" y="3513141"/>
            <a:ext cx="379419" cy="329183"/>
            <a:chOff x="-1676540" y="3288158"/>
            <a:chExt cx="1277398" cy="1186244"/>
          </a:xfrm>
        </p:grpSpPr>
        <p:sp>
          <p:nvSpPr>
            <p:cNvPr id="41" name="Freeform 40">
              <a:extLst>
                <a:ext uri="{FF2B5EF4-FFF2-40B4-BE49-F238E27FC236}">
                  <a16:creationId xmlns:a16="http://schemas.microsoft.com/office/drawing/2014/main" id="{9561BAF7-1056-5D5C-5EDC-13DA6C206752}"/>
                </a:ext>
              </a:extLst>
            </p:cNvPr>
            <p:cNvSpPr/>
            <p:nvPr/>
          </p:nvSpPr>
          <p:spPr>
            <a:xfrm>
              <a:off x="-1676540" y="3891948"/>
              <a:ext cx="708564" cy="516540"/>
            </a:xfrm>
            <a:custGeom>
              <a:avLst/>
              <a:gdLst>
                <a:gd name="connsiteX0" fmla="*/ 0 w 708564"/>
                <a:gd name="connsiteY0" fmla="*/ 115443 h 516540"/>
                <a:gd name="connsiteX1" fmla="*/ 179070 w 708564"/>
                <a:gd name="connsiteY1" fmla="*/ 115443 h 516540"/>
                <a:gd name="connsiteX2" fmla="*/ 241554 w 708564"/>
                <a:gd name="connsiteY2" fmla="*/ 93345 h 516540"/>
                <a:gd name="connsiteX3" fmla="*/ 298323 w 708564"/>
                <a:gd name="connsiteY3" fmla="*/ 47434 h 516540"/>
                <a:gd name="connsiteX4" fmla="*/ 432435 w 708564"/>
                <a:gd name="connsiteY4" fmla="*/ 0 h 516540"/>
                <a:gd name="connsiteX5" fmla="*/ 432435 w 708564"/>
                <a:gd name="connsiteY5" fmla="*/ 0 h 516540"/>
                <a:gd name="connsiteX6" fmla="*/ 607505 w 708564"/>
                <a:gd name="connsiteY6" fmla="*/ 91345 h 516540"/>
                <a:gd name="connsiteX7" fmla="*/ 688181 w 708564"/>
                <a:gd name="connsiteY7" fmla="*/ 207074 h 516540"/>
                <a:gd name="connsiteX8" fmla="*/ 708565 w 708564"/>
                <a:gd name="connsiteY8" fmla="*/ 271939 h 516540"/>
                <a:gd name="connsiteX9" fmla="*/ 708565 w 708564"/>
                <a:gd name="connsiteY9" fmla="*/ 467106 h 516540"/>
                <a:gd name="connsiteX10" fmla="*/ 659130 w 708564"/>
                <a:gd name="connsiteY10" fmla="*/ 516541 h 516540"/>
                <a:gd name="connsiteX11" fmla="*/ 659130 w 708564"/>
                <a:gd name="connsiteY11" fmla="*/ 516541 h 516540"/>
                <a:gd name="connsiteX12" fmla="*/ 565690 w 708564"/>
                <a:gd name="connsiteY12" fmla="*/ 423100 h 516540"/>
                <a:gd name="connsiteX13" fmla="*/ 565690 w 708564"/>
                <a:gd name="connsiteY13" fmla="*/ 315373 h 516540"/>
                <a:gd name="connsiteX14" fmla="*/ 550164 w 708564"/>
                <a:gd name="connsiteY14" fmla="*/ 286417 h 516540"/>
                <a:gd name="connsiteX15" fmla="*/ 466820 w 708564"/>
                <a:gd name="connsiteY15" fmla="*/ 230791 h 516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8564" h="516540">
                  <a:moveTo>
                    <a:pt x="0" y="115443"/>
                  </a:moveTo>
                  <a:lnTo>
                    <a:pt x="179070" y="115443"/>
                  </a:lnTo>
                  <a:cubicBezTo>
                    <a:pt x="201835" y="115443"/>
                    <a:pt x="223933" y="107633"/>
                    <a:pt x="241554" y="93345"/>
                  </a:cubicBezTo>
                  <a:lnTo>
                    <a:pt x="298323" y="47434"/>
                  </a:lnTo>
                  <a:cubicBezTo>
                    <a:pt x="336328" y="16764"/>
                    <a:pt x="383667" y="0"/>
                    <a:pt x="432435" y="0"/>
                  </a:cubicBezTo>
                  <a:lnTo>
                    <a:pt x="432435" y="0"/>
                  </a:lnTo>
                  <a:cubicBezTo>
                    <a:pt x="502253" y="0"/>
                    <a:pt x="567595" y="34100"/>
                    <a:pt x="607505" y="91345"/>
                  </a:cubicBezTo>
                  <a:lnTo>
                    <a:pt x="688181" y="207074"/>
                  </a:lnTo>
                  <a:cubicBezTo>
                    <a:pt x="701421" y="226124"/>
                    <a:pt x="708565" y="248698"/>
                    <a:pt x="708565" y="271939"/>
                  </a:cubicBezTo>
                  <a:lnTo>
                    <a:pt x="708565" y="467106"/>
                  </a:lnTo>
                  <a:cubicBezTo>
                    <a:pt x="708565" y="494443"/>
                    <a:pt x="686467" y="516541"/>
                    <a:pt x="659130" y="516541"/>
                  </a:cubicBezTo>
                  <a:lnTo>
                    <a:pt x="659130" y="516541"/>
                  </a:lnTo>
                  <a:cubicBezTo>
                    <a:pt x="607505" y="516541"/>
                    <a:pt x="565690" y="474726"/>
                    <a:pt x="565690" y="423100"/>
                  </a:cubicBezTo>
                  <a:lnTo>
                    <a:pt x="565690" y="315373"/>
                  </a:lnTo>
                  <a:cubicBezTo>
                    <a:pt x="565690" y="303752"/>
                    <a:pt x="559880" y="292894"/>
                    <a:pt x="550164" y="286417"/>
                  </a:cubicBezTo>
                  <a:lnTo>
                    <a:pt x="466820" y="230791"/>
                  </a:lnTo>
                </a:path>
              </a:pathLst>
            </a:custGeom>
            <a:noFill/>
            <a:ln w="15875" cap="rnd">
              <a:solidFill>
                <a:schemeClr val="accent3"/>
              </a:solidFill>
              <a:prstDash val="solid"/>
              <a:round/>
            </a:ln>
          </p:spPr>
          <p:txBody>
            <a:bodyPr rtlCol="0" anchor="ctr"/>
            <a:lstStyle/>
            <a:p>
              <a:endParaRPr lang="en-AR"/>
            </a:p>
          </p:txBody>
        </p:sp>
        <p:sp>
          <p:nvSpPr>
            <p:cNvPr id="42" name="Freeform 41">
              <a:extLst>
                <a:ext uri="{FF2B5EF4-FFF2-40B4-BE49-F238E27FC236}">
                  <a16:creationId xmlns:a16="http://schemas.microsoft.com/office/drawing/2014/main" id="{B3DDC284-FBA7-B6DC-71D4-64E1CCDEE306}"/>
                </a:ext>
              </a:extLst>
            </p:cNvPr>
            <p:cNvSpPr/>
            <p:nvPr/>
          </p:nvSpPr>
          <p:spPr>
            <a:xfrm>
              <a:off x="-1473276" y="4151409"/>
              <a:ext cx="306609" cy="56602"/>
            </a:xfrm>
            <a:custGeom>
              <a:avLst/>
              <a:gdLst>
                <a:gd name="connsiteX0" fmla="*/ 0 w 306609"/>
                <a:gd name="connsiteY0" fmla="*/ 31813 h 56602"/>
                <a:gd name="connsiteX1" fmla="*/ 95726 w 306609"/>
                <a:gd name="connsiteY1" fmla="*/ 51435 h 56602"/>
                <a:gd name="connsiteX2" fmla="*/ 306610 w 306609"/>
                <a:gd name="connsiteY2" fmla="*/ 0 h 56602"/>
              </a:gdLst>
              <a:ahLst/>
              <a:cxnLst>
                <a:cxn ang="0">
                  <a:pos x="connsiteX0" y="connsiteY0"/>
                </a:cxn>
                <a:cxn ang="0">
                  <a:pos x="connsiteX1" y="connsiteY1"/>
                </a:cxn>
                <a:cxn ang="0">
                  <a:pos x="connsiteX2" y="connsiteY2"/>
                </a:cxn>
              </a:cxnLst>
              <a:rect l="l" t="t" r="r" b="b"/>
              <a:pathLst>
                <a:path w="306609" h="56602">
                  <a:moveTo>
                    <a:pt x="0" y="31813"/>
                  </a:moveTo>
                  <a:lnTo>
                    <a:pt x="95726" y="51435"/>
                  </a:lnTo>
                  <a:cubicBezTo>
                    <a:pt x="170212" y="66675"/>
                    <a:pt x="247555" y="47816"/>
                    <a:pt x="306610" y="0"/>
                  </a:cubicBezTo>
                </a:path>
              </a:pathLst>
            </a:custGeom>
            <a:noFill/>
            <a:ln w="15875" cap="rnd">
              <a:solidFill>
                <a:schemeClr val="accent3"/>
              </a:solidFill>
              <a:prstDash val="solid"/>
              <a:round/>
            </a:ln>
          </p:spPr>
          <p:txBody>
            <a:bodyPr rtlCol="0" anchor="ctr"/>
            <a:lstStyle/>
            <a:p>
              <a:endParaRPr lang="en-AR"/>
            </a:p>
          </p:txBody>
        </p:sp>
        <p:sp>
          <p:nvSpPr>
            <p:cNvPr id="43" name="Freeform 42">
              <a:extLst>
                <a:ext uri="{FF2B5EF4-FFF2-40B4-BE49-F238E27FC236}">
                  <a16:creationId xmlns:a16="http://schemas.microsoft.com/office/drawing/2014/main" id="{E230622F-1725-8B51-2F63-6DD76C51CFD5}"/>
                </a:ext>
              </a:extLst>
            </p:cNvPr>
            <p:cNvSpPr/>
            <p:nvPr/>
          </p:nvSpPr>
          <p:spPr>
            <a:xfrm>
              <a:off x="-1000741" y="3949194"/>
              <a:ext cx="499967" cy="129730"/>
            </a:xfrm>
            <a:custGeom>
              <a:avLst/>
              <a:gdLst>
                <a:gd name="connsiteX0" fmla="*/ 450628 w 499967"/>
                <a:gd name="connsiteY0" fmla="*/ 0 h 129730"/>
                <a:gd name="connsiteX1" fmla="*/ 480727 w 499967"/>
                <a:gd name="connsiteY1" fmla="*/ 17240 h 129730"/>
                <a:gd name="connsiteX2" fmla="*/ 499967 w 499967"/>
                <a:gd name="connsiteY2" fmla="*/ 63817 h 129730"/>
                <a:gd name="connsiteX3" fmla="*/ 434054 w 499967"/>
                <a:gd name="connsiteY3" fmla="*/ 129730 h 129730"/>
                <a:gd name="connsiteX4" fmla="*/ 0 w 499967"/>
                <a:gd name="connsiteY4" fmla="*/ 129730 h 12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967" h="129730">
                  <a:moveTo>
                    <a:pt x="450628" y="0"/>
                  </a:moveTo>
                  <a:cubicBezTo>
                    <a:pt x="462153" y="3048"/>
                    <a:pt x="472535" y="9049"/>
                    <a:pt x="480727" y="17240"/>
                  </a:cubicBezTo>
                  <a:cubicBezTo>
                    <a:pt x="492633" y="29146"/>
                    <a:pt x="499967" y="45625"/>
                    <a:pt x="499967" y="63817"/>
                  </a:cubicBezTo>
                  <a:cubicBezTo>
                    <a:pt x="499967" y="100203"/>
                    <a:pt x="470440" y="129730"/>
                    <a:pt x="434054" y="129730"/>
                  </a:cubicBezTo>
                  <a:lnTo>
                    <a:pt x="0" y="129730"/>
                  </a:lnTo>
                </a:path>
              </a:pathLst>
            </a:custGeom>
            <a:noFill/>
            <a:ln w="15875" cap="rnd">
              <a:solidFill>
                <a:schemeClr val="accent3"/>
              </a:solidFill>
              <a:prstDash val="solid"/>
              <a:round/>
            </a:ln>
          </p:spPr>
          <p:txBody>
            <a:bodyPr rtlCol="0" anchor="ctr"/>
            <a:lstStyle/>
            <a:p>
              <a:endParaRPr lang="en-AR"/>
            </a:p>
          </p:txBody>
        </p:sp>
        <p:sp>
          <p:nvSpPr>
            <p:cNvPr id="44" name="Freeform 43">
              <a:extLst>
                <a:ext uri="{FF2B5EF4-FFF2-40B4-BE49-F238E27FC236}">
                  <a16:creationId xmlns:a16="http://schemas.microsoft.com/office/drawing/2014/main" id="{EFCAD247-1EE4-6561-3D38-60A01592C83C}"/>
                </a:ext>
              </a:extLst>
            </p:cNvPr>
            <p:cNvSpPr/>
            <p:nvPr/>
          </p:nvSpPr>
          <p:spPr>
            <a:xfrm>
              <a:off x="-1099611" y="3947003"/>
              <a:ext cx="441293" cy="190"/>
            </a:xfrm>
            <a:custGeom>
              <a:avLst/>
              <a:gdLst>
                <a:gd name="connsiteX0" fmla="*/ 441293 w 441293"/>
                <a:gd name="connsiteY0" fmla="*/ 191 h 190"/>
                <a:gd name="connsiteX1" fmla="*/ 0 w 441293"/>
                <a:gd name="connsiteY1" fmla="*/ 0 h 190"/>
              </a:gdLst>
              <a:ahLst/>
              <a:cxnLst>
                <a:cxn ang="0">
                  <a:pos x="connsiteX0" y="connsiteY0"/>
                </a:cxn>
                <a:cxn ang="0">
                  <a:pos x="connsiteX1" y="connsiteY1"/>
                </a:cxn>
              </a:cxnLst>
              <a:rect l="l" t="t" r="r" b="b"/>
              <a:pathLst>
                <a:path w="441293" h="190">
                  <a:moveTo>
                    <a:pt x="441293" y="191"/>
                  </a:moveTo>
                  <a:lnTo>
                    <a:pt x="0" y="0"/>
                  </a:lnTo>
                </a:path>
              </a:pathLst>
            </a:custGeom>
            <a:ln w="15875" cap="rnd">
              <a:solidFill>
                <a:schemeClr val="accent3"/>
              </a:solidFill>
              <a:prstDash val="solid"/>
              <a:round/>
            </a:ln>
          </p:spPr>
          <p:txBody>
            <a:bodyPr rtlCol="0" anchor="ctr"/>
            <a:lstStyle/>
            <a:p>
              <a:endParaRPr lang="en-AR"/>
            </a:p>
          </p:txBody>
        </p:sp>
        <p:sp>
          <p:nvSpPr>
            <p:cNvPr id="45" name="Freeform 44">
              <a:extLst>
                <a:ext uri="{FF2B5EF4-FFF2-40B4-BE49-F238E27FC236}">
                  <a16:creationId xmlns:a16="http://schemas.microsoft.com/office/drawing/2014/main" id="{43BBF671-2342-3CF9-A1DD-777D88A0C4ED}"/>
                </a:ext>
              </a:extLst>
            </p:cNvPr>
            <p:cNvSpPr/>
            <p:nvPr/>
          </p:nvSpPr>
          <p:spPr>
            <a:xfrm>
              <a:off x="-967785" y="4079019"/>
              <a:ext cx="225361" cy="131635"/>
            </a:xfrm>
            <a:custGeom>
              <a:avLst/>
              <a:gdLst>
                <a:gd name="connsiteX0" fmla="*/ 159544 w 225361"/>
                <a:gd name="connsiteY0" fmla="*/ 0 h 131635"/>
                <a:gd name="connsiteX1" fmla="*/ 225362 w 225361"/>
                <a:gd name="connsiteY1" fmla="*/ 65818 h 131635"/>
                <a:gd name="connsiteX2" fmla="*/ 225362 w 225361"/>
                <a:gd name="connsiteY2" fmla="*/ 65818 h 131635"/>
                <a:gd name="connsiteX3" fmla="*/ 159449 w 225361"/>
                <a:gd name="connsiteY3" fmla="*/ 131636 h 131635"/>
                <a:gd name="connsiteX4" fmla="*/ 0 w 225361"/>
                <a:gd name="connsiteY4" fmla="*/ 131636 h 131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361" h="131635">
                  <a:moveTo>
                    <a:pt x="159544" y="0"/>
                  </a:moveTo>
                  <a:cubicBezTo>
                    <a:pt x="195929" y="0"/>
                    <a:pt x="225362" y="29528"/>
                    <a:pt x="225362" y="65818"/>
                  </a:cubicBezTo>
                  <a:lnTo>
                    <a:pt x="225362" y="65818"/>
                  </a:lnTo>
                  <a:cubicBezTo>
                    <a:pt x="225362" y="102203"/>
                    <a:pt x="195834" y="131636"/>
                    <a:pt x="159449" y="131636"/>
                  </a:cubicBezTo>
                  <a:lnTo>
                    <a:pt x="0" y="131636"/>
                  </a:lnTo>
                </a:path>
              </a:pathLst>
            </a:custGeom>
            <a:noFill/>
            <a:ln w="15875" cap="rnd">
              <a:solidFill>
                <a:schemeClr val="accent3"/>
              </a:solidFill>
              <a:prstDash val="solid"/>
              <a:round/>
            </a:ln>
          </p:spPr>
          <p:txBody>
            <a:bodyPr rtlCol="0" anchor="ctr"/>
            <a:lstStyle/>
            <a:p>
              <a:endParaRPr lang="en-AR"/>
            </a:p>
          </p:txBody>
        </p:sp>
        <p:sp>
          <p:nvSpPr>
            <p:cNvPr id="62" name="Freeform 61">
              <a:extLst>
                <a:ext uri="{FF2B5EF4-FFF2-40B4-BE49-F238E27FC236}">
                  <a16:creationId xmlns:a16="http://schemas.microsoft.com/office/drawing/2014/main" id="{C13F7968-3F7F-DE46-AC85-A8737D0D8180}"/>
                </a:ext>
              </a:extLst>
            </p:cNvPr>
            <p:cNvSpPr/>
            <p:nvPr/>
          </p:nvSpPr>
          <p:spPr>
            <a:xfrm>
              <a:off x="-967785" y="4210845"/>
              <a:ext cx="170402" cy="131730"/>
            </a:xfrm>
            <a:custGeom>
              <a:avLst/>
              <a:gdLst>
                <a:gd name="connsiteX0" fmla="*/ 104680 w 170402"/>
                <a:gd name="connsiteY0" fmla="*/ 0 h 131730"/>
                <a:gd name="connsiteX1" fmla="*/ 170402 w 170402"/>
                <a:gd name="connsiteY1" fmla="*/ 65818 h 131730"/>
                <a:gd name="connsiteX2" fmla="*/ 170402 w 170402"/>
                <a:gd name="connsiteY2" fmla="*/ 65818 h 131730"/>
                <a:gd name="connsiteX3" fmla="*/ 104489 w 170402"/>
                <a:gd name="connsiteY3" fmla="*/ 131731 h 131730"/>
                <a:gd name="connsiteX4" fmla="*/ 0 w 170402"/>
                <a:gd name="connsiteY4" fmla="*/ 131731 h 13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402" h="131730">
                  <a:moveTo>
                    <a:pt x="104680" y="0"/>
                  </a:moveTo>
                  <a:cubicBezTo>
                    <a:pt x="140970" y="0"/>
                    <a:pt x="170498" y="29528"/>
                    <a:pt x="170402" y="65818"/>
                  </a:cubicBezTo>
                  <a:lnTo>
                    <a:pt x="170402" y="65818"/>
                  </a:lnTo>
                  <a:cubicBezTo>
                    <a:pt x="170402" y="102203"/>
                    <a:pt x="140875" y="131731"/>
                    <a:pt x="104489" y="131731"/>
                  </a:cubicBezTo>
                  <a:lnTo>
                    <a:pt x="0" y="131731"/>
                  </a:lnTo>
                </a:path>
              </a:pathLst>
            </a:custGeom>
            <a:noFill/>
            <a:ln w="15875" cap="rnd">
              <a:solidFill>
                <a:schemeClr val="accent3"/>
              </a:solidFill>
              <a:prstDash val="solid"/>
              <a:round/>
            </a:ln>
          </p:spPr>
          <p:txBody>
            <a:bodyPr rtlCol="0" anchor="ctr"/>
            <a:lstStyle/>
            <a:p>
              <a:endParaRPr lang="en-AR"/>
            </a:p>
          </p:txBody>
        </p:sp>
        <p:sp>
          <p:nvSpPr>
            <p:cNvPr id="113" name="Freeform 112">
              <a:extLst>
                <a:ext uri="{FF2B5EF4-FFF2-40B4-BE49-F238E27FC236}">
                  <a16:creationId xmlns:a16="http://schemas.microsoft.com/office/drawing/2014/main" id="{D20B00C7-3028-994A-8152-82BB33AADC3D}"/>
                </a:ext>
              </a:extLst>
            </p:cNvPr>
            <p:cNvSpPr/>
            <p:nvPr/>
          </p:nvSpPr>
          <p:spPr>
            <a:xfrm>
              <a:off x="-1132567" y="4353149"/>
              <a:ext cx="65912" cy="121253"/>
            </a:xfrm>
            <a:custGeom>
              <a:avLst/>
              <a:gdLst>
                <a:gd name="connsiteX0" fmla="*/ 65913 w 65912"/>
                <a:gd name="connsiteY0" fmla="*/ 121253 h 121253"/>
                <a:gd name="connsiteX1" fmla="*/ 0 w 65912"/>
                <a:gd name="connsiteY1" fmla="*/ 55340 h 121253"/>
                <a:gd name="connsiteX2" fmla="*/ 19240 w 65912"/>
                <a:gd name="connsiteY2" fmla="*/ 8763 h 121253"/>
                <a:gd name="connsiteX3" fmla="*/ 30099 w 65912"/>
                <a:gd name="connsiteY3" fmla="*/ 0 h 121253"/>
              </a:gdLst>
              <a:ahLst/>
              <a:cxnLst>
                <a:cxn ang="0">
                  <a:pos x="connsiteX0" y="connsiteY0"/>
                </a:cxn>
                <a:cxn ang="0">
                  <a:pos x="connsiteX1" y="connsiteY1"/>
                </a:cxn>
                <a:cxn ang="0">
                  <a:pos x="connsiteX2" y="connsiteY2"/>
                </a:cxn>
                <a:cxn ang="0">
                  <a:pos x="connsiteX3" y="connsiteY3"/>
                </a:cxn>
              </a:cxnLst>
              <a:rect l="l" t="t" r="r" b="b"/>
              <a:pathLst>
                <a:path w="65912" h="121253">
                  <a:moveTo>
                    <a:pt x="65913" y="121253"/>
                  </a:moveTo>
                  <a:cubicBezTo>
                    <a:pt x="29527" y="121253"/>
                    <a:pt x="0" y="91726"/>
                    <a:pt x="0" y="55340"/>
                  </a:cubicBezTo>
                  <a:cubicBezTo>
                    <a:pt x="0" y="37243"/>
                    <a:pt x="7334" y="20765"/>
                    <a:pt x="19240" y="8763"/>
                  </a:cubicBezTo>
                  <a:cubicBezTo>
                    <a:pt x="22574" y="5429"/>
                    <a:pt x="26194" y="2477"/>
                    <a:pt x="30099" y="0"/>
                  </a:cubicBezTo>
                </a:path>
              </a:pathLst>
            </a:custGeom>
            <a:noFill/>
            <a:ln w="15875" cap="rnd">
              <a:solidFill>
                <a:schemeClr val="accent3"/>
              </a:solidFill>
              <a:prstDash val="solid"/>
              <a:round/>
            </a:ln>
          </p:spPr>
          <p:txBody>
            <a:bodyPr rtlCol="0" anchor="ctr"/>
            <a:lstStyle/>
            <a:p>
              <a:endParaRPr lang="en-AR"/>
            </a:p>
          </p:txBody>
        </p:sp>
        <p:sp>
          <p:nvSpPr>
            <p:cNvPr id="114" name="Freeform 113">
              <a:extLst>
                <a:ext uri="{FF2B5EF4-FFF2-40B4-BE49-F238E27FC236}">
                  <a16:creationId xmlns:a16="http://schemas.microsoft.com/office/drawing/2014/main" id="{52359AD5-7257-B9D7-5F53-DE1BE33D4DD0}"/>
                </a:ext>
              </a:extLst>
            </p:cNvPr>
            <p:cNvSpPr/>
            <p:nvPr/>
          </p:nvSpPr>
          <p:spPr>
            <a:xfrm>
              <a:off x="-1066654" y="4342862"/>
              <a:ext cx="192404" cy="131540"/>
            </a:xfrm>
            <a:custGeom>
              <a:avLst/>
              <a:gdLst>
                <a:gd name="connsiteX0" fmla="*/ 131826 w 192404"/>
                <a:gd name="connsiteY0" fmla="*/ 0 h 131540"/>
                <a:gd name="connsiteX1" fmla="*/ 192405 w 192404"/>
                <a:gd name="connsiteY1" fmla="*/ 65627 h 131540"/>
                <a:gd name="connsiteX2" fmla="*/ 173069 w 192404"/>
                <a:gd name="connsiteY2" fmla="*/ 112300 h 131540"/>
                <a:gd name="connsiteX3" fmla="*/ 126397 w 192404"/>
                <a:gd name="connsiteY3" fmla="*/ 131540 h 131540"/>
                <a:gd name="connsiteX4" fmla="*/ 0 w 192404"/>
                <a:gd name="connsiteY4" fmla="*/ 131540 h 131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404" h="131540">
                  <a:moveTo>
                    <a:pt x="131826" y="0"/>
                  </a:moveTo>
                  <a:cubicBezTo>
                    <a:pt x="165735" y="2667"/>
                    <a:pt x="192405" y="31052"/>
                    <a:pt x="192405" y="65627"/>
                  </a:cubicBezTo>
                  <a:cubicBezTo>
                    <a:pt x="192405" y="83820"/>
                    <a:pt x="184975" y="100394"/>
                    <a:pt x="173069" y="112300"/>
                  </a:cubicBezTo>
                  <a:cubicBezTo>
                    <a:pt x="161068" y="124206"/>
                    <a:pt x="144589" y="131540"/>
                    <a:pt x="126397" y="131540"/>
                  </a:cubicBezTo>
                  <a:lnTo>
                    <a:pt x="0" y="131540"/>
                  </a:lnTo>
                </a:path>
              </a:pathLst>
            </a:custGeom>
            <a:noFill/>
            <a:ln w="15875" cap="rnd">
              <a:solidFill>
                <a:schemeClr val="accent3"/>
              </a:solidFill>
              <a:prstDash val="solid"/>
              <a:round/>
            </a:ln>
          </p:spPr>
          <p:txBody>
            <a:bodyPr rtlCol="0" anchor="ctr"/>
            <a:lstStyle/>
            <a:p>
              <a:endParaRPr lang="en-AR"/>
            </a:p>
          </p:txBody>
        </p:sp>
        <p:sp>
          <p:nvSpPr>
            <p:cNvPr id="115" name="Freeform 114">
              <a:extLst>
                <a:ext uri="{FF2B5EF4-FFF2-40B4-BE49-F238E27FC236}">
                  <a16:creationId xmlns:a16="http://schemas.microsoft.com/office/drawing/2014/main" id="{4AD06C4A-9C08-8C48-8ABF-8EDBE5FCEE06}"/>
                </a:ext>
              </a:extLst>
            </p:cNvPr>
            <p:cNvSpPr/>
            <p:nvPr/>
          </p:nvSpPr>
          <p:spPr>
            <a:xfrm>
              <a:off x="-1676540" y="4397535"/>
              <a:ext cx="598836" cy="76866"/>
            </a:xfrm>
            <a:custGeom>
              <a:avLst/>
              <a:gdLst>
                <a:gd name="connsiteX0" fmla="*/ 598837 w 598836"/>
                <a:gd name="connsiteY0" fmla="*/ 76867 h 76866"/>
                <a:gd name="connsiteX1" fmla="*/ 440912 w 598836"/>
                <a:gd name="connsiteY1" fmla="*/ 76867 h 76866"/>
                <a:gd name="connsiteX2" fmla="*/ 332708 w 598836"/>
                <a:gd name="connsiteY2" fmla="*/ 54864 h 76866"/>
                <a:gd name="connsiteX3" fmla="*/ 255175 w 598836"/>
                <a:gd name="connsiteY3" fmla="*/ 22003 h 76866"/>
                <a:gd name="connsiteX4" fmla="*/ 146971 w 598836"/>
                <a:gd name="connsiteY4" fmla="*/ 0 h 76866"/>
                <a:gd name="connsiteX5" fmla="*/ 0 w 598836"/>
                <a:gd name="connsiteY5" fmla="*/ 0 h 7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8836" h="76866">
                  <a:moveTo>
                    <a:pt x="598837" y="76867"/>
                  </a:moveTo>
                  <a:lnTo>
                    <a:pt x="440912" y="76867"/>
                  </a:lnTo>
                  <a:cubicBezTo>
                    <a:pt x="403765" y="76867"/>
                    <a:pt x="366903" y="69342"/>
                    <a:pt x="332708" y="54864"/>
                  </a:cubicBezTo>
                  <a:lnTo>
                    <a:pt x="255175" y="22003"/>
                  </a:lnTo>
                  <a:cubicBezTo>
                    <a:pt x="220980" y="7525"/>
                    <a:pt x="184118" y="0"/>
                    <a:pt x="146971" y="0"/>
                  </a:cubicBezTo>
                  <a:lnTo>
                    <a:pt x="0" y="0"/>
                  </a:lnTo>
                </a:path>
              </a:pathLst>
            </a:custGeom>
            <a:noFill/>
            <a:ln w="15875" cap="rnd">
              <a:solidFill>
                <a:schemeClr val="accent3"/>
              </a:solidFill>
              <a:prstDash val="solid"/>
              <a:round/>
            </a:ln>
          </p:spPr>
          <p:txBody>
            <a:bodyPr rtlCol="0" anchor="ctr"/>
            <a:lstStyle/>
            <a:p>
              <a:endParaRPr lang="en-AR"/>
            </a:p>
          </p:txBody>
        </p:sp>
        <p:sp>
          <p:nvSpPr>
            <p:cNvPr id="116" name="Freeform 115">
              <a:extLst>
                <a:ext uri="{FF2B5EF4-FFF2-40B4-BE49-F238E27FC236}">
                  <a16:creationId xmlns:a16="http://schemas.microsoft.com/office/drawing/2014/main" id="{ED22666B-A1BB-565D-64CF-AD177ABA8416}"/>
                </a:ext>
              </a:extLst>
            </p:cNvPr>
            <p:cNvSpPr/>
            <p:nvPr/>
          </p:nvSpPr>
          <p:spPr>
            <a:xfrm>
              <a:off x="-817861" y="3288158"/>
              <a:ext cx="418719" cy="542258"/>
            </a:xfrm>
            <a:custGeom>
              <a:avLst/>
              <a:gdLst>
                <a:gd name="connsiteX0" fmla="*/ 159353 w 418719"/>
                <a:gd name="connsiteY0" fmla="*/ 542258 h 542258"/>
                <a:gd name="connsiteX1" fmla="*/ 381 w 418719"/>
                <a:gd name="connsiteY1" fmla="*/ 339471 h 542258"/>
                <a:gd name="connsiteX2" fmla="*/ 0 w 418719"/>
                <a:gd name="connsiteY2" fmla="*/ 77438 h 542258"/>
                <a:gd name="connsiteX3" fmla="*/ 76867 w 418719"/>
                <a:gd name="connsiteY3" fmla="*/ 381 h 542258"/>
                <a:gd name="connsiteX4" fmla="*/ 341281 w 418719"/>
                <a:gd name="connsiteY4" fmla="*/ 0 h 542258"/>
                <a:gd name="connsiteX5" fmla="*/ 418338 w 418719"/>
                <a:gd name="connsiteY5" fmla="*/ 76867 h 542258"/>
                <a:gd name="connsiteX6" fmla="*/ 418719 w 418719"/>
                <a:gd name="connsiteY6" fmla="*/ 338900 h 542258"/>
                <a:gd name="connsiteX7" fmla="*/ 267557 w 418719"/>
                <a:gd name="connsiteY7" fmla="*/ 540258 h 54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719" h="542258">
                  <a:moveTo>
                    <a:pt x="159353" y="542258"/>
                  </a:moveTo>
                  <a:cubicBezTo>
                    <a:pt x="68199" y="519875"/>
                    <a:pt x="476" y="437579"/>
                    <a:pt x="381" y="339471"/>
                  </a:cubicBezTo>
                  <a:lnTo>
                    <a:pt x="0" y="77438"/>
                  </a:lnTo>
                  <a:cubicBezTo>
                    <a:pt x="0" y="34957"/>
                    <a:pt x="34385" y="476"/>
                    <a:pt x="76867" y="381"/>
                  </a:cubicBezTo>
                  <a:lnTo>
                    <a:pt x="341281" y="0"/>
                  </a:lnTo>
                  <a:cubicBezTo>
                    <a:pt x="383762" y="0"/>
                    <a:pt x="418243" y="34385"/>
                    <a:pt x="418338" y="76867"/>
                  </a:cubicBezTo>
                  <a:lnTo>
                    <a:pt x="418719" y="338900"/>
                  </a:lnTo>
                  <a:cubicBezTo>
                    <a:pt x="418909" y="434435"/>
                    <a:pt x="354997" y="515112"/>
                    <a:pt x="267557" y="540258"/>
                  </a:cubicBezTo>
                </a:path>
              </a:pathLst>
            </a:custGeom>
            <a:noFill/>
            <a:ln w="15875" cap="rnd">
              <a:solidFill>
                <a:schemeClr val="accent3"/>
              </a:solidFill>
              <a:prstDash val="solid"/>
              <a:round/>
            </a:ln>
          </p:spPr>
          <p:txBody>
            <a:bodyPr rtlCol="0" anchor="ctr"/>
            <a:lstStyle/>
            <a:p>
              <a:endParaRPr lang="en-AR"/>
            </a:p>
          </p:txBody>
        </p:sp>
        <p:sp>
          <p:nvSpPr>
            <p:cNvPr id="117" name="Freeform 116">
              <a:extLst>
                <a:ext uri="{FF2B5EF4-FFF2-40B4-BE49-F238E27FC236}">
                  <a16:creationId xmlns:a16="http://schemas.microsoft.com/office/drawing/2014/main" id="{979511C4-DBE4-ED87-A304-9797F9F8B05D}"/>
                </a:ext>
              </a:extLst>
            </p:cNvPr>
            <p:cNvSpPr/>
            <p:nvPr/>
          </p:nvSpPr>
          <p:spPr>
            <a:xfrm rot="21594600">
              <a:off x="-751320" y="3381938"/>
              <a:ext cx="285654" cy="144208"/>
            </a:xfrm>
            <a:custGeom>
              <a:avLst/>
              <a:gdLst>
                <a:gd name="connsiteX0" fmla="*/ 0 w 285654"/>
                <a:gd name="connsiteY0" fmla="*/ 0 h 144208"/>
                <a:gd name="connsiteX1" fmla="*/ 285655 w 285654"/>
                <a:gd name="connsiteY1" fmla="*/ 0 h 144208"/>
                <a:gd name="connsiteX2" fmla="*/ 285655 w 285654"/>
                <a:gd name="connsiteY2" fmla="*/ 144209 h 144208"/>
                <a:gd name="connsiteX3" fmla="*/ 0 w 285654"/>
                <a:gd name="connsiteY3" fmla="*/ 144209 h 144208"/>
              </a:gdLst>
              <a:ahLst/>
              <a:cxnLst>
                <a:cxn ang="0">
                  <a:pos x="connsiteX0" y="connsiteY0"/>
                </a:cxn>
                <a:cxn ang="0">
                  <a:pos x="connsiteX1" y="connsiteY1"/>
                </a:cxn>
                <a:cxn ang="0">
                  <a:pos x="connsiteX2" y="connsiteY2"/>
                </a:cxn>
                <a:cxn ang="0">
                  <a:pos x="connsiteX3" y="connsiteY3"/>
                </a:cxn>
              </a:cxnLst>
              <a:rect l="l" t="t" r="r" b="b"/>
              <a:pathLst>
                <a:path w="285654" h="144208">
                  <a:moveTo>
                    <a:pt x="0" y="0"/>
                  </a:moveTo>
                  <a:lnTo>
                    <a:pt x="285655" y="0"/>
                  </a:lnTo>
                  <a:lnTo>
                    <a:pt x="285655" y="144209"/>
                  </a:lnTo>
                  <a:lnTo>
                    <a:pt x="0" y="144209"/>
                  </a:lnTo>
                  <a:close/>
                </a:path>
              </a:pathLst>
            </a:custGeom>
            <a:noFill/>
            <a:ln w="15875" cap="rnd">
              <a:solidFill>
                <a:schemeClr val="accent3"/>
              </a:solidFill>
              <a:prstDash val="solid"/>
              <a:round/>
            </a:ln>
          </p:spPr>
          <p:txBody>
            <a:bodyPr rtlCol="0" anchor="ctr"/>
            <a:lstStyle/>
            <a:p>
              <a:endParaRPr lang="en-AR"/>
            </a:p>
          </p:txBody>
        </p:sp>
        <p:sp>
          <p:nvSpPr>
            <p:cNvPr id="118" name="Freeform 117">
              <a:extLst>
                <a:ext uri="{FF2B5EF4-FFF2-40B4-BE49-F238E27FC236}">
                  <a16:creationId xmlns:a16="http://schemas.microsoft.com/office/drawing/2014/main" id="{C230C27F-E896-9965-B9EB-BD99402A275A}"/>
                </a:ext>
              </a:extLst>
            </p:cNvPr>
            <p:cNvSpPr/>
            <p:nvPr/>
          </p:nvSpPr>
          <p:spPr>
            <a:xfrm>
              <a:off x="-745376" y="3591339"/>
              <a:ext cx="115442" cy="115442"/>
            </a:xfrm>
            <a:custGeom>
              <a:avLst/>
              <a:gdLst>
                <a:gd name="connsiteX0" fmla="*/ 115443 w 115442"/>
                <a:gd name="connsiteY0" fmla="*/ 57626 h 115442"/>
                <a:gd name="connsiteX1" fmla="*/ 57817 w 115442"/>
                <a:gd name="connsiteY1" fmla="*/ 115443 h 115442"/>
                <a:gd name="connsiteX2" fmla="*/ 0 w 115442"/>
                <a:gd name="connsiteY2" fmla="*/ 57817 h 115442"/>
                <a:gd name="connsiteX3" fmla="*/ 57626 w 115442"/>
                <a:gd name="connsiteY3" fmla="*/ 0 h 115442"/>
                <a:gd name="connsiteX4" fmla="*/ 115443 w 115442"/>
                <a:gd name="connsiteY4" fmla="*/ 57626 h 115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42" h="115442">
                  <a:moveTo>
                    <a:pt x="115443" y="57626"/>
                  </a:moveTo>
                  <a:cubicBezTo>
                    <a:pt x="115443" y="89535"/>
                    <a:pt x="89725" y="115348"/>
                    <a:pt x="57817" y="115443"/>
                  </a:cubicBezTo>
                  <a:cubicBezTo>
                    <a:pt x="25908" y="115443"/>
                    <a:pt x="95" y="89725"/>
                    <a:pt x="0" y="57817"/>
                  </a:cubicBezTo>
                  <a:cubicBezTo>
                    <a:pt x="0" y="25908"/>
                    <a:pt x="25717" y="95"/>
                    <a:pt x="57626" y="0"/>
                  </a:cubicBezTo>
                  <a:cubicBezTo>
                    <a:pt x="89535" y="0"/>
                    <a:pt x="115348" y="25717"/>
                    <a:pt x="115443" y="57626"/>
                  </a:cubicBezTo>
                  <a:close/>
                </a:path>
              </a:pathLst>
            </a:custGeom>
            <a:noFill/>
            <a:ln w="15875" cap="rnd">
              <a:solidFill>
                <a:schemeClr val="accent3"/>
              </a:solidFill>
              <a:prstDash val="solid"/>
              <a:round/>
            </a:ln>
          </p:spPr>
          <p:txBody>
            <a:bodyPr rtlCol="0" anchor="ctr"/>
            <a:lstStyle/>
            <a:p>
              <a:endParaRPr lang="en-AR"/>
            </a:p>
          </p:txBody>
        </p:sp>
        <p:sp>
          <p:nvSpPr>
            <p:cNvPr id="119" name="Freeform 118">
              <a:extLst>
                <a:ext uri="{FF2B5EF4-FFF2-40B4-BE49-F238E27FC236}">
                  <a16:creationId xmlns:a16="http://schemas.microsoft.com/office/drawing/2014/main" id="{5A454211-9922-A343-F277-61BF7D3D6456}"/>
                </a:ext>
              </a:extLst>
            </p:cNvPr>
            <p:cNvSpPr/>
            <p:nvPr/>
          </p:nvSpPr>
          <p:spPr>
            <a:xfrm>
              <a:off x="-579451" y="3591149"/>
              <a:ext cx="115443" cy="115443"/>
            </a:xfrm>
            <a:custGeom>
              <a:avLst/>
              <a:gdLst>
                <a:gd name="connsiteX0" fmla="*/ 115443 w 115443"/>
                <a:gd name="connsiteY0" fmla="*/ 57626 h 115443"/>
                <a:gd name="connsiteX1" fmla="*/ 57817 w 115443"/>
                <a:gd name="connsiteY1" fmla="*/ 115443 h 115443"/>
                <a:gd name="connsiteX2" fmla="*/ 0 w 115443"/>
                <a:gd name="connsiteY2" fmla="*/ 57817 h 115443"/>
                <a:gd name="connsiteX3" fmla="*/ 57626 w 115443"/>
                <a:gd name="connsiteY3" fmla="*/ 0 h 115443"/>
                <a:gd name="connsiteX4" fmla="*/ 115443 w 115443"/>
                <a:gd name="connsiteY4" fmla="*/ 57626 h 115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43" h="115443">
                  <a:moveTo>
                    <a:pt x="115443" y="57626"/>
                  </a:moveTo>
                  <a:cubicBezTo>
                    <a:pt x="115443" y="89535"/>
                    <a:pt x="89725" y="115348"/>
                    <a:pt x="57817" y="115443"/>
                  </a:cubicBezTo>
                  <a:cubicBezTo>
                    <a:pt x="25908" y="115443"/>
                    <a:pt x="95" y="89725"/>
                    <a:pt x="0" y="57817"/>
                  </a:cubicBezTo>
                  <a:cubicBezTo>
                    <a:pt x="0" y="25908"/>
                    <a:pt x="25717" y="95"/>
                    <a:pt x="57626" y="0"/>
                  </a:cubicBezTo>
                  <a:cubicBezTo>
                    <a:pt x="89535" y="0"/>
                    <a:pt x="115348" y="25717"/>
                    <a:pt x="115443" y="57626"/>
                  </a:cubicBezTo>
                  <a:close/>
                </a:path>
              </a:pathLst>
            </a:custGeom>
            <a:noFill/>
            <a:ln w="15875" cap="rnd">
              <a:solidFill>
                <a:schemeClr val="accent3"/>
              </a:solidFill>
              <a:prstDash val="solid"/>
              <a:round/>
            </a:ln>
          </p:spPr>
          <p:txBody>
            <a:bodyPr rtlCol="0" anchor="ctr"/>
            <a:lstStyle/>
            <a:p>
              <a:endParaRPr lang="en-AR"/>
            </a:p>
          </p:txBody>
        </p:sp>
        <p:sp>
          <p:nvSpPr>
            <p:cNvPr id="120" name="Freeform 119">
              <a:extLst>
                <a:ext uri="{FF2B5EF4-FFF2-40B4-BE49-F238E27FC236}">
                  <a16:creationId xmlns:a16="http://schemas.microsoft.com/office/drawing/2014/main" id="{1E14DCC4-14F2-58E9-4FA1-2F0ACA061789}"/>
                </a:ext>
              </a:extLst>
            </p:cNvPr>
            <p:cNvSpPr/>
            <p:nvPr/>
          </p:nvSpPr>
          <p:spPr>
            <a:xfrm rot="21594600">
              <a:off x="-658461" y="3742643"/>
              <a:ext cx="108204" cy="259651"/>
            </a:xfrm>
            <a:custGeom>
              <a:avLst/>
              <a:gdLst>
                <a:gd name="connsiteX0" fmla="*/ 4477 w 108204"/>
                <a:gd name="connsiteY0" fmla="*/ 0 h 259651"/>
                <a:gd name="connsiteX1" fmla="*/ 103823 w 108204"/>
                <a:gd name="connsiteY1" fmla="*/ 0 h 259651"/>
                <a:gd name="connsiteX2" fmla="*/ 108204 w 108204"/>
                <a:gd name="connsiteY2" fmla="*/ 4382 h 259651"/>
                <a:gd name="connsiteX3" fmla="*/ 108204 w 108204"/>
                <a:gd name="connsiteY3" fmla="*/ 205550 h 259651"/>
                <a:gd name="connsiteX4" fmla="*/ 54102 w 108204"/>
                <a:gd name="connsiteY4" fmla="*/ 259652 h 259651"/>
                <a:gd name="connsiteX5" fmla="*/ 54102 w 108204"/>
                <a:gd name="connsiteY5" fmla="*/ 259652 h 259651"/>
                <a:gd name="connsiteX6" fmla="*/ 0 w 108204"/>
                <a:gd name="connsiteY6" fmla="*/ 205550 h 259651"/>
                <a:gd name="connsiteX7" fmla="*/ 0 w 108204"/>
                <a:gd name="connsiteY7" fmla="*/ 4382 h 259651"/>
                <a:gd name="connsiteX8" fmla="*/ 4382 w 108204"/>
                <a:gd name="connsiteY8" fmla="*/ 0 h 25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204" h="259651">
                  <a:moveTo>
                    <a:pt x="4477" y="0"/>
                  </a:moveTo>
                  <a:lnTo>
                    <a:pt x="103823" y="0"/>
                  </a:lnTo>
                  <a:cubicBezTo>
                    <a:pt x="106299" y="0"/>
                    <a:pt x="108204" y="2000"/>
                    <a:pt x="108204" y="4382"/>
                  </a:cubicBezTo>
                  <a:lnTo>
                    <a:pt x="108204" y="205550"/>
                  </a:lnTo>
                  <a:cubicBezTo>
                    <a:pt x="108204" y="235363"/>
                    <a:pt x="84011" y="259652"/>
                    <a:pt x="54102" y="259652"/>
                  </a:cubicBezTo>
                  <a:lnTo>
                    <a:pt x="54102" y="259652"/>
                  </a:lnTo>
                  <a:cubicBezTo>
                    <a:pt x="24289" y="259652"/>
                    <a:pt x="0" y="235458"/>
                    <a:pt x="0" y="205550"/>
                  </a:cubicBezTo>
                  <a:lnTo>
                    <a:pt x="0" y="4382"/>
                  </a:lnTo>
                  <a:cubicBezTo>
                    <a:pt x="0" y="1905"/>
                    <a:pt x="2000" y="0"/>
                    <a:pt x="4382" y="0"/>
                  </a:cubicBezTo>
                  <a:close/>
                </a:path>
              </a:pathLst>
            </a:custGeom>
            <a:noFill/>
            <a:ln w="15875" cap="rnd">
              <a:solidFill>
                <a:schemeClr val="accent3"/>
              </a:solidFill>
              <a:prstDash val="solid"/>
              <a:round/>
            </a:ln>
          </p:spPr>
          <p:txBody>
            <a:bodyPr rtlCol="0" anchor="ctr"/>
            <a:lstStyle/>
            <a:p>
              <a:endParaRPr lang="en-AR"/>
            </a:p>
          </p:txBody>
        </p:sp>
      </p:grpSp>
      <p:sp>
        <p:nvSpPr>
          <p:cNvPr id="67" name="Rectangle 66">
            <a:extLst>
              <a:ext uri="{FF2B5EF4-FFF2-40B4-BE49-F238E27FC236}">
                <a16:creationId xmlns:a16="http://schemas.microsoft.com/office/drawing/2014/main" id="{F14C36C3-4DB7-F30B-0E63-9DCEF2103693}"/>
              </a:ext>
            </a:extLst>
          </p:cNvPr>
          <p:cNvSpPr/>
          <p:nvPr/>
        </p:nvSpPr>
        <p:spPr>
          <a:xfrm>
            <a:off x="3411818" y="3110267"/>
            <a:ext cx="2380860" cy="49037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506" tIns="105728" rIns="197358" bIns="105728" numCol="1" spcCol="1270" anchor="ctr" anchorCtr="0">
            <a:noAutofit/>
          </a:bodyPr>
          <a:lstStyle/>
          <a:p>
            <a:pPr defTabSz="1233488">
              <a:lnSpc>
                <a:spcPct val="90000"/>
              </a:lnSpc>
              <a:spcBef>
                <a:spcPct val="0"/>
              </a:spcBef>
              <a:spcAft>
                <a:spcPct val="35000"/>
              </a:spcAft>
            </a:pPr>
            <a:endParaRPr lang="en-GB" sz="1600"/>
          </a:p>
        </p:txBody>
      </p:sp>
      <p:sp>
        <p:nvSpPr>
          <p:cNvPr id="68" name="Rectangle 67">
            <a:extLst>
              <a:ext uri="{FF2B5EF4-FFF2-40B4-BE49-F238E27FC236}">
                <a16:creationId xmlns:a16="http://schemas.microsoft.com/office/drawing/2014/main" id="{9314EF4F-7533-0CF3-7CF5-5877713D7E40}"/>
              </a:ext>
            </a:extLst>
          </p:cNvPr>
          <p:cNvSpPr/>
          <p:nvPr/>
        </p:nvSpPr>
        <p:spPr>
          <a:xfrm>
            <a:off x="4072129" y="3107408"/>
            <a:ext cx="1828799" cy="498466"/>
          </a:xfrm>
          <a:prstGeom prst="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0" tIns="80011" rIns="149352" bIns="80010" numCol="1" spcCol="1270" anchor="ctr" anchorCtr="0">
            <a:noAutofit/>
          </a:bodyPr>
          <a:lstStyle/>
          <a:p>
            <a:pPr defTabSz="933450">
              <a:lnSpc>
                <a:spcPct val="90000"/>
              </a:lnSpc>
              <a:spcBef>
                <a:spcPct val="0"/>
              </a:spcBef>
              <a:spcAft>
                <a:spcPct val="35000"/>
              </a:spcAft>
            </a:pPr>
            <a:r>
              <a:rPr lang="en-GB" sz="1500"/>
              <a:t>Multiple sclerosis</a:t>
            </a:r>
          </a:p>
        </p:txBody>
      </p:sp>
      <p:sp>
        <p:nvSpPr>
          <p:cNvPr id="69" name="Chevron 65">
            <a:extLst>
              <a:ext uri="{FF2B5EF4-FFF2-40B4-BE49-F238E27FC236}">
                <a16:creationId xmlns:a16="http://schemas.microsoft.com/office/drawing/2014/main" id="{5947C8E0-EC79-D5AB-9060-33973F87F8A1}"/>
              </a:ext>
            </a:extLst>
          </p:cNvPr>
          <p:cNvSpPr/>
          <p:nvPr/>
        </p:nvSpPr>
        <p:spPr>
          <a:xfrm rot="10800000">
            <a:off x="3201614" y="3109282"/>
            <a:ext cx="392784" cy="490370"/>
          </a:xfrm>
          <a:prstGeom prst="chevron">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pic>
        <p:nvPicPr>
          <p:cNvPr id="70" name="Graphic 69">
            <a:extLst>
              <a:ext uri="{FF2B5EF4-FFF2-40B4-BE49-F238E27FC236}">
                <a16:creationId xmlns:a16="http://schemas.microsoft.com/office/drawing/2014/main" id="{E9C80F7A-A8A3-2E51-F3B7-0FB3319A0F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1293" y="3135605"/>
            <a:ext cx="454594" cy="454594"/>
          </a:xfrm>
          <a:prstGeom prst="rect">
            <a:avLst/>
          </a:prstGeom>
        </p:spPr>
      </p:pic>
      <p:sp>
        <p:nvSpPr>
          <p:cNvPr id="71" name="Chevron 57">
            <a:extLst>
              <a:ext uri="{FF2B5EF4-FFF2-40B4-BE49-F238E27FC236}">
                <a16:creationId xmlns:a16="http://schemas.microsoft.com/office/drawing/2014/main" id="{2C41BB05-69E9-175B-A3C6-7E89CCB17DB3}"/>
              </a:ext>
            </a:extLst>
          </p:cNvPr>
          <p:cNvSpPr/>
          <p:nvPr/>
        </p:nvSpPr>
        <p:spPr>
          <a:xfrm rot="10800000">
            <a:off x="3896642" y="3110266"/>
            <a:ext cx="392784" cy="490370"/>
          </a:xfrm>
          <a:prstGeom prst="chevron">
            <a:avLst>
              <a:gd name="adj" fmla="val 4061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R">
              <a:solidFill>
                <a:schemeClr val="tx1"/>
              </a:solidFill>
            </a:endParaRPr>
          </a:p>
        </p:txBody>
      </p:sp>
    </p:spTree>
    <p:extLst>
      <p:ext uri="{BB962C8B-B14F-4D97-AF65-F5344CB8AC3E}">
        <p14:creationId xmlns:p14="http://schemas.microsoft.com/office/powerpoint/2010/main" val="38878853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3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doz_New_Template_Oct2023">
  <a:themeElements>
    <a:clrScheme name="Sandoz">
      <a:dk1>
        <a:srgbClr val="001C4A"/>
      </a:dk1>
      <a:lt1>
        <a:sysClr val="window" lastClr="FFFFFF"/>
      </a:lt1>
      <a:dk2>
        <a:srgbClr val="001C4A"/>
      </a:dk2>
      <a:lt2>
        <a:srgbClr val="F1ECE9"/>
      </a:lt2>
      <a:accent1>
        <a:srgbClr val="001C4A"/>
      </a:accent1>
      <a:accent2>
        <a:srgbClr val="1C59B5"/>
      </a:accent2>
      <a:accent3>
        <a:srgbClr val="5DA6FF"/>
      </a:accent3>
      <a:accent4>
        <a:srgbClr val="A8D5FF"/>
      </a:accent4>
      <a:accent5>
        <a:srgbClr val="D6C6B6"/>
      </a:accent5>
      <a:accent6>
        <a:srgbClr val="A3978B"/>
      </a:accent6>
      <a:hlink>
        <a:srgbClr val="1C59B5"/>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sz="1600" b="1" spc="-10" dirty="0" smtClean="0">
            <a:solidFill>
              <a:schemeClr val="accent2"/>
            </a:solidFill>
          </a:defRPr>
        </a:defPPr>
      </a:lstStyle>
    </a:txDef>
  </a:objectDefaults>
  <a:extraClrSchemeLst/>
  <a:extLst>
    <a:ext uri="{05A4C25C-085E-4340-85A3-A5531E510DB2}">
      <thm15:themeFamily xmlns:thm15="http://schemas.microsoft.com/office/thememl/2012/main" name="Presentation1" id="{C69A47FC-BBFC-4075-BE47-7C66BB5F7CE3}" vid="{A3B314BE-0829-4512-B900-ED14D694613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c9b9749-a9e9-45d8-bf37-591cd39693ba">
      <UserInfo>
        <DisplayName>Schneider, Wies</DisplayName>
        <AccountId>112</AccountId>
        <AccountType/>
      </UserInfo>
      <UserInfo>
        <DisplayName>Fullwood, John</DisplayName>
        <AccountId>77</AccountId>
        <AccountType/>
      </UserInfo>
      <UserInfo>
        <DisplayName>Kelly, Kristine</DisplayName>
        <AccountId>66</AccountId>
        <AccountType/>
      </UserInfo>
      <UserInfo>
        <DisplayName>Nath, Shreya</DisplayName>
        <AccountId>159</AccountId>
        <AccountType/>
      </UserInfo>
      <UserInfo>
        <DisplayName>Kylas, Varsha (Ext)</DisplayName>
        <AccountId>156</AccountId>
        <AccountType/>
      </UserInfo>
      <UserInfo>
        <DisplayName>Rocha, Divya Marie</DisplayName>
        <AccountId>1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5A199BD9DD38445A8E57AE25A5A495B" ma:contentTypeVersion="10" ma:contentTypeDescription="Create a new document." ma:contentTypeScope="" ma:versionID="e651890abbb7e85b618fec4b019c21c3">
  <xsd:schema xmlns:xsd="http://www.w3.org/2001/XMLSchema" xmlns:xs="http://www.w3.org/2001/XMLSchema" xmlns:p="http://schemas.microsoft.com/office/2006/metadata/properties" xmlns:ns2="dc9b9749-a9e9-45d8-bf37-591cd39693ba" xmlns:ns3="549c47cb-5f63-4e04-a91d-703419d2e2cb" targetNamespace="http://schemas.microsoft.com/office/2006/metadata/properties" ma:root="true" ma:fieldsID="978e38a047a92051d07fc19dbc5be5ad" ns2:_="" ns3:_="">
    <xsd:import namespace="dc9b9749-a9e9-45d8-bf37-591cd39693ba"/>
    <xsd:import namespace="549c47cb-5f63-4e04-a91d-703419d2e2cb"/>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MediaServiceObjectDetectorVersions" minOccurs="0"/>
                <xsd:element ref="ns3:MediaServiceGenerationTime" minOccurs="0"/>
                <xsd:element ref="ns3:MediaServiceEventHashCode"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9b9749-a9e9-45d8-bf37-591cd39693b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49c47cb-5f63-4e04-a91d-703419d2e2c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3A7FA1-9405-4ADD-99B0-56B5F3665CCA}">
  <ds:schemaRefs>
    <ds:schemaRef ds:uri="http://schemas.microsoft.com/sharepoint/v3/contenttype/forms"/>
  </ds:schemaRefs>
</ds:datastoreItem>
</file>

<file path=customXml/itemProps2.xml><?xml version="1.0" encoding="utf-8"?>
<ds:datastoreItem xmlns:ds="http://schemas.openxmlformats.org/officeDocument/2006/customXml" ds:itemID="{5C946745-8BF0-4981-A652-6723B5568976}">
  <ds:schemaRefs>
    <ds:schemaRef ds:uri="http://www.w3.org/XML/1998/namespace"/>
    <ds:schemaRef ds:uri="c5bc2811-ee9e-4290-8f5b-be95be5f56c7"/>
    <ds:schemaRef ds:uri="http://purl.org/dc/elements/1.1/"/>
    <ds:schemaRef ds:uri="http://schemas.microsoft.com/office/2006/documentManagement/types"/>
    <ds:schemaRef ds:uri="5be112c7-f5b3-4324-88ff-018c97f65c63"/>
    <ds:schemaRef ds:uri="http://purl.org/dc/dcmitype/"/>
    <ds:schemaRef ds:uri="http://schemas.openxmlformats.org/package/2006/metadata/core-properties"/>
    <ds:schemaRef ds:uri="http://schemas.microsoft.com/office/2006/metadata/properties"/>
    <ds:schemaRef ds:uri="http://schemas.microsoft.com/office/infopath/2007/PartnerControls"/>
    <ds:schemaRef ds:uri="http://purl.org/dc/terms/"/>
    <ds:schemaRef ds:uri="04a1f3a8-1146-40b6-8918-6626270bdb8b"/>
    <ds:schemaRef ds:uri="0abbe0ce-54b9-49c0-922e-b84e9c705ed1"/>
  </ds:schemaRefs>
</ds:datastoreItem>
</file>

<file path=customXml/itemProps3.xml><?xml version="1.0" encoding="utf-8"?>
<ds:datastoreItem xmlns:ds="http://schemas.openxmlformats.org/officeDocument/2006/customXml" ds:itemID="{9B9486B7-27E8-4A06-8638-7FCE1BA77822}"/>
</file>

<file path=docProps/app.xml><?xml version="1.0" encoding="utf-8"?>
<Properties xmlns="http://schemas.openxmlformats.org/officeDocument/2006/extended-properties" xmlns:vt="http://schemas.openxmlformats.org/officeDocument/2006/docPropsVTypes">
  <Template/>
  <TotalTime>2</TotalTime>
  <Words>10009</Words>
  <Application>Microsoft Office PowerPoint</Application>
  <PresentationFormat>On-screen Show (16:9)</PresentationFormat>
  <Paragraphs>713</Paragraphs>
  <Slides>55</Slides>
  <Notes>2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65" baseType="lpstr">
      <vt:lpstr>Arial</vt:lpstr>
      <vt:lpstr>Arial </vt:lpstr>
      <vt:lpstr>BlinkMacSystemFont</vt:lpstr>
      <vt:lpstr>Calibri</vt:lpstr>
      <vt:lpstr>Courier New</vt:lpstr>
      <vt:lpstr>Söhne</vt:lpstr>
      <vt:lpstr>Times New Roman</vt:lpstr>
      <vt:lpstr>Wingdings</vt:lpstr>
      <vt:lpstr>Sandoz_New_Template_Oct2023</vt:lpstr>
      <vt:lpstr>think-cell Slide</vt:lpstr>
      <vt:lpstr>Understanding biologics: A guide to reference and biosimilar biologic medicines</vt:lpstr>
      <vt:lpstr>Disclaimer </vt:lpstr>
      <vt:lpstr>Learning objectives</vt:lpstr>
      <vt:lpstr>Overview</vt:lpstr>
      <vt:lpstr>Treatment groups in MS: A closer look at biologic  reference and biosimilar medicines</vt:lpstr>
      <vt:lpstr>Biologic medicines are one of three distinct  pharmaceutical medicine groups used to treat MS  </vt:lpstr>
      <vt:lpstr>Biologic medicines have a complex  development process</vt:lpstr>
      <vt:lpstr>Variability is in the nature of all biologic medicines</vt:lpstr>
      <vt:lpstr>Biologic medicines can provide targeted treatment for many diseases</vt:lpstr>
      <vt:lpstr>Biosimilar medicines are successors to reference  biologic medicines</vt:lpstr>
      <vt:lpstr>Biosimilar medicines:  How long have they been around and why are they used?</vt:lpstr>
      <vt:lpstr>A brief history of biosimilar medicine approvals worldwide</vt:lpstr>
      <vt:lpstr>What do biosimilars mean for healthcare systems?</vt:lpstr>
      <vt:lpstr>The development  and approval of biosimilar medicines</vt:lpstr>
      <vt:lpstr>PowerPoint Presentation</vt:lpstr>
      <vt:lpstr>The approval and manufacture of biosimilar medicines in Europe and the US is strictly regulated1–4</vt:lpstr>
      <vt:lpstr>Reference and biosimilar biologic medicines provide  the same clinical and safety outcomes for patients</vt:lpstr>
      <vt:lpstr>Biosimilar medicines are developed to match an already approved reference biologic medicine </vt:lpstr>
      <vt:lpstr>Biosimilar medicines are approved based on the  ‘Totality of Evidence’ data package1,2,3</vt:lpstr>
      <vt:lpstr>Extrapolation: A biosimilar can be used for all approved reference medicine indications</vt:lpstr>
      <vt:lpstr>Treatment switching </vt:lpstr>
      <vt:lpstr>Switching between reference and biosimilar medicines is safe and effective</vt:lpstr>
      <vt:lpstr>The nocebo effect can impact treatment outcomes</vt:lpstr>
      <vt:lpstr>Nurses play a crucial role in mitigating the  nocebo effect</vt:lpstr>
      <vt:lpstr>Key takeaways</vt:lpstr>
      <vt:lpstr>Reference and biosimilar biologic medicines:  An overview </vt:lpstr>
      <vt:lpstr>How much  do you know about biologic and biosimilar medicines now?</vt:lpstr>
      <vt:lpstr>PowerPoint Presentation</vt:lpstr>
      <vt:lpstr>PowerPoint Presentation</vt:lpstr>
      <vt:lpstr>PowerPoint Presentation</vt:lpstr>
      <vt:lpstr>Minor variation between two batches of the same biologic medicine is  not expected</vt:lpstr>
      <vt:lpstr>Biologic reference medicines are a separate treatment group to small molecule medicines, NBCDs or generics</vt:lpstr>
      <vt:lpstr>Biologic reference medicines are a separate treatment group to small molecule medicines, NBCDs or generics</vt:lpstr>
      <vt:lpstr>In what way(s) do biosimilar medicines match a reference biologic? </vt:lpstr>
      <vt:lpstr>In what way(s) do biosimilar medicines match a reference biologic? </vt:lpstr>
      <vt:lpstr>For regulatory approval, a biosimilar medicine must match its reference biologic in terms of______?</vt:lpstr>
      <vt:lpstr>For regulatory approval, a biosimilar medicine must match its reference biologic in terms of______?</vt:lpstr>
      <vt:lpstr>When was the first biosimilar medicine approved in Europe?</vt:lpstr>
      <vt:lpstr>When was the first biosimilar medicine approved in Europe?</vt:lpstr>
      <vt:lpstr>Choose the correct order for the development process of biosimilar medicines</vt:lpstr>
      <vt:lpstr>Choose the correct order for the development process of biosimilar medicines</vt:lpstr>
      <vt:lpstr>What is extrapolation?</vt:lpstr>
      <vt:lpstr>What is extrapolation?</vt:lpstr>
      <vt:lpstr>Switching from a reference to biosimilar medicine is expected to impact treatment efficacy and safety</vt:lpstr>
      <vt:lpstr>Switching from a reference to biosimilar medicine is expected to impact treatment efficacy and safety</vt:lpstr>
      <vt:lpstr>What is the nocebo effect?</vt:lpstr>
      <vt:lpstr>What is the nocebo effect?</vt:lpstr>
      <vt:lpstr>The same treatment effect can be expected both when a patient is treated with a reference biologic or with its biosimilar medicine</vt:lpstr>
      <vt:lpstr>The same treatment effect can be expected both when a patient is treated with a reference biologic or with its biosimilar medicine</vt:lpstr>
      <vt:lpstr>Bibliography</vt:lpstr>
      <vt:lpstr>Bibliography</vt:lpstr>
      <vt:lpstr>Bibliography</vt:lpstr>
      <vt:lpstr>Bibliography</vt:lpstr>
      <vt:lpstr>Bibliography</vt:lpstr>
      <vt:lpstr>Bibliography</vt:lpstr>
    </vt:vector>
  </TitlesOfParts>
  <Manager/>
  <Company>Novart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ndoz Biosimilars Template for External &amp; Internal Presentations</dc:title>
  <dc:subject/>
  <dc:creator>Baier, Anna-Lena</dc:creator>
  <cp:keywords/>
  <dc:description/>
  <cp:lastModifiedBy>Sandhu, Mandy</cp:lastModifiedBy>
  <cp:revision>8</cp:revision>
  <cp:lastPrinted>2022-09-13T12:17:00Z</cp:lastPrinted>
  <dcterms:created xsi:type="dcterms:W3CDTF">2020-03-04T15:42:53Z</dcterms:created>
  <dcterms:modified xsi:type="dcterms:W3CDTF">2024-09-23T11:33: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erName">
    <vt:lpwstr/>
  </property>
  <property fmtid="{D5CDD505-2E9C-101B-9397-08002B2CF9AE}" pid="3" name="ConfidentialityLevel">
    <vt:lpwstr>None (no value displayed on slides)</vt:lpwstr>
  </property>
  <property fmtid="{D5CDD505-2E9C-101B-9397-08002B2CF9AE}" pid="4" name="HideFooter">
    <vt:bool>false</vt:bool>
  </property>
  <property fmtid="{D5CDD505-2E9C-101B-9397-08002B2CF9AE}" pid="5" name="d1_p11_88">
    <vt:lpwstr/>
  </property>
  <property fmtid="{D5CDD505-2E9C-101B-9397-08002B2CF9AE}" pid="6" name="d1_p11_11">
    <vt:lpwstr/>
  </property>
  <property fmtid="{D5CDD505-2E9C-101B-9397-08002B2CF9AE}" pid="7" name="d1_p11_82">
    <vt:lpwstr/>
  </property>
  <property fmtid="{D5CDD505-2E9C-101B-9397-08002B2CF9AE}" pid="8" name="MSIP_Label_3c9bec58-8084-492e-8360-0e1cfe36408c_Enabled">
    <vt:lpwstr>true</vt:lpwstr>
  </property>
  <property fmtid="{D5CDD505-2E9C-101B-9397-08002B2CF9AE}" pid="9" name="MSIP_Label_3c9bec58-8084-492e-8360-0e1cfe36408c_SetDate">
    <vt:lpwstr>2022-02-17T08:55:45Z</vt:lpwstr>
  </property>
  <property fmtid="{D5CDD505-2E9C-101B-9397-08002B2CF9AE}" pid="10" name="MSIP_Label_3c9bec58-8084-492e-8360-0e1cfe36408c_Method">
    <vt:lpwstr>Standard</vt:lpwstr>
  </property>
  <property fmtid="{D5CDD505-2E9C-101B-9397-08002B2CF9AE}" pid="11" name="MSIP_Label_3c9bec58-8084-492e-8360-0e1cfe36408c_Name">
    <vt:lpwstr>Not Protected -Pilot</vt:lpwstr>
  </property>
  <property fmtid="{D5CDD505-2E9C-101B-9397-08002B2CF9AE}" pid="12" name="MSIP_Label_3c9bec58-8084-492e-8360-0e1cfe36408c_SiteId">
    <vt:lpwstr>f35a6974-607f-47d4-82d7-ff31d7dc53a5</vt:lpwstr>
  </property>
  <property fmtid="{D5CDD505-2E9C-101B-9397-08002B2CF9AE}" pid="13" name="MSIP_Label_3c9bec58-8084-492e-8360-0e1cfe36408c_ActionId">
    <vt:lpwstr>9a177f35-a51a-4f81-b1cb-33b3cca6eb5b</vt:lpwstr>
  </property>
  <property fmtid="{D5CDD505-2E9C-101B-9397-08002B2CF9AE}" pid="14" name="MSIP_Label_3c9bec58-8084-492e-8360-0e1cfe36408c_ContentBits">
    <vt:lpwstr>0</vt:lpwstr>
  </property>
  <property fmtid="{D5CDD505-2E9C-101B-9397-08002B2CF9AE}" pid="15" name="MediaServiceImageTags">
    <vt:lpwstr/>
  </property>
  <property fmtid="{D5CDD505-2E9C-101B-9397-08002B2CF9AE}" pid="16" name="ArticulateGUID">
    <vt:lpwstr>B2278F9C-0803-48AF-8F8A-5254CBE96D1D</vt:lpwstr>
  </property>
  <property fmtid="{D5CDD505-2E9C-101B-9397-08002B2CF9AE}" pid="17" name="ArticulatePath">
    <vt:lpwstr>https://my.novartis.net/personal/foierto1_novartis_net/Documents/Desktop/2022-09_Biopharma core slides_AK_DR &amp; KK</vt:lpwstr>
  </property>
  <property fmtid="{D5CDD505-2E9C-101B-9397-08002B2CF9AE}" pid="18" name="ContentTypeId">
    <vt:lpwstr>0x01010045A199BD9DD38445A8E57AE25A5A495B</vt:lpwstr>
  </property>
</Properties>
</file>